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9.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0.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2.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3.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81.jpg" ContentType="image/jpg"/>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media/image88.jpg" ContentType="image/jpg"/>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 id="2147483731" r:id="rId2"/>
    <p:sldMasterId id="2147483811" r:id="rId3"/>
    <p:sldMasterId id="2147483814" r:id="rId4"/>
    <p:sldMasterId id="2147483830" r:id="rId5"/>
    <p:sldMasterId id="2147483874" r:id="rId6"/>
    <p:sldMasterId id="2147483905" r:id="rId7"/>
    <p:sldMasterId id="2147483913" r:id="rId8"/>
    <p:sldMasterId id="2147483967" r:id="rId9"/>
    <p:sldMasterId id="2147483982" r:id="rId10"/>
    <p:sldMasterId id="2147483994" r:id="rId11"/>
    <p:sldMasterId id="2147484004" r:id="rId12"/>
    <p:sldMasterId id="2147484021" r:id="rId13"/>
    <p:sldMasterId id="2147484034" r:id="rId14"/>
  </p:sldMasterIdLst>
  <p:notesMasterIdLst>
    <p:notesMasterId r:id="rId54"/>
  </p:notesMasterIdLst>
  <p:handoutMasterIdLst>
    <p:handoutMasterId r:id="rId55"/>
  </p:handoutMasterIdLst>
  <p:sldIdLst>
    <p:sldId id="819" r:id="rId15"/>
    <p:sldId id="929" r:id="rId16"/>
    <p:sldId id="904" r:id="rId17"/>
    <p:sldId id="824" r:id="rId18"/>
    <p:sldId id="826" r:id="rId19"/>
    <p:sldId id="930" r:id="rId20"/>
    <p:sldId id="822" r:id="rId21"/>
    <p:sldId id="823" r:id="rId22"/>
    <p:sldId id="931" r:id="rId23"/>
    <p:sldId id="932" r:id="rId24"/>
    <p:sldId id="933" r:id="rId25"/>
    <p:sldId id="939" r:id="rId26"/>
    <p:sldId id="934" r:id="rId27"/>
    <p:sldId id="935" r:id="rId28"/>
    <p:sldId id="936" r:id="rId29"/>
    <p:sldId id="937" r:id="rId30"/>
    <p:sldId id="938" r:id="rId31"/>
    <p:sldId id="914" r:id="rId32"/>
    <p:sldId id="856" r:id="rId33"/>
    <p:sldId id="861" r:id="rId34"/>
    <p:sldId id="891" r:id="rId35"/>
    <p:sldId id="892" r:id="rId36"/>
    <p:sldId id="940" r:id="rId37"/>
    <p:sldId id="941" r:id="rId38"/>
    <p:sldId id="942" r:id="rId39"/>
    <p:sldId id="943" r:id="rId40"/>
    <p:sldId id="944" r:id="rId41"/>
    <p:sldId id="945" r:id="rId42"/>
    <p:sldId id="946" r:id="rId43"/>
    <p:sldId id="947" r:id="rId44"/>
    <p:sldId id="948" r:id="rId45"/>
    <p:sldId id="949" r:id="rId46"/>
    <p:sldId id="950" r:id="rId47"/>
    <p:sldId id="951" r:id="rId48"/>
    <p:sldId id="952" r:id="rId49"/>
    <p:sldId id="953" r:id="rId50"/>
    <p:sldId id="905" r:id="rId51"/>
    <p:sldId id="927" r:id="rId52"/>
    <p:sldId id="926" r:id="rId53"/>
  </p:sldIdLst>
  <p:sldSz cx="9144000" cy="6858000" type="screen4x3"/>
  <p:notesSz cx="9236075" cy="7010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628D3D"/>
    <a:srgbClr val="CC0000"/>
    <a:srgbClr val="FF9900"/>
    <a:srgbClr val="5E6166"/>
    <a:srgbClr val="428543"/>
    <a:srgbClr val="00B481"/>
    <a:srgbClr val="A9C47F"/>
    <a:srgbClr val="24694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13" autoAdjust="0"/>
    <p:restoredTop sz="99266" autoAdjust="0"/>
  </p:normalViewPr>
  <p:slideViewPr>
    <p:cSldViewPr>
      <p:cViewPr varScale="1">
        <p:scale>
          <a:sx n="72" d="100"/>
          <a:sy n="72" d="100"/>
        </p:scale>
        <p:origin x="1182" y="72"/>
      </p:cViewPr>
      <p:guideLst>
        <p:guide orient="horz" pos="2160"/>
        <p:guide pos="2880"/>
      </p:guideLst>
    </p:cSldViewPr>
  </p:slideViewPr>
  <p:outlineViewPr>
    <p:cViewPr>
      <p:scale>
        <a:sx n="33" d="100"/>
        <a:sy n="33" d="100"/>
      </p:scale>
      <p:origin x="48"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8AB921-BF77-4A17-A8DD-2A154BD9AA55}" type="doc">
      <dgm:prSet loTypeId="urn:microsoft.com/office/officeart/2005/8/layout/venn1" loCatId="relationship" qsTypeId="urn:microsoft.com/office/officeart/2005/8/quickstyle/3d3" qsCatId="3D" csTypeId="urn:microsoft.com/office/officeart/2005/8/colors/accent2_2" csCatId="accent2" phldr="1"/>
      <dgm:spPr/>
    </dgm:pt>
    <dgm:pt modelId="{A0106536-4F67-416F-AB88-CAAA3AC86164}">
      <dgm:prSet phldrT="[Texto]"/>
      <dgm:spPr/>
      <dgm:t>
        <a:bodyPr/>
        <a:lstStyle/>
        <a:p>
          <a:r>
            <a:rPr lang="es-ES" dirty="0"/>
            <a:t>Data</a:t>
          </a:r>
        </a:p>
      </dgm:t>
    </dgm:pt>
    <dgm:pt modelId="{F0672EA8-BFD3-4A53-92F7-BA69FBDF10AD}" type="parTrans" cxnId="{75015DD3-F971-4D77-B3FB-A4AF40DA58FA}">
      <dgm:prSet/>
      <dgm:spPr/>
      <dgm:t>
        <a:bodyPr/>
        <a:lstStyle/>
        <a:p>
          <a:endParaRPr lang="es-ES"/>
        </a:p>
      </dgm:t>
    </dgm:pt>
    <dgm:pt modelId="{69E8474E-119D-432F-8825-3241E8C7EE9D}" type="sibTrans" cxnId="{75015DD3-F971-4D77-B3FB-A4AF40DA58FA}">
      <dgm:prSet/>
      <dgm:spPr/>
      <dgm:t>
        <a:bodyPr/>
        <a:lstStyle/>
        <a:p>
          <a:endParaRPr lang="es-ES"/>
        </a:p>
      </dgm:t>
    </dgm:pt>
    <dgm:pt modelId="{955267BA-9DE8-4DC0-B0B5-67BBF2E904FD}">
      <dgm:prSet phldrT="[Texto]"/>
      <dgm:spPr/>
      <dgm:t>
        <a:bodyPr/>
        <a:lstStyle/>
        <a:p>
          <a:r>
            <a:rPr lang="es-ES" dirty="0"/>
            <a:t>People</a:t>
          </a:r>
        </a:p>
      </dgm:t>
    </dgm:pt>
    <dgm:pt modelId="{ECCCDBBE-FB06-48A3-9D1F-C7CF4064FFF2}" type="parTrans" cxnId="{8775C936-BD0E-42EE-9303-D4AD0F5C2CC7}">
      <dgm:prSet/>
      <dgm:spPr/>
      <dgm:t>
        <a:bodyPr/>
        <a:lstStyle/>
        <a:p>
          <a:endParaRPr lang="es-ES"/>
        </a:p>
      </dgm:t>
    </dgm:pt>
    <dgm:pt modelId="{CE4D1BC2-A622-4121-9627-19ABFAA107B1}" type="sibTrans" cxnId="{8775C936-BD0E-42EE-9303-D4AD0F5C2CC7}">
      <dgm:prSet/>
      <dgm:spPr/>
      <dgm:t>
        <a:bodyPr/>
        <a:lstStyle/>
        <a:p>
          <a:endParaRPr lang="es-ES"/>
        </a:p>
      </dgm:t>
    </dgm:pt>
    <dgm:pt modelId="{ADB99704-1E53-4F7A-BFFA-CC8503430E23}">
      <dgm:prSet phldrT="[Texto]"/>
      <dgm:spPr/>
      <dgm:t>
        <a:bodyPr/>
        <a:lstStyle/>
        <a:p>
          <a:r>
            <a:rPr lang="es-ES" dirty="0" err="1"/>
            <a:t>Systems</a:t>
          </a:r>
          <a:endParaRPr lang="es-ES" dirty="0"/>
        </a:p>
      </dgm:t>
    </dgm:pt>
    <dgm:pt modelId="{48877F04-6925-497E-8965-3FC862529646}" type="parTrans" cxnId="{610C591E-6EF4-4348-8B05-CD6B41598FCF}">
      <dgm:prSet/>
      <dgm:spPr/>
      <dgm:t>
        <a:bodyPr/>
        <a:lstStyle/>
        <a:p>
          <a:endParaRPr lang="es-ES"/>
        </a:p>
      </dgm:t>
    </dgm:pt>
    <dgm:pt modelId="{BB669724-6783-43D8-A2CB-F3DF5742DBFD}" type="sibTrans" cxnId="{610C591E-6EF4-4348-8B05-CD6B41598FCF}">
      <dgm:prSet/>
      <dgm:spPr/>
      <dgm:t>
        <a:bodyPr/>
        <a:lstStyle/>
        <a:p>
          <a:endParaRPr lang="es-ES"/>
        </a:p>
      </dgm:t>
    </dgm:pt>
    <dgm:pt modelId="{53360C38-CFB2-4BFF-A929-DC51EBD056BF}" type="pres">
      <dgm:prSet presAssocID="{F18AB921-BF77-4A17-A8DD-2A154BD9AA55}" presName="compositeShape" presStyleCnt="0">
        <dgm:presLayoutVars>
          <dgm:chMax val="7"/>
          <dgm:dir/>
          <dgm:resizeHandles val="exact"/>
        </dgm:presLayoutVars>
      </dgm:prSet>
      <dgm:spPr/>
    </dgm:pt>
    <dgm:pt modelId="{CCD1336C-B80B-4BD4-802F-FA4A4350C8BB}" type="pres">
      <dgm:prSet presAssocID="{A0106536-4F67-416F-AB88-CAAA3AC86164}" presName="circ1" presStyleLbl="vennNode1" presStyleIdx="0" presStyleCnt="3"/>
      <dgm:spPr/>
    </dgm:pt>
    <dgm:pt modelId="{5AE85F9F-6157-433C-934C-29D47668E951}" type="pres">
      <dgm:prSet presAssocID="{A0106536-4F67-416F-AB88-CAAA3AC86164}" presName="circ1Tx" presStyleLbl="revTx" presStyleIdx="0" presStyleCnt="0">
        <dgm:presLayoutVars>
          <dgm:chMax val="0"/>
          <dgm:chPref val="0"/>
          <dgm:bulletEnabled val="1"/>
        </dgm:presLayoutVars>
      </dgm:prSet>
      <dgm:spPr/>
    </dgm:pt>
    <dgm:pt modelId="{39E9470F-8ED9-4AD8-A5B4-7270D2A714AD}" type="pres">
      <dgm:prSet presAssocID="{955267BA-9DE8-4DC0-B0B5-67BBF2E904FD}" presName="circ2" presStyleLbl="vennNode1" presStyleIdx="1" presStyleCnt="3"/>
      <dgm:spPr/>
    </dgm:pt>
    <dgm:pt modelId="{F5F5D0E3-E3A7-4C6A-97C8-1287494ED9A5}" type="pres">
      <dgm:prSet presAssocID="{955267BA-9DE8-4DC0-B0B5-67BBF2E904FD}" presName="circ2Tx" presStyleLbl="revTx" presStyleIdx="0" presStyleCnt="0">
        <dgm:presLayoutVars>
          <dgm:chMax val="0"/>
          <dgm:chPref val="0"/>
          <dgm:bulletEnabled val="1"/>
        </dgm:presLayoutVars>
      </dgm:prSet>
      <dgm:spPr/>
    </dgm:pt>
    <dgm:pt modelId="{84AA0A1F-6009-4E25-90BE-F89CB6D81A3D}" type="pres">
      <dgm:prSet presAssocID="{ADB99704-1E53-4F7A-BFFA-CC8503430E23}" presName="circ3" presStyleLbl="vennNode1" presStyleIdx="2" presStyleCnt="3"/>
      <dgm:spPr/>
    </dgm:pt>
    <dgm:pt modelId="{A0672726-8AB4-4297-904B-97E70566C06D}" type="pres">
      <dgm:prSet presAssocID="{ADB99704-1E53-4F7A-BFFA-CC8503430E23}" presName="circ3Tx" presStyleLbl="revTx" presStyleIdx="0" presStyleCnt="0">
        <dgm:presLayoutVars>
          <dgm:chMax val="0"/>
          <dgm:chPref val="0"/>
          <dgm:bulletEnabled val="1"/>
        </dgm:presLayoutVars>
      </dgm:prSet>
      <dgm:spPr/>
    </dgm:pt>
  </dgm:ptLst>
  <dgm:cxnLst>
    <dgm:cxn modelId="{078FBA1A-FCF3-46C7-8B90-9952AF560DC0}" type="presOf" srcId="{ADB99704-1E53-4F7A-BFFA-CC8503430E23}" destId="{A0672726-8AB4-4297-904B-97E70566C06D}" srcOrd="1" destOrd="0" presId="urn:microsoft.com/office/officeart/2005/8/layout/venn1"/>
    <dgm:cxn modelId="{610C591E-6EF4-4348-8B05-CD6B41598FCF}" srcId="{F18AB921-BF77-4A17-A8DD-2A154BD9AA55}" destId="{ADB99704-1E53-4F7A-BFFA-CC8503430E23}" srcOrd="2" destOrd="0" parTransId="{48877F04-6925-497E-8965-3FC862529646}" sibTransId="{BB669724-6783-43D8-A2CB-F3DF5742DBFD}"/>
    <dgm:cxn modelId="{8775C936-BD0E-42EE-9303-D4AD0F5C2CC7}" srcId="{F18AB921-BF77-4A17-A8DD-2A154BD9AA55}" destId="{955267BA-9DE8-4DC0-B0B5-67BBF2E904FD}" srcOrd="1" destOrd="0" parTransId="{ECCCDBBE-FB06-48A3-9D1F-C7CF4064FFF2}" sibTransId="{CE4D1BC2-A622-4121-9627-19ABFAA107B1}"/>
    <dgm:cxn modelId="{4B4A8F5A-6924-402D-B0EE-26C4A53797D7}" type="presOf" srcId="{A0106536-4F67-416F-AB88-CAAA3AC86164}" destId="{5AE85F9F-6157-433C-934C-29D47668E951}" srcOrd="1" destOrd="0" presId="urn:microsoft.com/office/officeart/2005/8/layout/venn1"/>
    <dgm:cxn modelId="{94836A96-BB53-4FF4-ACC4-A97D2DEDB551}" type="presOf" srcId="{ADB99704-1E53-4F7A-BFFA-CC8503430E23}" destId="{84AA0A1F-6009-4E25-90BE-F89CB6D81A3D}" srcOrd="0" destOrd="0" presId="urn:microsoft.com/office/officeart/2005/8/layout/venn1"/>
    <dgm:cxn modelId="{75015DD3-F971-4D77-B3FB-A4AF40DA58FA}" srcId="{F18AB921-BF77-4A17-A8DD-2A154BD9AA55}" destId="{A0106536-4F67-416F-AB88-CAAA3AC86164}" srcOrd="0" destOrd="0" parTransId="{F0672EA8-BFD3-4A53-92F7-BA69FBDF10AD}" sibTransId="{69E8474E-119D-432F-8825-3241E8C7EE9D}"/>
    <dgm:cxn modelId="{089A31E0-D9F3-45A4-8C43-647646FEA153}" type="presOf" srcId="{955267BA-9DE8-4DC0-B0B5-67BBF2E904FD}" destId="{39E9470F-8ED9-4AD8-A5B4-7270D2A714AD}" srcOrd="0" destOrd="0" presId="urn:microsoft.com/office/officeart/2005/8/layout/venn1"/>
    <dgm:cxn modelId="{9EA263E5-7CB2-417D-BF92-00014990200C}" type="presOf" srcId="{F18AB921-BF77-4A17-A8DD-2A154BD9AA55}" destId="{53360C38-CFB2-4BFF-A929-DC51EBD056BF}" srcOrd="0" destOrd="0" presId="urn:microsoft.com/office/officeart/2005/8/layout/venn1"/>
    <dgm:cxn modelId="{BDC2B0E6-8D26-4E07-8127-5D19714487CD}" type="presOf" srcId="{955267BA-9DE8-4DC0-B0B5-67BBF2E904FD}" destId="{F5F5D0E3-E3A7-4C6A-97C8-1287494ED9A5}" srcOrd="1" destOrd="0" presId="urn:microsoft.com/office/officeart/2005/8/layout/venn1"/>
    <dgm:cxn modelId="{9A3974FE-9883-40C0-B740-6A8FDCAD1BBB}" type="presOf" srcId="{A0106536-4F67-416F-AB88-CAAA3AC86164}" destId="{CCD1336C-B80B-4BD4-802F-FA4A4350C8BB}" srcOrd="0" destOrd="0" presId="urn:microsoft.com/office/officeart/2005/8/layout/venn1"/>
    <dgm:cxn modelId="{67CFF5EF-2C07-4531-8E85-7C9E787DBBEA}" type="presParOf" srcId="{53360C38-CFB2-4BFF-A929-DC51EBD056BF}" destId="{CCD1336C-B80B-4BD4-802F-FA4A4350C8BB}" srcOrd="0" destOrd="0" presId="urn:microsoft.com/office/officeart/2005/8/layout/venn1"/>
    <dgm:cxn modelId="{4ED0AFC3-7CD7-4BA7-A95D-3D798E7048CD}" type="presParOf" srcId="{53360C38-CFB2-4BFF-A929-DC51EBD056BF}" destId="{5AE85F9F-6157-433C-934C-29D47668E951}" srcOrd="1" destOrd="0" presId="urn:microsoft.com/office/officeart/2005/8/layout/venn1"/>
    <dgm:cxn modelId="{EF1E08A0-5569-48C0-BB9C-BC84C18794D3}" type="presParOf" srcId="{53360C38-CFB2-4BFF-A929-DC51EBD056BF}" destId="{39E9470F-8ED9-4AD8-A5B4-7270D2A714AD}" srcOrd="2" destOrd="0" presId="urn:microsoft.com/office/officeart/2005/8/layout/venn1"/>
    <dgm:cxn modelId="{A8EBDF2D-25B6-40F9-919A-9201F70DFB91}" type="presParOf" srcId="{53360C38-CFB2-4BFF-A929-DC51EBD056BF}" destId="{F5F5D0E3-E3A7-4C6A-97C8-1287494ED9A5}" srcOrd="3" destOrd="0" presId="urn:microsoft.com/office/officeart/2005/8/layout/venn1"/>
    <dgm:cxn modelId="{B2028E1A-7D74-4D8B-960E-31DC28773A9C}" type="presParOf" srcId="{53360C38-CFB2-4BFF-A929-DC51EBD056BF}" destId="{84AA0A1F-6009-4E25-90BE-F89CB6D81A3D}" srcOrd="4" destOrd="0" presId="urn:microsoft.com/office/officeart/2005/8/layout/venn1"/>
    <dgm:cxn modelId="{04D37E96-882E-47F3-81C0-4DDA9FAFA23E}" type="presParOf" srcId="{53360C38-CFB2-4BFF-A929-DC51EBD056BF}" destId="{A0672726-8AB4-4297-904B-97E70566C06D}"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FD5CD2F-1DAE-4682-BEE9-C5870A3B0BF0}" type="doc">
      <dgm:prSet loTypeId="urn:microsoft.com/office/officeart/2005/8/layout/default" loCatId="list" qsTypeId="urn:microsoft.com/office/officeart/2005/8/quickstyle/3d6" qsCatId="3D" csTypeId="urn:microsoft.com/office/officeart/2005/8/colors/accent1_2" csCatId="accent1" phldr="1"/>
      <dgm:spPr/>
      <dgm:t>
        <a:bodyPr/>
        <a:lstStyle/>
        <a:p>
          <a:endParaRPr lang="en-US"/>
        </a:p>
      </dgm:t>
    </dgm:pt>
    <dgm:pt modelId="{87880E16-29B1-4B29-BF34-615A67A3E5B2}">
      <dgm:prSet phldrT="[Text]"/>
      <dgm:spPr/>
      <dgm:t>
        <a:bodyPr/>
        <a:lstStyle/>
        <a:p>
          <a:r>
            <a:rPr lang="en-US" dirty="0"/>
            <a:t>Content</a:t>
          </a:r>
        </a:p>
      </dgm:t>
    </dgm:pt>
    <dgm:pt modelId="{51CB997A-E308-467E-B8C8-22A097499820}" type="parTrans" cxnId="{0A65D6FE-6D11-477A-94F5-8CE1766E55D8}">
      <dgm:prSet/>
      <dgm:spPr/>
      <dgm:t>
        <a:bodyPr/>
        <a:lstStyle/>
        <a:p>
          <a:endParaRPr lang="en-US"/>
        </a:p>
      </dgm:t>
    </dgm:pt>
    <dgm:pt modelId="{5499C715-F007-4803-BBD8-4A9DB8154F66}" type="sibTrans" cxnId="{0A65D6FE-6D11-477A-94F5-8CE1766E55D8}">
      <dgm:prSet/>
      <dgm:spPr/>
      <dgm:t>
        <a:bodyPr/>
        <a:lstStyle/>
        <a:p>
          <a:endParaRPr lang="en-US"/>
        </a:p>
      </dgm:t>
    </dgm:pt>
    <dgm:pt modelId="{B44F1FC5-CE40-45B8-9468-175A4088F42F}">
      <dgm:prSet phldrT="[Text]"/>
      <dgm:spPr/>
      <dgm:t>
        <a:bodyPr/>
        <a:lstStyle/>
        <a:p>
          <a:r>
            <a:rPr lang="en-US" dirty="0"/>
            <a:t>Practice</a:t>
          </a:r>
        </a:p>
      </dgm:t>
    </dgm:pt>
    <dgm:pt modelId="{67504B09-D65C-4B69-9C77-1AA794C9CF15}" type="parTrans" cxnId="{4158F79D-D2F9-4407-94C2-D03B571157D8}">
      <dgm:prSet/>
      <dgm:spPr/>
      <dgm:t>
        <a:bodyPr/>
        <a:lstStyle/>
        <a:p>
          <a:endParaRPr lang="en-US"/>
        </a:p>
      </dgm:t>
    </dgm:pt>
    <dgm:pt modelId="{591BD81A-2412-448D-8D8D-F7D19C8248F9}" type="sibTrans" cxnId="{4158F79D-D2F9-4407-94C2-D03B571157D8}">
      <dgm:prSet/>
      <dgm:spPr/>
      <dgm:t>
        <a:bodyPr/>
        <a:lstStyle/>
        <a:p>
          <a:endParaRPr lang="en-US"/>
        </a:p>
      </dgm:t>
    </dgm:pt>
    <dgm:pt modelId="{C7F85478-2DD6-4F05-8A47-9337B67987BE}">
      <dgm:prSet phldrT="[Text]"/>
      <dgm:spPr/>
      <dgm:t>
        <a:bodyPr/>
        <a:lstStyle/>
        <a:p>
          <a:r>
            <a:rPr lang="en-US" dirty="0"/>
            <a:t>Workflow</a:t>
          </a:r>
        </a:p>
      </dgm:t>
    </dgm:pt>
    <dgm:pt modelId="{68D16E20-2DBA-41A4-BFE7-C72E74017058}" type="parTrans" cxnId="{E89A3B3B-A94E-431D-B8F6-93D6EE0B12AC}">
      <dgm:prSet/>
      <dgm:spPr/>
      <dgm:t>
        <a:bodyPr/>
        <a:lstStyle/>
        <a:p>
          <a:endParaRPr lang="en-US"/>
        </a:p>
      </dgm:t>
    </dgm:pt>
    <dgm:pt modelId="{98DA6E24-8B4E-4CD5-A0DF-A8C41D826BE8}" type="sibTrans" cxnId="{E89A3B3B-A94E-431D-B8F6-93D6EE0B12AC}">
      <dgm:prSet/>
      <dgm:spPr/>
      <dgm:t>
        <a:bodyPr/>
        <a:lstStyle/>
        <a:p>
          <a:endParaRPr lang="en-US"/>
        </a:p>
      </dgm:t>
    </dgm:pt>
    <dgm:pt modelId="{26A6CC7F-88E7-4F17-8EE8-D6EC282ED501}">
      <dgm:prSet phldrT="[Text]"/>
      <dgm:spPr/>
      <dgm:t>
        <a:bodyPr/>
        <a:lstStyle/>
        <a:p>
          <a:r>
            <a:rPr lang="en-US" dirty="0"/>
            <a:t>HIS</a:t>
          </a:r>
        </a:p>
      </dgm:t>
    </dgm:pt>
    <dgm:pt modelId="{BCBFA163-074D-4F0F-93BE-650DBE38A7F6}" type="parTrans" cxnId="{091A1621-0295-4AA1-98A4-455B2A2E1F05}">
      <dgm:prSet/>
      <dgm:spPr/>
      <dgm:t>
        <a:bodyPr/>
        <a:lstStyle/>
        <a:p>
          <a:endParaRPr lang="en-US"/>
        </a:p>
      </dgm:t>
    </dgm:pt>
    <dgm:pt modelId="{298F8F3C-9FD3-42D9-8337-0AB72B5C3218}" type="sibTrans" cxnId="{091A1621-0295-4AA1-98A4-455B2A2E1F05}">
      <dgm:prSet/>
      <dgm:spPr/>
      <dgm:t>
        <a:bodyPr/>
        <a:lstStyle/>
        <a:p>
          <a:endParaRPr lang="en-US"/>
        </a:p>
      </dgm:t>
    </dgm:pt>
    <dgm:pt modelId="{CCD9CFAF-B43A-490B-84B4-89351BE48265}" type="pres">
      <dgm:prSet presAssocID="{8FD5CD2F-1DAE-4682-BEE9-C5870A3B0BF0}" presName="diagram" presStyleCnt="0">
        <dgm:presLayoutVars>
          <dgm:dir/>
          <dgm:resizeHandles val="exact"/>
        </dgm:presLayoutVars>
      </dgm:prSet>
      <dgm:spPr/>
    </dgm:pt>
    <dgm:pt modelId="{2A044CC6-C19F-4FE8-8AB0-108972F47A05}" type="pres">
      <dgm:prSet presAssocID="{87880E16-29B1-4B29-BF34-615A67A3E5B2}" presName="node" presStyleLbl="node1" presStyleIdx="0" presStyleCnt="4">
        <dgm:presLayoutVars>
          <dgm:bulletEnabled val="1"/>
        </dgm:presLayoutVars>
      </dgm:prSet>
      <dgm:spPr/>
    </dgm:pt>
    <dgm:pt modelId="{A6965D0A-4BBC-4B80-B348-6F0F6EA87580}" type="pres">
      <dgm:prSet presAssocID="{5499C715-F007-4803-BBD8-4A9DB8154F66}" presName="sibTrans" presStyleCnt="0"/>
      <dgm:spPr/>
    </dgm:pt>
    <dgm:pt modelId="{751B2D56-7CD8-4FBE-AB83-45ABDAC1AD46}" type="pres">
      <dgm:prSet presAssocID="{B44F1FC5-CE40-45B8-9468-175A4088F42F}" presName="node" presStyleLbl="node1" presStyleIdx="1" presStyleCnt="4">
        <dgm:presLayoutVars>
          <dgm:bulletEnabled val="1"/>
        </dgm:presLayoutVars>
      </dgm:prSet>
      <dgm:spPr/>
    </dgm:pt>
    <dgm:pt modelId="{00FEE2A3-9E58-4E14-BE7A-8271D0F31152}" type="pres">
      <dgm:prSet presAssocID="{591BD81A-2412-448D-8D8D-F7D19C8248F9}" presName="sibTrans" presStyleCnt="0"/>
      <dgm:spPr/>
    </dgm:pt>
    <dgm:pt modelId="{269509BF-FAD0-4CC4-871A-5D51A26F8049}" type="pres">
      <dgm:prSet presAssocID="{C7F85478-2DD6-4F05-8A47-9337B67987BE}" presName="node" presStyleLbl="node1" presStyleIdx="2" presStyleCnt="4">
        <dgm:presLayoutVars>
          <dgm:bulletEnabled val="1"/>
        </dgm:presLayoutVars>
      </dgm:prSet>
      <dgm:spPr/>
    </dgm:pt>
    <dgm:pt modelId="{AD09BC05-3575-4E43-80FE-D32DB5BF2A96}" type="pres">
      <dgm:prSet presAssocID="{98DA6E24-8B4E-4CD5-A0DF-A8C41D826BE8}" presName="sibTrans" presStyleCnt="0"/>
      <dgm:spPr/>
    </dgm:pt>
    <dgm:pt modelId="{AFB08364-688B-42B8-AA5F-17131626878B}" type="pres">
      <dgm:prSet presAssocID="{26A6CC7F-88E7-4F17-8EE8-D6EC282ED501}" presName="node" presStyleLbl="node1" presStyleIdx="3" presStyleCnt="4">
        <dgm:presLayoutVars>
          <dgm:bulletEnabled val="1"/>
        </dgm:presLayoutVars>
      </dgm:prSet>
      <dgm:spPr/>
    </dgm:pt>
  </dgm:ptLst>
  <dgm:cxnLst>
    <dgm:cxn modelId="{000EEE03-C54C-41FF-8071-91DAFE8B3BCF}" type="presOf" srcId="{C7F85478-2DD6-4F05-8A47-9337B67987BE}" destId="{269509BF-FAD0-4CC4-871A-5D51A26F8049}" srcOrd="0" destOrd="0" presId="urn:microsoft.com/office/officeart/2005/8/layout/default"/>
    <dgm:cxn modelId="{C3444716-FC06-48BF-8C36-DAB3F55CC7D2}" type="presOf" srcId="{8FD5CD2F-1DAE-4682-BEE9-C5870A3B0BF0}" destId="{CCD9CFAF-B43A-490B-84B4-89351BE48265}" srcOrd="0" destOrd="0" presId="urn:microsoft.com/office/officeart/2005/8/layout/default"/>
    <dgm:cxn modelId="{CBA4A21B-56EB-412F-824A-48F83BCD9C8B}" type="presOf" srcId="{87880E16-29B1-4B29-BF34-615A67A3E5B2}" destId="{2A044CC6-C19F-4FE8-8AB0-108972F47A05}" srcOrd="0" destOrd="0" presId="urn:microsoft.com/office/officeart/2005/8/layout/default"/>
    <dgm:cxn modelId="{091A1621-0295-4AA1-98A4-455B2A2E1F05}" srcId="{8FD5CD2F-1DAE-4682-BEE9-C5870A3B0BF0}" destId="{26A6CC7F-88E7-4F17-8EE8-D6EC282ED501}" srcOrd="3" destOrd="0" parTransId="{BCBFA163-074D-4F0F-93BE-650DBE38A7F6}" sibTransId="{298F8F3C-9FD3-42D9-8337-0AB72B5C3218}"/>
    <dgm:cxn modelId="{E89A3B3B-A94E-431D-B8F6-93D6EE0B12AC}" srcId="{8FD5CD2F-1DAE-4682-BEE9-C5870A3B0BF0}" destId="{C7F85478-2DD6-4F05-8A47-9337B67987BE}" srcOrd="2" destOrd="0" parTransId="{68D16E20-2DBA-41A4-BFE7-C72E74017058}" sibTransId="{98DA6E24-8B4E-4CD5-A0DF-A8C41D826BE8}"/>
    <dgm:cxn modelId="{E2F06781-DA88-4664-A31E-B091122AB6BE}" type="presOf" srcId="{B44F1FC5-CE40-45B8-9468-175A4088F42F}" destId="{751B2D56-7CD8-4FBE-AB83-45ABDAC1AD46}" srcOrd="0" destOrd="0" presId="urn:microsoft.com/office/officeart/2005/8/layout/default"/>
    <dgm:cxn modelId="{489D5387-AD29-4844-8EE3-414F0E0C17C5}" type="presOf" srcId="{26A6CC7F-88E7-4F17-8EE8-D6EC282ED501}" destId="{AFB08364-688B-42B8-AA5F-17131626878B}" srcOrd="0" destOrd="0" presId="urn:microsoft.com/office/officeart/2005/8/layout/default"/>
    <dgm:cxn modelId="{4158F79D-D2F9-4407-94C2-D03B571157D8}" srcId="{8FD5CD2F-1DAE-4682-BEE9-C5870A3B0BF0}" destId="{B44F1FC5-CE40-45B8-9468-175A4088F42F}" srcOrd="1" destOrd="0" parTransId="{67504B09-D65C-4B69-9C77-1AA794C9CF15}" sibTransId="{591BD81A-2412-448D-8D8D-F7D19C8248F9}"/>
    <dgm:cxn modelId="{0A65D6FE-6D11-477A-94F5-8CE1766E55D8}" srcId="{8FD5CD2F-1DAE-4682-BEE9-C5870A3B0BF0}" destId="{87880E16-29B1-4B29-BF34-615A67A3E5B2}" srcOrd="0" destOrd="0" parTransId="{51CB997A-E308-467E-B8C8-22A097499820}" sibTransId="{5499C715-F007-4803-BBD8-4A9DB8154F66}"/>
    <dgm:cxn modelId="{EDD4D4EC-1DE8-4C76-B856-E630565BDB83}" type="presParOf" srcId="{CCD9CFAF-B43A-490B-84B4-89351BE48265}" destId="{2A044CC6-C19F-4FE8-8AB0-108972F47A05}" srcOrd="0" destOrd="0" presId="urn:microsoft.com/office/officeart/2005/8/layout/default"/>
    <dgm:cxn modelId="{135B5CE3-3F41-4A7D-A333-27733708BD58}" type="presParOf" srcId="{CCD9CFAF-B43A-490B-84B4-89351BE48265}" destId="{A6965D0A-4BBC-4B80-B348-6F0F6EA87580}" srcOrd="1" destOrd="0" presId="urn:microsoft.com/office/officeart/2005/8/layout/default"/>
    <dgm:cxn modelId="{D911C4ED-0802-4B94-8349-1BC1C481F286}" type="presParOf" srcId="{CCD9CFAF-B43A-490B-84B4-89351BE48265}" destId="{751B2D56-7CD8-4FBE-AB83-45ABDAC1AD46}" srcOrd="2" destOrd="0" presId="urn:microsoft.com/office/officeart/2005/8/layout/default"/>
    <dgm:cxn modelId="{9C1758C2-8507-4496-9C1F-47A9CDAAF965}" type="presParOf" srcId="{CCD9CFAF-B43A-490B-84B4-89351BE48265}" destId="{00FEE2A3-9E58-4E14-BE7A-8271D0F31152}" srcOrd="3" destOrd="0" presId="urn:microsoft.com/office/officeart/2005/8/layout/default"/>
    <dgm:cxn modelId="{5499DDDB-FE1D-4F91-9ADA-B9D447D66AE8}" type="presParOf" srcId="{CCD9CFAF-B43A-490B-84B4-89351BE48265}" destId="{269509BF-FAD0-4CC4-871A-5D51A26F8049}" srcOrd="4" destOrd="0" presId="urn:microsoft.com/office/officeart/2005/8/layout/default"/>
    <dgm:cxn modelId="{875F8AE1-B07E-47E4-B966-DAC41214DFAC}" type="presParOf" srcId="{CCD9CFAF-B43A-490B-84B4-89351BE48265}" destId="{AD09BC05-3575-4E43-80FE-D32DB5BF2A96}" srcOrd="5" destOrd="0" presId="urn:microsoft.com/office/officeart/2005/8/layout/default"/>
    <dgm:cxn modelId="{41C5CA9F-7A87-47AC-8F1A-96258C11C0A6}" type="presParOf" srcId="{CCD9CFAF-B43A-490B-84B4-89351BE48265}" destId="{AFB08364-688B-42B8-AA5F-17131626878B}"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D1336C-B80B-4BD4-802F-FA4A4350C8BB}">
      <dsp:nvSpPr>
        <dsp:cNvPr id="0" name=""/>
        <dsp:cNvSpPr/>
      </dsp:nvSpPr>
      <dsp:spPr>
        <a:xfrm>
          <a:off x="2377439" y="67627"/>
          <a:ext cx="3246120" cy="3246120"/>
        </a:xfrm>
        <a:prstGeom prst="ellipse">
          <a:avLst/>
        </a:prstGeom>
        <a:solidFill>
          <a:schemeClr val="accent2">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778000">
            <a:lnSpc>
              <a:spcPct val="90000"/>
            </a:lnSpc>
            <a:spcBef>
              <a:spcPct val="0"/>
            </a:spcBef>
            <a:spcAft>
              <a:spcPct val="35000"/>
            </a:spcAft>
            <a:buNone/>
          </a:pPr>
          <a:r>
            <a:rPr lang="es-ES" sz="4000" kern="1200" dirty="0"/>
            <a:t>Data</a:t>
          </a:r>
        </a:p>
      </dsp:txBody>
      <dsp:txXfrm>
        <a:off x="2810256" y="635698"/>
        <a:ext cx="2380488" cy="1460754"/>
      </dsp:txXfrm>
    </dsp:sp>
    <dsp:sp modelId="{39E9470F-8ED9-4AD8-A5B4-7270D2A714AD}">
      <dsp:nvSpPr>
        <dsp:cNvPr id="0" name=""/>
        <dsp:cNvSpPr/>
      </dsp:nvSpPr>
      <dsp:spPr>
        <a:xfrm>
          <a:off x="3548748" y="2096452"/>
          <a:ext cx="3246120" cy="3246120"/>
        </a:xfrm>
        <a:prstGeom prst="ellipse">
          <a:avLst/>
        </a:prstGeom>
        <a:solidFill>
          <a:schemeClr val="accent2">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778000">
            <a:lnSpc>
              <a:spcPct val="90000"/>
            </a:lnSpc>
            <a:spcBef>
              <a:spcPct val="0"/>
            </a:spcBef>
            <a:spcAft>
              <a:spcPct val="35000"/>
            </a:spcAft>
            <a:buNone/>
          </a:pPr>
          <a:r>
            <a:rPr lang="es-ES" sz="4000" kern="1200" dirty="0"/>
            <a:t>People</a:t>
          </a:r>
        </a:p>
      </dsp:txBody>
      <dsp:txXfrm>
        <a:off x="4541520" y="2935033"/>
        <a:ext cx="1947672" cy="1785366"/>
      </dsp:txXfrm>
    </dsp:sp>
    <dsp:sp modelId="{84AA0A1F-6009-4E25-90BE-F89CB6D81A3D}">
      <dsp:nvSpPr>
        <dsp:cNvPr id="0" name=""/>
        <dsp:cNvSpPr/>
      </dsp:nvSpPr>
      <dsp:spPr>
        <a:xfrm>
          <a:off x="1206131" y="2096452"/>
          <a:ext cx="3246120" cy="3246120"/>
        </a:xfrm>
        <a:prstGeom prst="ellipse">
          <a:avLst/>
        </a:prstGeom>
        <a:solidFill>
          <a:schemeClr val="accent2">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778000">
            <a:lnSpc>
              <a:spcPct val="90000"/>
            </a:lnSpc>
            <a:spcBef>
              <a:spcPct val="0"/>
            </a:spcBef>
            <a:spcAft>
              <a:spcPct val="35000"/>
            </a:spcAft>
            <a:buNone/>
          </a:pPr>
          <a:r>
            <a:rPr lang="es-ES" sz="4000" kern="1200" dirty="0" err="1"/>
            <a:t>Systems</a:t>
          </a:r>
          <a:endParaRPr lang="es-ES" sz="4000" kern="1200" dirty="0"/>
        </a:p>
      </dsp:txBody>
      <dsp:txXfrm>
        <a:off x="1511807" y="2935033"/>
        <a:ext cx="1947672" cy="17853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044CC6-C19F-4FE8-8AB0-108972F47A05}">
      <dsp:nvSpPr>
        <dsp:cNvPr id="0" name=""/>
        <dsp:cNvSpPr/>
      </dsp:nvSpPr>
      <dsp:spPr>
        <a:xfrm>
          <a:off x="744" y="145603"/>
          <a:ext cx="2902148" cy="17412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ctr" defTabSz="2133600">
            <a:lnSpc>
              <a:spcPct val="90000"/>
            </a:lnSpc>
            <a:spcBef>
              <a:spcPct val="0"/>
            </a:spcBef>
            <a:spcAft>
              <a:spcPct val="35000"/>
            </a:spcAft>
            <a:buNone/>
          </a:pPr>
          <a:r>
            <a:rPr lang="en-US" sz="4800" kern="1200" dirty="0"/>
            <a:t>Content</a:t>
          </a:r>
        </a:p>
      </dsp:txBody>
      <dsp:txXfrm>
        <a:off x="744" y="145603"/>
        <a:ext cx="2902148" cy="1741289"/>
      </dsp:txXfrm>
    </dsp:sp>
    <dsp:sp modelId="{751B2D56-7CD8-4FBE-AB83-45ABDAC1AD46}">
      <dsp:nvSpPr>
        <dsp:cNvPr id="0" name=""/>
        <dsp:cNvSpPr/>
      </dsp:nvSpPr>
      <dsp:spPr>
        <a:xfrm>
          <a:off x="3193107" y="145603"/>
          <a:ext cx="2902148" cy="17412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ctr" defTabSz="2133600">
            <a:lnSpc>
              <a:spcPct val="90000"/>
            </a:lnSpc>
            <a:spcBef>
              <a:spcPct val="0"/>
            </a:spcBef>
            <a:spcAft>
              <a:spcPct val="35000"/>
            </a:spcAft>
            <a:buNone/>
          </a:pPr>
          <a:r>
            <a:rPr lang="en-US" sz="4800" kern="1200" dirty="0"/>
            <a:t>Practice</a:t>
          </a:r>
        </a:p>
      </dsp:txBody>
      <dsp:txXfrm>
        <a:off x="3193107" y="145603"/>
        <a:ext cx="2902148" cy="1741289"/>
      </dsp:txXfrm>
    </dsp:sp>
    <dsp:sp modelId="{269509BF-FAD0-4CC4-871A-5D51A26F8049}">
      <dsp:nvSpPr>
        <dsp:cNvPr id="0" name=""/>
        <dsp:cNvSpPr/>
      </dsp:nvSpPr>
      <dsp:spPr>
        <a:xfrm>
          <a:off x="744" y="2177107"/>
          <a:ext cx="2902148" cy="17412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ctr" defTabSz="2133600">
            <a:lnSpc>
              <a:spcPct val="90000"/>
            </a:lnSpc>
            <a:spcBef>
              <a:spcPct val="0"/>
            </a:spcBef>
            <a:spcAft>
              <a:spcPct val="35000"/>
            </a:spcAft>
            <a:buNone/>
          </a:pPr>
          <a:r>
            <a:rPr lang="en-US" sz="4800" kern="1200" dirty="0"/>
            <a:t>Workflow</a:t>
          </a:r>
        </a:p>
      </dsp:txBody>
      <dsp:txXfrm>
        <a:off x="744" y="2177107"/>
        <a:ext cx="2902148" cy="1741289"/>
      </dsp:txXfrm>
    </dsp:sp>
    <dsp:sp modelId="{AFB08364-688B-42B8-AA5F-17131626878B}">
      <dsp:nvSpPr>
        <dsp:cNvPr id="0" name=""/>
        <dsp:cNvSpPr/>
      </dsp:nvSpPr>
      <dsp:spPr>
        <a:xfrm>
          <a:off x="3193107" y="2177107"/>
          <a:ext cx="2902148" cy="1741289"/>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ctr" defTabSz="2133600">
            <a:lnSpc>
              <a:spcPct val="90000"/>
            </a:lnSpc>
            <a:spcBef>
              <a:spcPct val="0"/>
            </a:spcBef>
            <a:spcAft>
              <a:spcPct val="35000"/>
            </a:spcAft>
            <a:buNone/>
          </a:pPr>
          <a:r>
            <a:rPr lang="en-US" sz="4800" kern="1200" dirty="0"/>
            <a:t>HIS</a:t>
          </a:r>
        </a:p>
      </dsp:txBody>
      <dsp:txXfrm>
        <a:off x="3193107" y="2177107"/>
        <a:ext cx="2902148" cy="1741289"/>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50520"/>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sz="quarter" idx="1"/>
          </p:nvPr>
        </p:nvSpPr>
        <p:spPr>
          <a:xfrm>
            <a:off x="5231639" y="0"/>
            <a:ext cx="4002299" cy="350520"/>
          </a:xfrm>
          <a:prstGeom prst="rect">
            <a:avLst/>
          </a:prstGeom>
        </p:spPr>
        <p:txBody>
          <a:bodyPr vert="horz" lIns="92830" tIns="46415" rIns="92830" bIns="46415" rtlCol="0"/>
          <a:lstStyle>
            <a:lvl1pPr algn="r">
              <a:defRPr sz="1200"/>
            </a:lvl1pPr>
          </a:lstStyle>
          <a:p>
            <a:fld id="{02BD89CC-59B5-465B-B03A-A8986317AFB5}" type="datetimeFigureOut">
              <a:rPr lang="en-US" smtClean="0"/>
              <a:t>6/22/2018</a:t>
            </a:fld>
            <a:endParaRPr lang="en-US"/>
          </a:p>
        </p:txBody>
      </p:sp>
      <p:sp>
        <p:nvSpPr>
          <p:cNvPr id="4" name="Footer Placeholder 3"/>
          <p:cNvSpPr>
            <a:spLocks noGrp="1"/>
          </p:cNvSpPr>
          <p:nvPr>
            <p:ph type="ftr" sz="quarter" idx="2"/>
          </p:nvPr>
        </p:nvSpPr>
        <p:spPr>
          <a:xfrm>
            <a:off x="0" y="6658664"/>
            <a:ext cx="4002299" cy="350520"/>
          </a:xfrm>
          <a:prstGeom prst="rect">
            <a:avLst/>
          </a:prstGeom>
        </p:spPr>
        <p:txBody>
          <a:bodyPr vert="horz" lIns="92830" tIns="46415" rIns="92830" bIns="46415" rtlCol="0" anchor="b"/>
          <a:lstStyle>
            <a:lvl1pPr algn="l">
              <a:defRPr sz="1200"/>
            </a:lvl1pPr>
          </a:lstStyle>
          <a:p>
            <a:endParaRPr lang="en-US"/>
          </a:p>
        </p:txBody>
      </p:sp>
      <p:sp>
        <p:nvSpPr>
          <p:cNvPr id="5" name="Slide Number Placeholder 4"/>
          <p:cNvSpPr>
            <a:spLocks noGrp="1"/>
          </p:cNvSpPr>
          <p:nvPr>
            <p:ph type="sldNum" sz="quarter" idx="3"/>
          </p:nvPr>
        </p:nvSpPr>
        <p:spPr>
          <a:xfrm>
            <a:off x="5231639" y="6658664"/>
            <a:ext cx="4002299" cy="350520"/>
          </a:xfrm>
          <a:prstGeom prst="rect">
            <a:avLst/>
          </a:prstGeom>
        </p:spPr>
        <p:txBody>
          <a:bodyPr vert="horz" lIns="92830" tIns="46415" rIns="92830" bIns="46415" rtlCol="0" anchor="b"/>
          <a:lstStyle>
            <a:lvl1pPr algn="r">
              <a:defRPr sz="1200"/>
            </a:lvl1pPr>
          </a:lstStyle>
          <a:p>
            <a:fld id="{28E7B3FB-3377-4965-AC6A-1C597BFDBD41}" type="slidenum">
              <a:rPr lang="en-US" smtClean="0"/>
              <a:t>‹#›</a:t>
            </a:fld>
            <a:endParaRPr lang="en-US"/>
          </a:p>
        </p:txBody>
      </p:sp>
    </p:spTree>
    <p:extLst>
      <p:ext uri="{BB962C8B-B14F-4D97-AF65-F5344CB8AC3E}">
        <p14:creationId xmlns:p14="http://schemas.microsoft.com/office/powerpoint/2010/main" val="11889660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50520"/>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idx="1"/>
          </p:nvPr>
        </p:nvSpPr>
        <p:spPr>
          <a:xfrm>
            <a:off x="5231639" y="0"/>
            <a:ext cx="4002299" cy="350520"/>
          </a:xfrm>
          <a:prstGeom prst="rect">
            <a:avLst/>
          </a:prstGeom>
        </p:spPr>
        <p:txBody>
          <a:bodyPr vert="horz" lIns="92830" tIns="46415" rIns="92830" bIns="46415" rtlCol="0"/>
          <a:lstStyle>
            <a:lvl1pPr algn="r">
              <a:defRPr sz="1200"/>
            </a:lvl1pPr>
          </a:lstStyle>
          <a:p>
            <a:fld id="{3D454282-1C40-4C3D-A783-19BD64730A33}" type="datetimeFigureOut">
              <a:rPr lang="en-US" smtClean="0"/>
              <a:t>6/21/2018</a:t>
            </a:fld>
            <a:endParaRPr lang="en-US"/>
          </a:p>
        </p:txBody>
      </p:sp>
      <p:sp>
        <p:nvSpPr>
          <p:cNvPr id="4" name="Slide Image Placeholder 3"/>
          <p:cNvSpPr>
            <a:spLocks noGrp="1" noRot="1" noChangeAspect="1"/>
          </p:cNvSpPr>
          <p:nvPr>
            <p:ph type="sldImg" idx="2"/>
          </p:nvPr>
        </p:nvSpPr>
        <p:spPr>
          <a:xfrm>
            <a:off x="2865438" y="525463"/>
            <a:ext cx="3505200" cy="2628900"/>
          </a:xfrm>
          <a:prstGeom prst="rect">
            <a:avLst/>
          </a:prstGeom>
          <a:noFill/>
          <a:ln w="12700">
            <a:solidFill>
              <a:prstClr val="black"/>
            </a:solidFill>
          </a:ln>
        </p:spPr>
        <p:txBody>
          <a:bodyPr vert="horz" lIns="92830" tIns="46415" rIns="92830" bIns="46415" rtlCol="0" anchor="ctr"/>
          <a:lstStyle/>
          <a:p>
            <a:endParaRPr lang="en-US"/>
          </a:p>
        </p:txBody>
      </p:sp>
      <p:sp>
        <p:nvSpPr>
          <p:cNvPr id="5" name="Notes Placeholder 4"/>
          <p:cNvSpPr>
            <a:spLocks noGrp="1"/>
          </p:cNvSpPr>
          <p:nvPr>
            <p:ph type="body" sz="quarter" idx="3"/>
          </p:nvPr>
        </p:nvSpPr>
        <p:spPr>
          <a:xfrm>
            <a:off x="923608" y="3329940"/>
            <a:ext cx="7388860" cy="3154680"/>
          </a:xfrm>
          <a:prstGeom prst="rect">
            <a:avLst/>
          </a:prstGeom>
        </p:spPr>
        <p:txBody>
          <a:bodyPr vert="horz" lIns="92830" tIns="46415" rIns="92830" bIns="4641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02299" cy="350520"/>
          </a:xfrm>
          <a:prstGeom prst="rect">
            <a:avLst/>
          </a:prstGeom>
        </p:spPr>
        <p:txBody>
          <a:bodyPr vert="horz" lIns="92830" tIns="46415" rIns="92830"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5231639" y="6658664"/>
            <a:ext cx="4002299" cy="350520"/>
          </a:xfrm>
          <a:prstGeom prst="rect">
            <a:avLst/>
          </a:prstGeom>
        </p:spPr>
        <p:txBody>
          <a:bodyPr vert="horz" lIns="92830" tIns="46415" rIns="92830" bIns="46415" rtlCol="0" anchor="b"/>
          <a:lstStyle>
            <a:lvl1pPr algn="r">
              <a:defRPr sz="1200"/>
            </a:lvl1pPr>
          </a:lstStyle>
          <a:p>
            <a:fld id="{8B57E869-E264-4B76-99D8-F3A38543442F}" type="slidenum">
              <a:rPr lang="en-US" smtClean="0"/>
              <a:t>‹#›</a:t>
            </a:fld>
            <a:endParaRPr lang="en-US"/>
          </a:p>
        </p:txBody>
      </p:sp>
    </p:spTree>
    <p:extLst>
      <p:ext uri="{BB962C8B-B14F-4D97-AF65-F5344CB8AC3E}">
        <p14:creationId xmlns:p14="http://schemas.microsoft.com/office/powerpoint/2010/main" val="14071538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DB7306-F190-AF4E-9DE2-C6105494FE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32239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D3AB5A-A072-4E03-8C67-5C6DD1F598D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2517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o help with these</a:t>
            </a:r>
            <a:r>
              <a:rPr lang="en-US" baseline="0" dirty="0"/>
              <a:t> rule based errors, a</a:t>
            </a:r>
            <a:r>
              <a:rPr lang="en-US" dirty="0"/>
              <a:t> checklist</a:t>
            </a:r>
            <a:r>
              <a:rPr lang="en-US" baseline="0" dirty="0"/>
              <a:t> serves as a memory aid</a:t>
            </a:r>
          </a:p>
          <a:p>
            <a:pPr marL="171450" indent="-171450">
              <a:buFont typeface="Arial" panose="020B0604020202020204" pitchFamily="34" charset="0"/>
              <a:buChar char="•"/>
            </a:pPr>
            <a:r>
              <a:rPr lang="en-US" baseline="0" dirty="0"/>
              <a:t>Reminds people of the rule, such as if my patient has a heart attack, I should consider doing the things on this list.</a:t>
            </a:r>
          </a:p>
          <a:p>
            <a:pPr marL="171450" indent="-171450">
              <a:buFont typeface="Arial" panose="020B0604020202020204" pitchFamily="34" charset="0"/>
              <a:buChar char="•"/>
            </a:pPr>
            <a:r>
              <a:rPr lang="en-US" baseline="0" dirty="0"/>
              <a:t>Do you expect a pilot of an airliner to use a checklist every time he or she lands a plane? Yes, and they do even if they have landed 10,000 times.</a:t>
            </a:r>
          </a:p>
          <a:p>
            <a:pPr marL="171450" indent="-171450">
              <a:buFont typeface="Arial" panose="020B0604020202020204" pitchFamily="34" charset="0"/>
              <a:buChar char="•"/>
            </a:pPr>
            <a:r>
              <a:rPr lang="en-US" baseline="0" dirty="0"/>
              <a:t>Forgetting one item on the list could be catastrophic.</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AD0C4DC-DC86-4CF9-8BF4-F8EC0AE0471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72338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The most impactful way to empower providers and patients</a:t>
            </a:r>
          </a:p>
          <a:p>
            <a:endParaRPr lang="en-US" sz="1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r>
              <a:rPr lang="en-US" sz="12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in reducing variability…</a:t>
            </a:r>
          </a:p>
          <a:p>
            <a:endParaRPr lang="es-E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D3AB5A-A072-4E03-8C67-5C6DD1F598D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16187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F1CB72-2BBD-4597-A066-7DE93C2DE8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10932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F1CB72-2BBD-4597-A066-7DE93C2DE8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9474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F1CB72-2BBD-4597-A066-7DE93C2DE8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5172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F1CB72-2BBD-4597-A066-7DE93C2DE8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8368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F1CB72-2BBD-4597-A066-7DE93C2DE8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31236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s your Intensive Care Unit like most across the world,</a:t>
            </a:r>
            <a:r>
              <a:rPr lang="en-US" baseline="0" dirty="0"/>
              <a:t> taking a chest X-ray of every ICU patient every day?  Is a daily chest X-ray really necessary for every ICU patient every day?</a:t>
            </a:r>
          </a:p>
          <a:p>
            <a:r>
              <a:rPr lang="en-US" baseline="0" dirty="0"/>
              <a:t>If a colon cancer patient came to receive treatment from a surgeon, would the surgeon know that because the patient is 52 years old, and because the cancer is located in the right side of the colon, that the normal colon cancer operation is wrong?  That this patient has a genetically inherited cancer syndrome and needs a much larger operation?  And that the patient needs screening for cancer in other organ systems?  And that all of the patient’s children, siblings, and parents need a blood test to see which of them also has the cancer syndrom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A1E43A-C599-4632-936A-D93A610194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1756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s your Intensive Care Unit like most across the world,</a:t>
            </a:r>
            <a:r>
              <a:rPr lang="en-US" baseline="0" dirty="0"/>
              <a:t> taking a chest X-ray of every ICU patient every day?  Is a daily chest X-ray really necessary for every ICU patient every day?</a:t>
            </a:r>
          </a:p>
          <a:p>
            <a:r>
              <a:rPr lang="en-US" baseline="0" dirty="0"/>
              <a:t>If a colon cancer patient came to receive treatment from a surgeon, would the surgeon know that because the patient is 52 years old, and because the cancer is located in the right side of the colon, that the normal colon cancer operation is wrong?  That this patient has a genetically inherited cancer syndrome and needs a much larger operation?  And that the patient needs screening for cancer in other organ systems?  And that all of the patient’s children, siblings, and parents need a blood test to see which of them also has the cancer syndrom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A1E43A-C599-4632-936A-D93A610194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12283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r>
              <a:rPr lang="en-US" dirty="0"/>
              <a:t>Contextual errors occur when a physician fails to take into account unique constraints in a patient’s life that could bear on successful, post discharge treatment. For example, the patient may lack the cognitive ability to comply with a medical treatment plan or may not have reasonable access to follow-up ca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57E869-E264-4B76-99D8-F3A38543442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08225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E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D3AB5A-A072-4E03-8C67-5C6DD1F598D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092523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sz="1200" b="0" i="0" kern="1200" dirty="0">
                <a:solidFill>
                  <a:schemeClr val="tx1"/>
                </a:solidFill>
                <a:effectLst/>
                <a:latin typeface="+mn-lt"/>
                <a:ea typeface="+mn-ea"/>
                <a:cs typeface="+mn-cs"/>
              </a:rPr>
              <a:t>A sample of 459 nurses in 3 hospitals completed the Missed Nursing Care (MISSCARE) Survey. Assessment was reported to be missed by 44% of respondents while interventions, basic care, and planning were reported to be missed by &gt; 70% of the survey respondents. Reasons for missed care were labor resources (85%), material resources (56%), and communication (38%).</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cording to the Agency for Healthcare Research and Quality, “errors of omission are more difficult to recognize than errors of commission but likely represent a larger problem.</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In other words, there are probably many more instances in which the provision of additional nursing care, such as turning and patient teaching in preparation for discharge, would have improved outcomes than there are instances in which the care provided caused direct harm (such as giving the wrong dose of a medicatio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ine elements of regularly missed nursing care (ambulation, turning, delayed or missed feedings, patient teaching, discharge planning, emotional support, hygiene, intake and output documentation, and surveillance) and 7 themes relative to the reasons nursing staff gave for missing this care (too few staff, poor use of existing staff resources, time required for the nursing intervention, poor teamwork, ineffective delegation, habit, and denial) were uncovered.</a:t>
            </a:r>
          </a:p>
          <a:p>
            <a:endParaRPr lang="en-US" sz="1200" b="0" i="0" kern="1200" dirty="0">
              <a:solidFill>
                <a:schemeClr val="tx1"/>
              </a:solidFill>
              <a:effectLst/>
              <a:latin typeface="+mn-lt"/>
              <a:ea typeface="+mn-ea"/>
              <a:cs typeface="+mn-cs"/>
            </a:endParaRPr>
          </a:p>
          <a:p>
            <a:r>
              <a:rPr lang="en-US" dirty="0"/>
              <a:t>Beatrice J. Kalisch, Gay Landstrom, Reg Arthur Williams, Missed nursing care: Errors of omission, Nursing Outlook, Volume 57, Issue 1, January–February 2009, Pages 3-9, ISSN 0029-6554, http://dx.doi.org/10.1016/j.outlook.2008.05.007. (http://www.sciencedirect.com/science/article/pii/S0029655408001462</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90D8E1F-7966-43D7-A1D9-578C7B702D0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9908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sz="1200" b="0" i="0" kern="1200" dirty="0">
                <a:solidFill>
                  <a:schemeClr val="tx1"/>
                </a:solidFill>
                <a:effectLst/>
                <a:latin typeface="+mn-lt"/>
                <a:ea typeface="+mn-ea"/>
                <a:cs typeface="+mn-cs"/>
              </a:rPr>
              <a:t>A sample of 459 nurses in 3 hospitals completed the Missed Nursing Care (MISSCARE) Survey. Assessment was reported to be missed by 44% of respondents while interventions, basic care, and planning were reported to be missed by &gt; 70% of the survey respondents. Reasons for missed care were labor resources (85%), material resources (56%), and communication (38%).</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ccording to the Agency for Healthcare Research and Quality, “errors of omission are more difficult to recognize than errors of commission but likely represent a larger problem.</a:t>
            </a:r>
            <a:r>
              <a:rPr lang="en-US" sz="1200" b="0" i="0"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In other words, there are probably many more instances in which the provision of additional nursing care, such as turning and patient teaching in preparation for discharge, would have improved outcomes than there are instances in which the care provided caused direct harm (such as giving the wrong dose of a medication).</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Nine elements of regularly missed nursing care (ambulation, turning, delayed or missed feedings, patient teaching, discharge planning, emotional support, hygiene, intake and output documentation, and surveillance) and 7 themes relative to the reasons nursing staff gave for missing this care (too few staff, poor use of existing staff resources, time required for the nursing intervention, poor teamwork, ineffective delegation, habit, and denial) were uncovered.</a:t>
            </a:r>
          </a:p>
          <a:p>
            <a:endParaRPr lang="en-US" sz="1200" b="0" i="0" kern="1200" dirty="0">
              <a:solidFill>
                <a:schemeClr val="tx1"/>
              </a:solidFill>
              <a:effectLst/>
              <a:latin typeface="+mn-lt"/>
              <a:ea typeface="+mn-ea"/>
              <a:cs typeface="+mn-cs"/>
            </a:endParaRPr>
          </a:p>
          <a:p>
            <a:r>
              <a:rPr lang="en-US" dirty="0"/>
              <a:t>Beatrice J. Kalisch, Gay Landstrom, Reg Arthur Williams, Missed nursing care: Errors of omission, Nursing Outlook, Volume 57, Issue 1, January–February 2009, Pages 3-9, ISSN 0029-6554, http://dx.doi.org/10.1016/j.outlook.2008.05.007. (http://www.sciencedirect.com/science/article/pii/S0029655408001462</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90D8E1F-7966-43D7-A1D9-578C7B702D0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27715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F1CB72-2BBD-4597-A066-7DE93C2DE8A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98516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file://localhost/Users/keithmarsh/Desktop/Lisa-Various%20EHI%20jobs/JOB%205-PPT/Elsevier_World_Health_aw.jpg" TargetMode="External"/><Relationship Id="rId2" Type="http://schemas.openxmlformats.org/officeDocument/2006/relationships/image" Target="../media/image29.jpg"/><Relationship Id="rId1" Type="http://schemas.openxmlformats.org/officeDocument/2006/relationships/slideMaster" Target="../slideMasters/slideMaster11.xml"/><Relationship Id="rId4" Type="http://schemas.openxmlformats.org/officeDocument/2006/relationships/image" Target="../media/image3.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2.xml"/><Relationship Id="rId5" Type="http://schemas.openxmlformats.org/officeDocument/2006/relationships/image" Target="../media/image33.jpeg"/><Relationship Id="rId4" Type="http://schemas.openxmlformats.org/officeDocument/2006/relationships/image" Target="../media/image32.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2.xml"/><Relationship Id="rId4" Type="http://schemas.openxmlformats.org/officeDocument/2006/relationships/image" Target="../media/image33.jpe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9430563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544286"/>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22592" y="356616"/>
            <a:ext cx="1782305" cy="274320"/>
          </a:xfrm>
          <a:prstGeom prst="rect">
            <a:avLst/>
          </a:prstGeom>
        </p:spPr>
      </p:pic>
    </p:spTree>
    <p:extLst>
      <p:ext uri="{BB962C8B-B14F-4D97-AF65-F5344CB8AC3E}">
        <p14:creationId xmlns:p14="http://schemas.microsoft.com/office/powerpoint/2010/main" val="375467825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5"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a:t>Section Title And Multiple Lines If Necessary</a:t>
            </a:r>
          </a:p>
        </p:txBody>
      </p:sp>
      <p:pic>
        <p:nvPicPr>
          <p:cNvPr id="6" name="Picture 2" descr="C:\Users\IversonS\Desktop\Elsevier Education\Education Branding\Illustrations\Elsevier_World_Health_aw.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4779264" cy="6870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2670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718BBCA3-30A8-49A8-9473-C35C93A1DEE8}" type="datetimeFigureOut">
              <a:rPr lang="en-US" smtClean="0"/>
              <a:t>6/21/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0A0261F9-485B-4EA1-9636-8EC9FABB98F7}" type="slidenum">
              <a:rPr lang="en-US" smtClean="0"/>
              <a:t>‹#›</a:t>
            </a:fld>
            <a:endParaRPr lang="en-US"/>
          </a:p>
        </p:txBody>
      </p:sp>
    </p:spTree>
    <p:extLst>
      <p:ext uri="{BB962C8B-B14F-4D97-AF65-F5344CB8AC3E}">
        <p14:creationId xmlns:p14="http://schemas.microsoft.com/office/powerpoint/2010/main" val="31749372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p>
        </p:txBody>
      </p:sp>
      <p:sp>
        <p:nvSpPr>
          <p:cNvPr id="4"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82598274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43464450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86480147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4_Title Slide">
    <p:spTree>
      <p:nvGrpSpPr>
        <p:cNvPr id="1" name=""/>
        <p:cNvGrpSpPr/>
        <p:nvPr/>
      </p:nvGrpSpPr>
      <p:grpSpPr>
        <a:xfrm>
          <a:off x="0" y="0"/>
          <a:ext cx="0" cy="0"/>
          <a:chOff x="0" y="0"/>
          <a:chExt cx="0" cy="0"/>
        </a:xfrm>
      </p:grpSpPr>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4" name="Text Placeholder 13"/>
          <p:cNvSpPr>
            <a:spLocks noGrp="1"/>
          </p:cNvSpPr>
          <p:nvPr>
            <p:ph type="body" sz="quarter" idx="14" hasCustomPrompt="1"/>
          </p:nvPr>
        </p:nvSpPr>
        <p:spPr>
          <a:xfrm>
            <a:off x="300038" y="1282537"/>
            <a:ext cx="7484329" cy="322555"/>
          </a:xfrm>
          <a:prstGeom prst="rect">
            <a:avLst/>
          </a:prstGeom>
        </p:spPr>
        <p:txBody>
          <a:bodyPr vert="horz"/>
          <a:lstStyle>
            <a:lvl1pPr>
              <a:buNone/>
              <a:defRPr sz="1600">
                <a:solidFill>
                  <a:srgbClr val="53565A"/>
                </a:solidFill>
              </a:defRPr>
            </a:lvl1pPr>
          </a:lstStyle>
          <a:p>
            <a:pPr lvl="0"/>
            <a:r>
              <a:rPr lang="en-US" dirty="0"/>
              <a:t>Subtitle of Presentation</a:t>
            </a:r>
          </a:p>
        </p:txBody>
      </p:sp>
      <p:sp>
        <p:nvSpPr>
          <p:cNvPr id="3"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rgbClr val="53565A"/>
                </a:solidFill>
              </a:defRPr>
            </a:lvl1pPr>
          </a:lstStyle>
          <a:p>
            <a:r>
              <a:rPr lang="en-US" dirty="0"/>
              <a:t>Cover Slide Title and</a:t>
            </a:r>
            <a:br>
              <a:rPr lang="en-US" dirty="0"/>
            </a:br>
            <a:r>
              <a:rPr lang="en-US" dirty="0"/>
              <a:t>Second Line if Necessary</a:t>
            </a:r>
          </a:p>
        </p:txBody>
      </p:sp>
      <p:pic>
        <p:nvPicPr>
          <p:cNvPr id="11" name="Picture 2" descr="C:\Users\IversonS\Desktop\Elsevier Education\Education Branding\Illustrations\Elsevier_World_Health_aw.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2231136"/>
            <a:ext cx="9144000" cy="30358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280558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19359" y="6511345"/>
            <a:ext cx="1314090" cy="218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256693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33377"/>
            <a:ext cx="7848600" cy="1038225"/>
          </a:xfrm>
        </p:spPr>
        <p:txBody>
          <a:bodyPr/>
          <a:lstStyle/>
          <a:p>
            <a:r>
              <a:rPr lang="en-US"/>
              <a:t>Click to edit Master title style</a:t>
            </a:r>
          </a:p>
        </p:txBody>
      </p:sp>
      <p:sp>
        <p:nvSpPr>
          <p:cNvPr id="3" name="Text Placeholder 2"/>
          <p:cNvSpPr>
            <a:spLocks noGrp="1"/>
          </p:cNvSpPr>
          <p:nvPr>
            <p:ph type="body" sz="half" idx="1"/>
          </p:nvPr>
        </p:nvSpPr>
        <p:spPr>
          <a:xfrm>
            <a:off x="685800" y="1447800"/>
            <a:ext cx="384810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447800"/>
            <a:ext cx="384810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4365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33377"/>
            <a:ext cx="7848600" cy="1038225"/>
          </a:xfrm>
        </p:spPr>
        <p:txBody>
          <a:bodyPr/>
          <a:lstStyle/>
          <a:p>
            <a:r>
              <a:rPr lang="en-US"/>
              <a:t>Click to edit Master title style</a:t>
            </a:r>
          </a:p>
        </p:txBody>
      </p:sp>
      <p:sp>
        <p:nvSpPr>
          <p:cNvPr id="3" name="Content Placeholder 2"/>
          <p:cNvSpPr>
            <a:spLocks noGrp="1"/>
          </p:cNvSpPr>
          <p:nvPr>
            <p:ph sz="half" idx="1"/>
          </p:nvPr>
        </p:nvSpPr>
        <p:spPr>
          <a:xfrm>
            <a:off x="685800" y="1447800"/>
            <a:ext cx="384810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86300" y="1447800"/>
            <a:ext cx="3848100" cy="2095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86300" y="3695700"/>
            <a:ext cx="3848100" cy="2095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914169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4586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1_Section Header">
    <p:spTree>
      <p:nvGrpSpPr>
        <p:cNvPr id="1" name=""/>
        <p:cNvGrpSpPr/>
        <p:nvPr/>
      </p:nvGrpSpPr>
      <p:grpSpPr>
        <a:xfrm>
          <a:off x="0" y="0"/>
          <a:ext cx="0" cy="0"/>
          <a:chOff x="0" y="0"/>
          <a:chExt cx="0" cy="0"/>
        </a:xfrm>
      </p:grpSpPr>
      <p:pic>
        <p:nvPicPr>
          <p:cNvPr id="3" name="Picture 5" descr="C:\Documents and Settings\martinp003\Desktop\revised_graphics\ECDS_PPT_Transistion_rev3-01.png"/>
          <p:cNvPicPr>
            <a:picLocks noChangeAspect="1" noChangeArrowheads="1"/>
          </p:cNvPicPr>
          <p:nvPr/>
        </p:nvPicPr>
        <p:blipFill>
          <a:blip r:embed="rId2">
            <a:extLst>
              <a:ext uri="{28A0092B-C50C-407E-A947-70E740481C1C}">
                <a14:useLocalDpi xmlns:a14="http://schemas.microsoft.com/office/drawing/2010/main" val="0"/>
              </a:ext>
            </a:extLst>
          </a:blip>
          <a:srcRect r="50000"/>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C:\Documents and Settings\martinp003\Desktop\CDS [MASTER]\CDS marcom assets\Logos\ECDS logos_MASTER SET\Elsevier CDS, BU logos_PNGs\Elsevier_CPMRC_mediu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0075" y="6080125"/>
            <a:ext cx="1736725"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457200" y="914400"/>
            <a:ext cx="8229600" cy="1600200"/>
          </a:xfrm>
        </p:spPr>
        <p:txBody>
          <a:bodyPr anchor="t"/>
          <a:lstStyle>
            <a:lvl1pPr algn="ctr">
              <a:defRPr sz="3200">
                <a:solidFill>
                  <a:schemeClr val="tx1">
                    <a:lumMod val="65000"/>
                    <a:lumOff val="35000"/>
                  </a:schemeClr>
                </a:solidFill>
                <a:latin typeface="+mj-lt"/>
                <a:cs typeface="Arial"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4587967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
        <p:nvSpPr>
          <p:cNvPr id="5" name="Rectangle 7"/>
          <p:cNvSpPr>
            <a:spLocks noChangeArrowheads="1"/>
          </p:cNvSpPr>
          <p:nvPr userDrawn="1"/>
        </p:nvSpPr>
        <p:spPr bwMode="auto">
          <a:xfrm>
            <a:off x="152400" y="6096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8445895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14" name="Picture 13" descr="Infoflow_Cover_1.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256745" y="242634"/>
            <a:ext cx="7425926" cy="942147"/>
          </a:xfrm>
          <a:prstGeom prst="rect">
            <a:avLst/>
          </a:prstGeom>
        </p:spPr>
        <p:txBody>
          <a:bodyPr/>
          <a:lstStyle>
            <a:lvl1pPr algn="l">
              <a:lnSpc>
                <a:spcPct val="85000"/>
              </a:lnSpc>
              <a:defRPr sz="3600" baseline="0">
                <a:solidFill>
                  <a:schemeClr val="bg1"/>
                </a:solidFill>
              </a:defRPr>
            </a:lvl1pPr>
          </a:lstStyle>
          <a:p>
            <a:r>
              <a:rPr lang="en-US" dirty="0"/>
              <a:t>Cover Slide Title and Second Line If Necessary</a:t>
            </a:r>
          </a:p>
        </p:txBody>
      </p:sp>
      <p:sp>
        <p:nvSpPr>
          <p:cNvPr id="3" name="Subtitle 2"/>
          <p:cNvSpPr>
            <a:spLocks noGrp="1"/>
          </p:cNvSpPr>
          <p:nvPr>
            <p:ph type="subTitle" idx="1" hasCustomPrompt="1"/>
          </p:nvPr>
        </p:nvSpPr>
        <p:spPr>
          <a:xfrm>
            <a:off x="256745" y="1194164"/>
            <a:ext cx="7425926" cy="390948"/>
          </a:xfrm>
          <a:prstGeom prst="rect">
            <a:avLst/>
          </a:prstGeom>
        </p:spPr>
        <p:txBody>
          <a:bodyPr/>
          <a:lstStyle>
            <a:lvl1pPr marL="0" indent="0" algn="l">
              <a:buNone/>
              <a:defRPr sz="16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3" name="Picture 12"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
        <p:nvSpPr>
          <p:cNvPr id="10" name="Text Placeholder 6"/>
          <p:cNvSpPr>
            <a:spLocks noGrp="1"/>
          </p:cNvSpPr>
          <p:nvPr>
            <p:ph type="body" sz="quarter" idx="10" hasCustomPrompt="1"/>
          </p:nvPr>
        </p:nvSpPr>
        <p:spPr>
          <a:xfrm>
            <a:off x="247738" y="6122077"/>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4"/>
          <p:cNvSpPr>
            <a:spLocks noGrp="1"/>
          </p:cNvSpPr>
          <p:nvPr>
            <p:ph type="body" sz="quarter" idx="11" hasCustomPrompt="1"/>
          </p:nvPr>
        </p:nvSpPr>
        <p:spPr>
          <a:xfrm>
            <a:off x="256745" y="6325001"/>
            <a:ext cx="3913188" cy="266700"/>
          </a:xfrm>
          <a:prstGeom prst="rect">
            <a:avLst/>
          </a:prstGeom>
        </p:spPr>
        <p:txBody>
          <a:bodyPr vert="horz"/>
          <a:lstStyle>
            <a:lvl1pPr marL="0" indent="0">
              <a:buNone/>
              <a:defRPr sz="1100">
                <a:solidFill>
                  <a:srgbClr val="FFFFFF"/>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2709997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93203052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59280801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chemeClr val="tx2"/>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chemeClr val="tx2"/>
                </a:solidFill>
              </a:defRPr>
            </a:lvl1pPr>
          </a:lstStyle>
          <a:p>
            <a:pPr lvl="0"/>
            <a:r>
              <a:rPr lang="en-US" dirty="0"/>
              <a:t>Click to edit text</a:t>
            </a:r>
          </a:p>
        </p:txBody>
      </p:sp>
    </p:spTree>
    <p:extLst>
      <p:ext uri="{BB962C8B-B14F-4D97-AF65-F5344CB8AC3E}">
        <p14:creationId xmlns:p14="http://schemas.microsoft.com/office/powerpoint/2010/main" val="26456500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2880617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421700787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11" name="Picture 10" descr="SpeedAlign_Cover_1.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256745" y="242634"/>
            <a:ext cx="7425926" cy="942147"/>
          </a:xfrm>
          <a:prstGeom prst="rect">
            <a:avLst/>
          </a:prstGeom>
        </p:spPr>
        <p:txBody>
          <a:bodyPr/>
          <a:lstStyle>
            <a:lvl1pPr algn="l">
              <a:lnSpc>
                <a:spcPct val="85000"/>
              </a:lnSpc>
              <a:defRPr sz="3600" baseline="0">
                <a:solidFill>
                  <a:srgbClr val="FF8200"/>
                </a:solidFill>
              </a:defRPr>
            </a:lvl1pPr>
          </a:lstStyle>
          <a:p>
            <a:r>
              <a:rPr lang="en-US" dirty="0"/>
              <a:t>Cover Slide Title</a:t>
            </a:r>
            <a:br>
              <a:rPr lang="en-US" dirty="0"/>
            </a:br>
            <a:r>
              <a:rPr lang="en-US" dirty="0"/>
              <a:t>Second Line If Necessary</a:t>
            </a:r>
          </a:p>
        </p:txBody>
      </p:sp>
      <p:sp>
        <p:nvSpPr>
          <p:cNvPr id="3" name="Subtitle 2"/>
          <p:cNvSpPr>
            <a:spLocks noGrp="1"/>
          </p:cNvSpPr>
          <p:nvPr>
            <p:ph type="subTitle" idx="1" hasCustomPrompt="1"/>
          </p:nvPr>
        </p:nvSpPr>
        <p:spPr>
          <a:xfrm>
            <a:off x="256745" y="1185345"/>
            <a:ext cx="7425926" cy="390948"/>
          </a:xfrm>
          <a:prstGeom prst="rect">
            <a:avLst/>
          </a:prstGeom>
        </p:spPr>
        <p:txBody>
          <a:bodyPr/>
          <a:lstStyle>
            <a:lvl1pPr marL="0" indent="0" algn="l">
              <a:buNone/>
              <a:defRPr sz="160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sp>
        <p:nvSpPr>
          <p:cNvPr id="9" name="Text Placeholder 6"/>
          <p:cNvSpPr>
            <a:spLocks noGrp="1"/>
          </p:cNvSpPr>
          <p:nvPr>
            <p:ph type="body" sz="quarter" idx="10" hasCustomPrompt="1"/>
          </p:nvPr>
        </p:nvSpPr>
        <p:spPr>
          <a:xfrm>
            <a:off x="247738" y="5917657"/>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r>
              <a:rPr lang="en-US" dirty="0"/>
              <a:t>  |  Date XX_XX_XX</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65456712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Picture 6" descr="SpeedAlign_Section_1.png"/>
          <p:cNvPicPr>
            <a:picLocks noChangeAspect="1"/>
          </p:cNvPicPr>
          <p:nvPr userDrawn="1"/>
        </p:nvPicPr>
        <p:blipFill>
          <a:blip r:embed="rId2"/>
          <a:stretch>
            <a:fillRect/>
          </a:stretch>
        </p:blipFill>
        <p:spPr>
          <a:xfrm>
            <a:off x="0" y="0"/>
            <a:ext cx="9144000" cy="6858000"/>
          </a:xfrm>
          <a:prstGeom prst="rect">
            <a:avLst/>
          </a:prstGeom>
        </p:spPr>
      </p:pic>
      <p:sp>
        <p:nvSpPr>
          <p:cNvPr id="10" name="Text Placeholder 10"/>
          <p:cNvSpPr>
            <a:spLocks noGrp="1"/>
          </p:cNvSpPr>
          <p:nvPr>
            <p:ph type="body" sz="quarter" idx="12" hasCustomPrompt="1"/>
          </p:nvPr>
        </p:nvSpPr>
        <p:spPr>
          <a:xfrm>
            <a:off x="246089" y="3478878"/>
            <a:ext cx="8547368" cy="1063305"/>
          </a:xfrm>
          <a:prstGeom prst="rect">
            <a:avLst/>
          </a:prstGeom>
        </p:spPr>
        <p:txBody>
          <a:bodyPr vert="horz"/>
          <a:lstStyle>
            <a:lvl1pPr>
              <a:buNone/>
              <a:defRPr sz="1500" baseline="0">
                <a:solidFill>
                  <a:srgbClr val="FFFFFF"/>
                </a:solidFill>
              </a:defRPr>
            </a:lvl1pPr>
            <a:lvl2pPr>
              <a:buNone/>
              <a:defRPr sz="1600"/>
            </a:lvl2pPr>
            <a:lvl3pPr>
              <a:buNone/>
              <a:defRPr sz="1600"/>
            </a:lvl3pPr>
            <a:lvl4pPr>
              <a:buNone/>
              <a:defRPr sz="1600"/>
            </a:lvl4pPr>
            <a:lvl5pPr>
              <a:buNone/>
              <a:defRPr sz="1600"/>
            </a:lvl5pPr>
          </a:lstStyle>
          <a:p>
            <a:pPr lvl="0"/>
            <a:r>
              <a:rPr lang="en-US" dirty="0"/>
              <a:t>Add section intro text here</a:t>
            </a:r>
          </a:p>
        </p:txBody>
      </p:sp>
      <p:sp>
        <p:nvSpPr>
          <p:cNvPr id="11" name="Text Placeholder 12"/>
          <p:cNvSpPr>
            <a:spLocks noGrp="1"/>
          </p:cNvSpPr>
          <p:nvPr>
            <p:ph type="body" sz="quarter" idx="13" hasCustomPrompt="1"/>
          </p:nvPr>
        </p:nvSpPr>
        <p:spPr>
          <a:xfrm>
            <a:off x="254147" y="2799018"/>
            <a:ext cx="8539309" cy="638704"/>
          </a:xfrm>
          <a:prstGeom prst="rect">
            <a:avLst/>
          </a:prstGeom>
        </p:spPr>
        <p:txBody>
          <a:bodyPr vert="horz"/>
          <a:lstStyle>
            <a:lvl1pPr>
              <a:buNone/>
              <a:defRPr sz="3600">
                <a:solidFill>
                  <a:srgbClr val="FFFFFF"/>
                </a:solidFill>
              </a:defRPr>
            </a:lvl1pPr>
            <a:lvl2pPr>
              <a:buNone/>
              <a:defRPr sz="3600"/>
            </a:lvl2pPr>
            <a:lvl3pPr>
              <a:buNone/>
              <a:defRPr sz="3600"/>
            </a:lvl3pPr>
            <a:lvl4pPr>
              <a:buNone/>
              <a:defRPr sz="3600"/>
            </a:lvl4pPr>
            <a:lvl5pPr>
              <a:buNone/>
              <a:defRPr sz="3600"/>
            </a:lvl5pPr>
          </a:lstStyle>
          <a:p>
            <a:pPr lvl="0"/>
            <a:r>
              <a:rPr lang="en-US" dirty="0"/>
              <a:t>Section Title</a:t>
            </a:r>
          </a:p>
        </p:txBody>
      </p:sp>
      <p:pic>
        <p:nvPicPr>
          <p:cNvPr id="9" name="Picture 8"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120133239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27003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199" y="284034"/>
            <a:ext cx="8458201" cy="307777"/>
          </a:xfrm>
        </p:spPr>
        <p:txBody>
          <a:bodyPr wrap="square" lIns="0" tIns="0" rIns="0" bIns="0">
            <a:spAutoFit/>
          </a:bodyPr>
          <a:lstStyle>
            <a:lvl1pPr>
              <a:defRPr sz="2000" b="1"/>
            </a:lvl1pPr>
          </a:lstStyle>
          <a:p>
            <a:r>
              <a:rPr lang="en-US" dirty="0"/>
              <a:t>Click to edit Master title style</a:t>
            </a:r>
          </a:p>
        </p:txBody>
      </p:sp>
      <p:sp>
        <p:nvSpPr>
          <p:cNvPr id="3" name="Rectangle 6"/>
          <p:cNvSpPr>
            <a:spLocks noGrp="1" noChangeArrowheads="1"/>
          </p:cNvSpPr>
          <p:nvPr>
            <p:ph type="sldNum" sz="quarter" idx="10"/>
          </p:nvPr>
        </p:nvSpPr>
        <p:spPr>
          <a:xfrm>
            <a:off x="8733682" y="6591384"/>
            <a:ext cx="372218" cy="230832"/>
          </a:xfrm>
          <a:prstGeom prst="rect">
            <a:avLst/>
          </a:prstGeom>
          <a:ln/>
        </p:spPr>
        <p:txBody>
          <a:bodyPr wrap="square">
            <a:spAutoFit/>
          </a:bodyPr>
          <a:lstStyle>
            <a:lvl1pPr>
              <a:defRPr sz="900">
                <a:latin typeface="+mn-lt"/>
              </a:defRPr>
            </a:lvl1pPr>
          </a:lstStyle>
          <a:p>
            <a:pPr>
              <a:defRPr/>
            </a:pPr>
            <a:fld id="{00CCDBD0-082F-493D-863A-3960C5117E3D}" type="slidenum">
              <a:rPr lang="en-US" smtClean="0"/>
              <a:pPr>
                <a:defRPr/>
              </a:pPr>
              <a:t>‹#›</a:t>
            </a:fld>
            <a:endParaRPr lang="en-US" dirty="0"/>
          </a:p>
        </p:txBody>
      </p:sp>
    </p:spTree>
    <p:extLst>
      <p:ext uri="{BB962C8B-B14F-4D97-AF65-F5344CB8AC3E}">
        <p14:creationId xmlns:p14="http://schemas.microsoft.com/office/powerpoint/2010/main" val="920720113"/>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cSld name="1_Section Header">
    <p:spTree>
      <p:nvGrpSpPr>
        <p:cNvPr id="1" name=""/>
        <p:cNvGrpSpPr/>
        <p:nvPr/>
      </p:nvGrpSpPr>
      <p:grpSpPr>
        <a:xfrm>
          <a:off x="0" y="0"/>
          <a:ext cx="0" cy="0"/>
          <a:chOff x="0" y="0"/>
          <a:chExt cx="0" cy="0"/>
        </a:xfrm>
      </p:grpSpPr>
      <p:pic>
        <p:nvPicPr>
          <p:cNvPr id="3" name="Picture 5" descr="C:\Documents and Settings\martinp003\Desktop\revised_graphics\ECDS_PPT_Transistion_rev3-01.png"/>
          <p:cNvPicPr>
            <a:picLocks noChangeAspect="1" noChangeArrowheads="1"/>
          </p:cNvPicPr>
          <p:nvPr/>
        </p:nvPicPr>
        <p:blipFill>
          <a:blip r:embed="rId2">
            <a:extLst>
              <a:ext uri="{28A0092B-C50C-407E-A947-70E740481C1C}">
                <a14:useLocalDpi xmlns:a14="http://schemas.microsoft.com/office/drawing/2010/main" val="0"/>
              </a:ext>
            </a:extLst>
          </a:blip>
          <a:srcRect r="50000"/>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C:\Documents and Settings\martinp003\Desktop\CDS [MASTER]\CDS marcom assets\Logos\ECDS logos_MASTER SET\Elsevier CDS, BU logos_PNGs\Elsevier_CPMRC_mediu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0075" y="6080125"/>
            <a:ext cx="1736725"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457200" y="914400"/>
            <a:ext cx="8229600" cy="1600200"/>
          </a:xfrm>
        </p:spPr>
        <p:txBody>
          <a:bodyPr anchor="t"/>
          <a:lstStyle>
            <a:lvl1pPr algn="ctr">
              <a:defRPr sz="3200">
                <a:solidFill>
                  <a:schemeClr val="tx1">
                    <a:lumMod val="65000"/>
                    <a:lumOff val="35000"/>
                  </a:schemeClr>
                </a:solidFill>
                <a:latin typeface="+mj-lt"/>
                <a:cs typeface="Arial"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1365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emplate_2 text boxes">
    <p:spTree>
      <p:nvGrpSpPr>
        <p:cNvPr id="1" name=""/>
        <p:cNvGrpSpPr/>
        <p:nvPr/>
      </p:nvGrpSpPr>
      <p:grpSpPr>
        <a:xfrm>
          <a:off x="0" y="0"/>
          <a:ext cx="0" cy="0"/>
          <a:chOff x="0" y="0"/>
          <a:chExt cx="0" cy="0"/>
        </a:xfrm>
      </p:grpSpPr>
      <p:sp>
        <p:nvSpPr>
          <p:cNvPr id="14" name="Text Placeholder 13"/>
          <p:cNvSpPr>
            <a:spLocks noGrp="1"/>
          </p:cNvSpPr>
          <p:nvPr>
            <p:ph type="body" sz="quarter" idx="10" hasCustomPrompt="1"/>
          </p:nvPr>
        </p:nvSpPr>
        <p:spPr>
          <a:xfrm>
            <a:off x="457200" y="533400"/>
            <a:ext cx="8229632" cy="594360"/>
          </a:xfrm>
          <a:prstGeom prst="rect">
            <a:avLst/>
          </a:prstGeom>
        </p:spPr>
        <p:txBody>
          <a:bodyPr>
            <a:noAutofit/>
          </a:bodyPr>
          <a:lstStyle>
            <a:lvl1pPr marL="0" indent="0">
              <a:buNone/>
              <a:defRPr sz="20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dirty="0"/>
              <a:t>Title of Slide</a:t>
            </a:r>
          </a:p>
        </p:txBody>
      </p:sp>
      <p:sp>
        <p:nvSpPr>
          <p:cNvPr id="3" name="Text Placeholder 2"/>
          <p:cNvSpPr>
            <a:spLocks noGrp="1"/>
          </p:cNvSpPr>
          <p:nvPr>
            <p:ph type="body" sz="quarter" idx="19"/>
          </p:nvPr>
        </p:nvSpPr>
        <p:spPr>
          <a:xfrm>
            <a:off x="457200" y="1738002"/>
            <a:ext cx="3891516"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3"/>
          <p:cNvSpPr>
            <a:spLocks noGrp="1"/>
          </p:cNvSpPr>
          <p:nvPr>
            <p:ph type="body" sz="quarter" idx="21" hasCustomPrompt="1"/>
          </p:nvPr>
        </p:nvSpPr>
        <p:spPr>
          <a:xfrm>
            <a:off x="457722" y="1330434"/>
            <a:ext cx="3890994"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endParaRPr lang="en-US" dirty="0"/>
          </a:p>
        </p:txBody>
      </p:sp>
      <p:sp>
        <p:nvSpPr>
          <p:cNvPr id="11" name="Text Placeholder 13"/>
          <p:cNvSpPr>
            <a:spLocks noGrp="1"/>
          </p:cNvSpPr>
          <p:nvPr>
            <p:ph type="body" sz="quarter" idx="22" hasCustomPrompt="1"/>
          </p:nvPr>
        </p:nvSpPr>
        <p:spPr>
          <a:xfrm>
            <a:off x="4795284" y="1330434"/>
            <a:ext cx="3891548"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endParaRPr lang="en-US" dirty="0"/>
          </a:p>
        </p:txBody>
      </p:sp>
      <p:sp>
        <p:nvSpPr>
          <p:cNvPr id="5" name="Text Placeholder 4"/>
          <p:cNvSpPr>
            <a:spLocks noGrp="1"/>
          </p:cNvSpPr>
          <p:nvPr>
            <p:ph type="body" sz="quarter" idx="23"/>
          </p:nvPr>
        </p:nvSpPr>
        <p:spPr>
          <a:xfrm>
            <a:off x="4794731" y="1738002"/>
            <a:ext cx="389207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479616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6295116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79707692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chemeClr val="tx2"/>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chemeClr val="tx2"/>
                </a:solidFill>
              </a:defRPr>
            </a:lvl1pPr>
          </a:lstStyle>
          <a:p>
            <a:pPr lvl="0"/>
            <a:r>
              <a:rPr lang="en-US" dirty="0"/>
              <a:t>Click to edit text</a:t>
            </a:r>
          </a:p>
        </p:txBody>
      </p:sp>
    </p:spTree>
    <p:extLst>
      <p:ext uri="{BB962C8B-B14F-4D97-AF65-F5344CB8AC3E}">
        <p14:creationId xmlns:p14="http://schemas.microsoft.com/office/powerpoint/2010/main" val="18989789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42300649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45912665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liennummernplatzhalter 5"/>
          <p:cNvSpPr>
            <a:spLocks noGrp="1"/>
          </p:cNvSpPr>
          <p:nvPr>
            <p:ph type="sldNum" sz="quarter" idx="10"/>
          </p:nvPr>
        </p:nvSpPr>
        <p:spPr>
          <a:ln/>
        </p:spPr>
        <p:txBody>
          <a:bodyPr/>
          <a:lstStyle>
            <a:lvl1pPr>
              <a:defRPr/>
            </a:lvl1pPr>
          </a:lstStyle>
          <a:p>
            <a:pPr>
              <a:defRPr/>
            </a:pPr>
            <a:r>
              <a:rPr lang="en-US">
                <a:solidFill>
                  <a:prstClr val="white"/>
                </a:solidFill>
              </a:rPr>
              <a:t>Page </a:t>
            </a:r>
            <a:fld id="{BC527552-22DC-4AB1-BE94-E773B35E8F06}" type="slidenum">
              <a:rPr lang="en-US">
                <a:solidFill>
                  <a:prstClr val="white"/>
                </a:solidFill>
              </a:rPr>
              <a:pPr>
                <a:defRPr/>
              </a:pPr>
              <a:t>‹#›</a:t>
            </a:fld>
            <a:endParaRPr lang="en-US">
              <a:solidFill>
                <a:prstClr val="white"/>
              </a:solidFill>
            </a:endParaRPr>
          </a:p>
        </p:txBody>
      </p:sp>
    </p:spTree>
    <p:extLst>
      <p:ext uri="{BB962C8B-B14F-4D97-AF65-F5344CB8AC3E}">
        <p14:creationId xmlns:p14="http://schemas.microsoft.com/office/powerpoint/2010/main" val="131726113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pPr defTabSz="457200"/>
            <a:fld id="{ECD19FB2-3AAB-4D03-B13A-2960828C78E3}" type="datetimeFigureOut">
              <a:rPr lang="en-US">
                <a:solidFill>
                  <a:srgbClr val="FF8200"/>
                </a:solidFill>
              </a:rPr>
              <a:pPr defTabSz="457200"/>
              <a:t>6/21/2018</a:t>
            </a:fld>
            <a:endParaRPr lang="en-US" dirty="0">
              <a:solidFill>
                <a:srgbClr val="FF82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pPr defTabSz="457200"/>
            <a:r>
              <a:rPr lang="en-US">
                <a:solidFill>
                  <a:srgbClr val="FF8200"/>
                </a:solidFill>
              </a:rPr>
              <a:t>
              </a:t>
            </a:r>
            <a:endParaRPr lang="en-US" dirty="0">
              <a:solidFill>
                <a:srgbClr val="FF8200"/>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1520005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9160616" cy="6870462"/>
          </a:xfrm>
          <a:prstGeom prst="rect">
            <a:avLst/>
          </a:prstGeom>
        </p:spPr>
      </p:pic>
      <p:sp>
        <p:nvSpPr>
          <p:cNvPr id="2" name="Title 1"/>
          <p:cNvSpPr>
            <a:spLocks noGrp="1"/>
          </p:cNvSpPr>
          <p:nvPr>
            <p:ph type="ctrTitle" hasCustomPrompt="1"/>
          </p:nvPr>
        </p:nvSpPr>
        <p:spPr>
          <a:xfrm>
            <a:off x="4823119" y="2046614"/>
            <a:ext cx="3912176" cy="1664799"/>
          </a:xfrm>
          <a:prstGeom prst="rect">
            <a:avLst/>
          </a:prstGeom>
        </p:spPr>
        <p:txBody>
          <a:bodyPr/>
          <a:lstStyle>
            <a:lvl1pPr algn="l">
              <a:lnSpc>
                <a:spcPct val="90000"/>
              </a:lnSpc>
              <a:defRPr sz="2700" baseline="0">
                <a:solidFill>
                  <a:schemeClr val="tx2"/>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7" y="3835859"/>
            <a:ext cx="3912177" cy="1284154"/>
          </a:xfrm>
          <a:prstGeom prst="rect">
            <a:avLst/>
          </a:prstGeom>
        </p:spPr>
        <p:txBody>
          <a:bodyPr/>
          <a:lstStyle>
            <a:lvl1pPr marL="0" indent="0" algn="l">
              <a:buNone/>
              <a:defRPr sz="1200">
                <a:solidFill>
                  <a:srgbClr val="53565A"/>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9"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8" name="Picture 7"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9160616" cy="6870462"/>
          </a:xfrm>
          <a:prstGeom prst="rect">
            <a:avLst/>
          </a:prstGeom>
        </p:spPr>
      </p:pic>
      <p:pic>
        <p:nvPicPr>
          <p:cNvPr id="11" name="Picture 1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2651777882"/>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238861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134688"/>
            <a:ext cx="7135091" cy="1121459"/>
          </a:xfrm>
          <a:prstGeom prst="rect">
            <a:avLst/>
          </a:prstGeom>
        </p:spPr>
        <p:txBody>
          <a:bodyPr/>
          <a:lstStyle>
            <a:lvl1pPr algn="l">
              <a:lnSpc>
                <a:spcPct val="90000"/>
              </a:lnSpc>
              <a:defRPr sz="2700" baseline="0">
                <a:solidFill>
                  <a:schemeClr val="tx2"/>
                </a:solidFill>
              </a:defRPr>
            </a:lvl1pPr>
          </a:lstStyle>
          <a:p>
            <a:r>
              <a:rPr lang="en-US" dirty="0"/>
              <a:t>Cover Slide Title and Multiple Lines If Necessary</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pic>
        <p:nvPicPr>
          <p:cNvPr id="11" name="Picture 10"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2106512857"/>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6" y="5551714"/>
            <a:ext cx="3912178" cy="544286"/>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13" name="Picture Placeholder 2"/>
          <p:cNvSpPr>
            <a:spLocks noGrp="1"/>
          </p:cNvSpPr>
          <p:nvPr>
            <p:ph type="pic" idx="11" hasCustomPrompt="1"/>
          </p:nvPr>
        </p:nvSpPr>
        <p:spPr>
          <a:xfrm>
            <a:off x="4891024" y="2007812"/>
            <a:ext cx="3912176" cy="504303"/>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2700" baseline="0">
                <a:solidFill>
                  <a:srgbClr val="FF8200"/>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5"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9" name="Picture 8"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pic>
        <p:nvPicPr>
          <p:cNvPr id="11" name="Picture 1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3892179438"/>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8" name="Picture 7"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9" name="Rectangle 8"/>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sp>
        <p:nvSpPr>
          <p:cNvPr id="3" name="Subtitle 2"/>
          <p:cNvSpPr>
            <a:spLocks noGrp="1"/>
          </p:cNvSpPr>
          <p:nvPr>
            <p:ph type="subTitle" idx="1" hasCustomPrompt="1"/>
          </p:nvPr>
        </p:nvSpPr>
        <p:spPr>
          <a:xfrm>
            <a:off x="3149209" y="2872276"/>
            <a:ext cx="5472113" cy="901716"/>
          </a:xfrm>
          <a:prstGeom prst="rect">
            <a:avLst/>
          </a:prstGeom>
          <a:ln>
            <a:noFill/>
          </a:ln>
        </p:spPr>
        <p:txBody>
          <a:bodyPr anchor="ctr"/>
          <a:lstStyle>
            <a:lvl1pPr marL="0" indent="0" algn="l">
              <a:lnSpc>
                <a:spcPct val="60000"/>
              </a:lnSpc>
              <a:buNone/>
              <a:defRPr sz="2700" baseline="0">
                <a:solidFill>
                  <a:schemeClr val="bg1"/>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6" name="Text Placeholder 5"/>
          <p:cNvSpPr>
            <a:spLocks noGrp="1"/>
          </p:cNvSpPr>
          <p:nvPr>
            <p:ph type="body" sz="quarter" idx="11" hasCustomPrompt="1"/>
          </p:nvPr>
        </p:nvSpPr>
        <p:spPr>
          <a:xfrm>
            <a:off x="3149209" y="3740100"/>
            <a:ext cx="5472113" cy="252412"/>
          </a:xfrm>
          <a:prstGeom prst="rect">
            <a:avLst/>
          </a:prstGeom>
        </p:spPr>
        <p:txBody>
          <a:bodyPr vert="horz"/>
          <a:lstStyle>
            <a:lvl1pPr marL="0" indent="0">
              <a:buNone/>
              <a:defRPr sz="135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0" name="Picture 9"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14" name="Rectangle 13"/>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pic>
        <p:nvPicPr>
          <p:cNvPr id="15" name="Picture 14"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2178159977"/>
      </p:ext>
    </p:extLst>
  </p:cSld>
  <p:clrMapOvr>
    <a:masterClrMapping/>
  </p:clrMapOvr>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10" name="Picture 9"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11" name="Rectangle 10"/>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pic>
        <p:nvPicPr>
          <p:cNvPr id="16" name="Picture 1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3" name="Subtitle 2"/>
          <p:cNvSpPr>
            <a:spLocks noGrp="1"/>
          </p:cNvSpPr>
          <p:nvPr>
            <p:ph type="subTitle" idx="1" hasCustomPrompt="1"/>
          </p:nvPr>
        </p:nvSpPr>
        <p:spPr>
          <a:xfrm>
            <a:off x="3144070" y="2971288"/>
            <a:ext cx="5596363" cy="971627"/>
          </a:xfrm>
          <a:prstGeom prst="rect">
            <a:avLst/>
          </a:prstGeom>
          <a:ln>
            <a:noFill/>
          </a:ln>
        </p:spPr>
        <p:txBody>
          <a:bodyPr anchor="ctr"/>
          <a:lstStyle>
            <a:lvl1pPr marL="0" indent="0" algn="l">
              <a:lnSpc>
                <a:spcPct val="70000"/>
              </a:lnSpc>
              <a:buNone/>
              <a:defRPr sz="2700" baseline="0">
                <a:solidFill>
                  <a:schemeClr val="bg1"/>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p:nvSpPr>
        <p:spPr>
          <a:xfrm>
            <a:off x="3545968"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sz="1500" dirty="0"/>
          </a:p>
        </p:txBody>
      </p:sp>
      <p:sp>
        <p:nvSpPr>
          <p:cNvPr id="14" name="Picture Placeholder 2"/>
          <p:cNvSpPr>
            <a:spLocks noGrp="1"/>
          </p:cNvSpPr>
          <p:nvPr>
            <p:ph type="pic" idx="10" hasCustomPrompt="1"/>
          </p:nvPr>
        </p:nvSpPr>
        <p:spPr>
          <a:xfrm>
            <a:off x="3439982" y="2044095"/>
            <a:ext cx="5300451" cy="530474"/>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15" name="Picture Placeholder 2"/>
          <p:cNvSpPr>
            <a:spLocks noGrp="1"/>
          </p:cNvSpPr>
          <p:nvPr>
            <p:ph type="pic" idx="11" hasCustomPrompt="1"/>
          </p:nvPr>
        </p:nvSpPr>
        <p:spPr>
          <a:xfrm>
            <a:off x="3526646" y="5539619"/>
            <a:ext cx="5201811" cy="527520"/>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6" y="6397626"/>
            <a:ext cx="4202212" cy="363613"/>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2" name="Picture 11"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19" name="Rectangle 18"/>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pic>
        <p:nvPicPr>
          <p:cNvPr id="20" name="Picture 19"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21" name="Title 1"/>
          <p:cNvSpPr txBox="1">
            <a:spLocks/>
          </p:cNvSpPr>
          <p:nvPr/>
        </p:nvSpPr>
        <p:spPr>
          <a:xfrm>
            <a:off x="3545968"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sz="1500" dirty="0"/>
          </a:p>
        </p:txBody>
      </p:sp>
    </p:spTree>
    <p:extLst>
      <p:ext uri="{BB962C8B-B14F-4D97-AF65-F5344CB8AC3E}">
        <p14:creationId xmlns:p14="http://schemas.microsoft.com/office/powerpoint/2010/main" val="1823723683"/>
      </p:ext>
    </p:extLst>
  </p:cSld>
  <p:clrMapOvr>
    <a:masterClrMapping/>
  </p:clrMapOvr>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825">
                <a:solidFill>
                  <a:srgbClr val="53565A"/>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4" name="Text Placeholder 13"/>
          <p:cNvSpPr>
            <a:spLocks noGrp="1"/>
          </p:cNvSpPr>
          <p:nvPr>
            <p:ph type="body" sz="quarter" idx="14" hasCustomPrompt="1"/>
          </p:nvPr>
        </p:nvSpPr>
        <p:spPr>
          <a:xfrm>
            <a:off x="300039" y="1282539"/>
            <a:ext cx="7484329" cy="322555"/>
          </a:xfrm>
          <a:prstGeom prst="rect">
            <a:avLst/>
          </a:prstGeom>
        </p:spPr>
        <p:txBody>
          <a:bodyPr vert="horz"/>
          <a:lstStyle>
            <a:lvl1pPr>
              <a:buNone/>
              <a:defRPr sz="1200">
                <a:solidFill>
                  <a:srgbClr val="53565A"/>
                </a:solidFill>
              </a:defRPr>
            </a:lvl1pPr>
          </a:lstStyle>
          <a:p>
            <a:pPr lvl="0"/>
            <a:r>
              <a:rPr lang="en-US" dirty="0"/>
              <a:t>Subtitle of Presentation</a:t>
            </a:r>
          </a:p>
        </p:txBody>
      </p:sp>
      <p:sp>
        <p:nvSpPr>
          <p:cNvPr id="3" name="Title 2"/>
          <p:cNvSpPr>
            <a:spLocks noGrp="1"/>
          </p:cNvSpPr>
          <p:nvPr>
            <p:ph type="title" hasCustomPrompt="1"/>
          </p:nvPr>
        </p:nvSpPr>
        <p:spPr>
          <a:xfrm>
            <a:off x="309786" y="177662"/>
            <a:ext cx="7474582" cy="1104877"/>
          </a:xfrm>
          <a:prstGeom prst="rect">
            <a:avLst/>
          </a:prstGeom>
        </p:spPr>
        <p:txBody>
          <a:bodyPr vert="horz" anchor="t"/>
          <a:lstStyle>
            <a:lvl1pPr algn="l">
              <a:lnSpc>
                <a:spcPct val="90000"/>
              </a:lnSpc>
              <a:defRPr sz="2700" baseline="0">
                <a:solidFill>
                  <a:srgbClr val="53565A"/>
                </a:solidFill>
              </a:defRPr>
            </a:lvl1pPr>
          </a:lstStyle>
          <a:p>
            <a:r>
              <a:rPr lang="en-US" dirty="0"/>
              <a:t>Cover Slide Title and</a:t>
            </a:r>
            <a:br>
              <a:rPr lang="en-US" dirty="0"/>
            </a:br>
            <a:r>
              <a:rPr lang="en-US" dirty="0"/>
              <a:t>Second Line if Necessary</a:t>
            </a:r>
          </a:p>
        </p:txBody>
      </p:sp>
      <p:pic>
        <p:nvPicPr>
          <p:cNvPr id="8" name="Picture 7"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11" name="Picture 1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2234972083"/>
      </p:ext>
    </p:extLst>
  </p:cSld>
  <p:clrMapOvr>
    <a:masterClrMapping/>
  </p:clrMapOvr>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91499"/>
            <a:ext cx="9144608" cy="6566503"/>
          </a:xfrm>
          <a:prstGeom prst="rect">
            <a:avLst/>
          </a:prstGeom>
        </p:spPr>
      </p:pic>
      <p:pic>
        <p:nvPicPr>
          <p:cNvPr id="11" name="Picture 1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3" name="Picture Placeholder 2"/>
          <p:cNvSpPr>
            <a:spLocks noGrp="1"/>
          </p:cNvSpPr>
          <p:nvPr>
            <p:ph type="pic" idx="1" hasCustomPrompt="1"/>
          </p:nvPr>
        </p:nvSpPr>
        <p:spPr>
          <a:xfrm>
            <a:off x="344009" y="168031"/>
            <a:ext cx="6868853" cy="506652"/>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7" name="Picture Placeholder 2"/>
          <p:cNvSpPr>
            <a:spLocks noGrp="1"/>
          </p:cNvSpPr>
          <p:nvPr>
            <p:ph type="pic" idx="10" hasCustomPrompt="1"/>
          </p:nvPr>
        </p:nvSpPr>
        <p:spPr>
          <a:xfrm>
            <a:off x="344009" y="5757335"/>
            <a:ext cx="5317489" cy="541223"/>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9" name="Text Placeholder 6"/>
          <p:cNvSpPr>
            <a:spLocks noGrp="1"/>
          </p:cNvSpPr>
          <p:nvPr>
            <p:ph type="body" sz="quarter" idx="12" hasCustomPrompt="1"/>
          </p:nvPr>
        </p:nvSpPr>
        <p:spPr>
          <a:xfrm>
            <a:off x="344008" y="6265335"/>
            <a:ext cx="3913188" cy="278191"/>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0" name="Text Placeholder 11"/>
          <p:cNvSpPr>
            <a:spLocks noGrp="1"/>
          </p:cNvSpPr>
          <p:nvPr>
            <p:ph type="body" sz="quarter" idx="14" hasCustomPrompt="1"/>
          </p:nvPr>
        </p:nvSpPr>
        <p:spPr>
          <a:xfrm>
            <a:off x="300040" y="624933"/>
            <a:ext cx="6738218" cy="1156530"/>
          </a:xfrm>
          <a:prstGeom prst="rect">
            <a:avLst/>
          </a:prstGeom>
        </p:spPr>
        <p:txBody>
          <a:bodyPr vert="horz"/>
          <a:lstStyle>
            <a:lvl1pPr marL="0" indent="0">
              <a:lnSpc>
                <a:spcPct val="90000"/>
              </a:lnSpc>
              <a:buNone/>
              <a:defRPr sz="27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pic>
        <p:nvPicPr>
          <p:cNvPr id="12" name="Picture 11"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91499"/>
            <a:ext cx="9144608" cy="6566503"/>
          </a:xfrm>
          <a:prstGeom prst="rect">
            <a:avLst/>
          </a:prstGeom>
        </p:spPr>
      </p:pic>
      <p:pic>
        <p:nvPicPr>
          <p:cNvPr id="15" name="Picture 14"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3631822346"/>
      </p:ext>
    </p:extLst>
  </p:cSld>
  <p:clrMapOvr>
    <a:masterClrMapping/>
  </p:clrMapOvr>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C9020E1-6174-4B56-ABAE-9E0816058D48}" type="datetimeFigureOut">
              <a:rPr lang="en-US" smtClean="0"/>
              <a:pPr/>
              <a:t>6/2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defRPr/>
            </a:pPr>
            <a:fld id="{6003EAAF-5BD9-4464-8A92-94FE6A92D101}" type="slidenum">
              <a:rPr lang="en-US" b="1" smtClean="0"/>
              <a:pPr>
                <a:defRPr/>
              </a:pPr>
              <a:t>‹#›</a:t>
            </a:fld>
            <a:endParaRPr lang="en-US" b="1" dirty="0"/>
          </a:p>
        </p:txBody>
      </p:sp>
      <p:pic>
        <p:nvPicPr>
          <p:cNvPr id="6" name="Picture 5"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7" name="Picture 6"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8"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825">
                <a:solidFill>
                  <a:srgbClr val="53565A"/>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9"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2" name="Title 1"/>
          <p:cNvSpPr>
            <a:spLocks noGrp="1"/>
          </p:cNvSpPr>
          <p:nvPr>
            <p:ph type="title" hasCustomPrompt="1"/>
          </p:nvPr>
        </p:nvSpPr>
        <p:spPr>
          <a:xfrm>
            <a:off x="447201" y="949001"/>
            <a:ext cx="6874246" cy="761124"/>
          </a:xfrm>
        </p:spPr>
        <p:txBody>
          <a:bodyPr/>
          <a:lstStyle>
            <a:lvl1pPr>
              <a:defRPr sz="1200">
                <a:solidFill>
                  <a:srgbClr val="53565A"/>
                </a:solidFill>
              </a:defRPr>
            </a:lvl1pPr>
          </a:lstStyle>
          <a:p>
            <a:r>
              <a:rPr lang="en-US" dirty="0"/>
              <a:t>Subtitle of slide and or description of presentation</a:t>
            </a:r>
            <a:br>
              <a:rPr lang="en-US" dirty="0"/>
            </a:br>
            <a:r>
              <a:rPr lang="en-US" dirty="0"/>
              <a:t>Second line if Necessary</a:t>
            </a:r>
          </a:p>
        </p:txBody>
      </p:sp>
      <p:sp>
        <p:nvSpPr>
          <p:cNvPr id="10" name="Picture Placeholder 2"/>
          <p:cNvSpPr>
            <a:spLocks noGrp="1"/>
          </p:cNvSpPr>
          <p:nvPr>
            <p:ph type="pic" idx="1" hasCustomPrompt="1"/>
          </p:nvPr>
        </p:nvSpPr>
        <p:spPr>
          <a:xfrm>
            <a:off x="443403" y="374494"/>
            <a:ext cx="6878044" cy="783831"/>
          </a:xfrm>
          <a:prstGeom prst="rect">
            <a:avLst/>
          </a:prstGeom>
        </p:spPr>
        <p:txBody>
          <a:bodyPr/>
          <a:lstStyle>
            <a:lvl1pPr marL="0" indent="0">
              <a:buNone/>
              <a:defRPr sz="2700">
                <a:solidFill>
                  <a:srgbClr val="FF8200"/>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pic>
        <p:nvPicPr>
          <p:cNvPr id="11" name="Picture 10"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3276201938"/>
      </p:ext>
    </p:extLst>
  </p:cSld>
  <p:clrMapOvr>
    <a:masterClrMapping/>
  </p:clrMapOvr>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9" y="2046614"/>
            <a:ext cx="3912176" cy="1664799"/>
          </a:xfrm>
          <a:prstGeom prst="rect">
            <a:avLst/>
          </a:prstGeom>
        </p:spPr>
        <p:txBody>
          <a:bodyPr/>
          <a:lstStyle>
            <a:lvl1pPr algn="l">
              <a:lnSpc>
                <a:spcPct val="90000"/>
              </a:lnSpc>
              <a:defRPr sz="2700" baseline="0">
                <a:solidFill>
                  <a:schemeClr val="tx2"/>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7" y="3835859"/>
            <a:ext cx="3912177" cy="1284154"/>
          </a:xfrm>
          <a:prstGeom prst="rect">
            <a:avLst/>
          </a:prstGeom>
        </p:spPr>
        <p:txBody>
          <a:bodyPr/>
          <a:lstStyle>
            <a:lvl1pPr marL="0" indent="0" algn="l">
              <a:buNone/>
              <a:defRPr sz="1200">
                <a:solidFill>
                  <a:srgbClr val="53565A"/>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6"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1" name="Picture 10" descr="placeholder-vector.png"/>
          <p:cNvPicPr>
            <a:picLocks noChangeAspect="1"/>
          </p:cNvPicPr>
          <p:nvPr/>
        </p:nvPicPr>
        <p:blipFill>
          <a:blip r:embed="rId3" cstate="print"/>
          <a:stretch>
            <a:fillRect/>
          </a:stretch>
        </p:blipFill>
        <p:spPr>
          <a:xfrm>
            <a:off x="0" y="0"/>
            <a:ext cx="4572000" cy="6858000"/>
          </a:xfrm>
          <a:prstGeom prst="rect">
            <a:avLst/>
          </a:prstGeom>
        </p:spPr>
      </p:pic>
      <p:pic>
        <p:nvPicPr>
          <p:cNvPr id="8" name="Picture 7"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pic>
        <p:nvPicPr>
          <p:cNvPr id="9" name="Picture 8"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1359979023"/>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6" y="5553983"/>
            <a:ext cx="3912178" cy="518663"/>
          </a:xfrm>
          <a:prstGeom prst="rect">
            <a:avLst/>
          </a:prstGeom>
        </p:spPr>
        <p:txBody>
          <a:bodyPr/>
          <a:lstStyle>
            <a:lvl1pPr marL="0" indent="0">
              <a:buNone/>
              <a:defRPr sz="1500">
                <a:solidFill>
                  <a:srgbClr val="FF8200"/>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13" name="Picture Placeholder 2"/>
          <p:cNvSpPr>
            <a:spLocks noGrp="1"/>
          </p:cNvSpPr>
          <p:nvPr>
            <p:ph type="pic" idx="11" hasCustomPrompt="1"/>
          </p:nvPr>
        </p:nvSpPr>
        <p:spPr>
          <a:xfrm>
            <a:off x="4891024" y="2007812"/>
            <a:ext cx="3912176" cy="504303"/>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2700" baseline="0">
                <a:solidFill>
                  <a:srgbClr val="FF8200"/>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7"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5" name="Picture 14" descr="placeholder-vector.png"/>
          <p:cNvPicPr>
            <a:picLocks noChangeAspect="1"/>
          </p:cNvPicPr>
          <p:nvPr/>
        </p:nvPicPr>
        <p:blipFill>
          <a:blip r:embed="rId3" cstate="print"/>
          <a:stretch>
            <a:fillRect/>
          </a:stretch>
        </p:blipFill>
        <p:spPr>
          <a:xfrm>
            <a:off x="0" y="0"/>
            <a:ext cx="4572000" cy="6858000"/>
          </a:xfrm>
          <a:prstGeom prst="rect">
            <a:avLst/>
          </a:prstGeom>
        </p:spPr>
      </p:pic>
      <p:pic>
        <p:nvPicPr>
          <p:cNvPr id="9" name="Picture 8"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pic>
        <p:nvPicPr>
          <p:cNvPr id="11" name="Picture 10"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779644688"/>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p:nvPicPr>
        <p:blipFill>
          <a:blip r:embed="rId2" cstate="print"/>
          <a:stretch>
            <a:fillRect/>
          </a:stretch>
        </p:blipFill>
        <p:spPr>
          <a:xfrm>
            <a:off x="-12938" y="0"/>
            <a:ext cx="3202147" cy="6858000"/>
          </a:xfrm>
          <a:prstGeom prst="rect">
            <a:avLst/>
          </a:prstGeom>
        </p:spPr>
      </p:pic>
      <p:sp>
        <p:nvSpPr>
          <p:cNvPr id="8" name="Rectangle 7"/>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7" name="Subtitle 2"/>
          <p:cNvSpPr>
            <a:spLocks noGrp="1"/>
          </p:cNvSpPr>
          <p:nvPr>
            <p:ph type="subTitle" idx="1" hasCustomPrompt="1"/>
          </p:nvPr>
        </p:nvSpPr>
        <p:spPr>
          <a:xfrm>
            <a:off x="3149209" y="2872276"/>
            <a:ext cx="5472113" cy="901716"/>
          </a:xfrm>
          <a:prstGeom prst="rect">
            <a:avLst/>
          </a:prstGeom>
          <a:ln>
            <a:noFill/>
          </a:ln>
        </p:spPr>
        <p:txBody>
          <a:bodyPr anchor="ctr"/>
          <a:lstStyle>
            <a:lvl1pPr marL="0" indent="0" algn="l">
              <a:lnSpc>
                <a:spcPct val="60000"/>
              </a:lnSpc>
              <a:buNone/>
              <a:defRPr sz="2700" baseline="0">
                <a:solidFill>
                  <a:schemeClr val="bg1"/>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a:t>
            </a:r>
          </a:p>
          <a:p>
            <a:r>
              <a:rPr lang="en-US" dirty="0"/>
              <a:t>Second Line If Necessary</a:t>
            </a:r>
          </a:p>
        </p:txBody>
      </p:sp>
      <p:sp>
        <p:nvSpPr>
          <p:cNvPr id="9" name="Text Placeholder 5"/>
          <p:cNvSpPr>
            <a:spLocks noGrp="1"/>
          </p:cNvSpPr>
          <p:nvPr>
            <p:ph type="body" sz="quarter" idx="11" hasCustomPrompt="1"/>
          </p:nvPr>
        </p:nvSpPr>
        <p:spPr>
          <a:xfrm>
            <a:off x="3149209" y="3740100"/>
            <a:ext cx="5472113" cy="252412"/>
          </a:xfrm>
          <a:prstGeom prst="rect">
            <a:avLst/>
          </a:prstGeom>
        </p:spPr>
        <p:txBody>
          <a:bodyPr vert="horz"/>
          <a:lstStyle>
            <a:lvl1pPr marL="0" indent="0">
              <a:buNone/>
              <a:defRPr sz="1350">
                <a:solidFill>
                  <a:srgbClr val="FFFFFF"/>
                </a:solidFill>
              </a:defRPr>
            </a:lvl1pPr>
          </a:lstStyle>
          <a:p>
            <a:pPr lvl="0"/>
            <a:r>
              <a:rPr lang="en-US" dirty="0"/>
              <a:t>Subtitle of Presentation</a:t>
            </a:r>
          </a:p>
        </p:txBody>
      </p:sp>
      <p:pic>
        <p:nvPicPr>
          <p:cNvPr id="10" name="Picture 9" descr="placeholder-vector.png"/>
          <p:cNvPicPr>
            <a:picLocks noChangeAspect="1"/>
          </p:cNvPicPr>
          <p:nvPr/>
        </p:nvPicPr>
        <p:blipFill>
          <a:blip r:embed="rId2" cstate="print"/>
          <a:stretch>
            <a:fillRect/>
          </a:stretch>
        </p:blipFill>
        <p:spPr>
          <a:xfrm>
            <a:off x="-12938" y="0"/>
            <a:ext cx="3202147" cy="6858000"/>
          </a:xfrm>
          <a:prstGeom prst="rect">
            <a:avLst/>
          </a:prstGeom>
        </p:spPr>
      </p:pic>
      <p:sp>
        <p:nvSpPr>
          <p:cNvPr id="14" name="Rectangle 13"/>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pic>
        <p:nvPicPr>
          <p:cNvPr id="16" name="Picture 1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2729960067"/>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8" name="Picture 7"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pic>
        <p:nvPicPr>
          <p:cNvPr id="11" name="Picture 1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3387366264"/>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p:nvPicPr>
        <p:blipFill>
          <a:blip r:embed="rId2" cstate="print"/>
          <a:stretch>
            <a:fillRect/>
          </a:stretch>
        </p:blipFill>
        <p:spPr>
          <a:xfrm>
            <a:off x="-12938" y="0"/>
            <a:ext cx="3202147" cy="6858000"/>
          </a:xfrm>
          <a:prstGeom prst="rect">
            <a:avLst/>
          </a:prstGeom>
        </p:spPr>
      </p:pic>
      <p:sp>
        <p:nvSpPr>
          <p:cNvPr id="11" name="Rectangle 10"/>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pic>
        <p:nvPicPr>
          <p:cNvPr id="16" name="Picture 1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3" name="Title 1"/>
          <p:cNvSpPr txBox="1">
            <a:spLocks/>
          </p:cNvSpPr>
          <p:nvPr/>
        </p:nvSpPr>
        <p:spPr>
          <a:xfrm>
            <a:off x="3545968"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sz="1500" dirty="0"/>
          </a:p>
        </p:txBody>
      </p:sp>
      <p:sp>
        <p:nvSpPr>
          <p:cNvPr id="14" name="Picture Placeholder 2"/>
          <p:cNvSpPr>
            <a:spLocks noGrp="1"/>
          </p:cNvSpPr>
          <p:nvPr>
            <p:ph type="pic" idx="10" hasCustomPrompt="1"/>
          </p:nvPr>
        </p:nvSpPr>
        <p:spPr>
          <a:xfrm>
            <a:off x="3439982" y="2044095"/>
            <a:ext cx="5300451" cy="530474"/>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15" name="Picture Placeholder 2"/>
          <p:cNvSpPr>
            <a:spLocks noGrp="1"/>
          </p:cNvSpPr>
          <p:nvPr>
            <p:ph type="pic" idx="11" hasCustomPrompt="1"/>
          </p:nvPr>
        </p:nvSpPr>
        <p:spPr>
          <a:xfrm>
            <a:off x="3526646" y="5539619"/>
            <a:ext cx="5201811" cy="527520"/>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6" y="6397626"/>
            <a:ext cx="4202212" cy="363613"/>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9" name="Subtitle 2"/>
          <p:cNvSpPr>
            <a:spLocks noGrp="1"/>
          </p:cNvSpPr>
          <p:nvPr>
            <p:ph type="subTitle" idx="1" hasCustomPrompt="1"/>
          </p:nvPr>
        </p:nvSpPr>
        <p:spPr>
          <a:xfrm>
            <a:off x="3144070" y="2971288"/>
            <a:ext cx="5596363" cy="971627"/>
          </a:xfrm>
          <a:prstGeom prst="rect">
            <a:avLst/>
          </a:prstGeom>
          <a:ln>
            <a:noFill/>
          </a:ln>
        </p:spPr>
        <p:txBody>
          <a:bodyPr anchor="ctr"/>
          <a:lstStyle>
            <a:lvl1pPr marL="0" indent="0" algn="l">
              <a:lnSpc>
                <a:spcPct val="70000"/>
              </a:lnSpc>
              <a:buNone/>
              <a:defRPr sz="2700" baseline="0">
                <a:solidFill>
                  <a:schemeClr val="bg1"/>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placeholder-vector.png"/>
          <p:cNvPicPr>
            <a:picLocks noChangeAspect="1"/>
          </p:cNvPicPr>
          <p:nvPr/>
        </p:nvPicPr>
        <p:blipFill>
          <a:blip r:embed="rId2" cstate="print"/>
          <a:stretch>
            <a:fillRect/>
          </a:stretch>
        </p:blipFill>
        <p:spPr>
          <a:xfrm>
            <a:off x="-12938" y="0"/>
            <a:ext cx="3202147" cy="6858000"/>
          </a:xfrm>
          <a:prstGeom prst="rect">
            <a:avLst/>
          </a:prstGeom>
        </p:spPr>
      </p:pic>
      <p:sp>
        <p:nvSpPr>
          <p:cNvPr id="20" name="Rectangle 19"/>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pic>
        <p:nvPicPr>
          <p:cNvPr id="21" name="Picture 2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22" name="Title 1"/>
          <p:cNvSpPr txBox="1">
            <a:spLocks/>
          </p:cNvSpPr>
          <p:nvPr/>
        </p:nvSpPr>
        <p:spPr>
          <a:xfrm>
            <a:off x="3545968"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sz="1500" dirty="0"/>
          </a:p>
        </p:txBody>
      </p:sp>
    </p:spTree>
    <p:extLst>
      <p:ext uri="{BB962C8B-B14F-4D97-AF65-F5344CB8AC3E}">
        <p14:creationId xmlns:p14="http://schemas.microsoft.com/office/powerpoint/2010/main" val="3307604592"/>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825">
                <a:solidFill>
                  <a:srgbClr val="53565A"/>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4" name="Text Placeholder 13"/>
          <p:cNvSpPr>
            <a:spLocks noGrp="1"/>
          </p:cNvSpPr>
          <p:nvPr>
            <p:ph type="body" sz="quarter" idx="14" hasCustomPrompt="1"/>
          </p:nvPr>
        </p:nvSpPr>
        <p:spPr>
          <a:xfrm>
            <a:off x="300040" y="1282539"/>
            <a:ext cx="6738218" cy="322555"/>
          </a:xfrm>
          <a:prstGeom prst="rect">
            <a:avLst/>
          </a:prstGeom>
        </p:spPr>
        <p:txBody>
          <a:bodyPr vert="horz"/>
          <a:lstStyle>
            <a:lvl1pPr>
              <a:buNone/>
              <a:defRPr sz="1200">
                <a:solidFill>
                  <a:srgbClr val="53565A"/>
                </a:solidFill>
              </a:defRPr>
            </a:lvl1pPr>
          </a:lstStyle>
          <a:p>
            <a:pPr lvl="0"/>
            <a:r>
              <a:rPr lang="en-US" dirty="0"/>
              <a:t>Subtitle of Presentation</a:t>
            </a:r>
          </a:p>
        </p:txBody>
      </p:sp>
      <p:pic>
        <p:nvPicPr>
          <p:cNvPr id="8" name="Picture 7" descr="placeholder-horizontal.png"/>
          <p:cNvPicPr>
            <a:picLocks noChangeAspect="1"/>
          </p:cNvPicPr>
          <p:nvPr/>
        </p:nvPicPr>
        <p:blipFill>
          <a:blip r:embed="rId3" cstate="print"/>
          <a:stretch>
            <a:fillRect/>
          </a:stretch>
        </p:blipFill>
        <p:spPr>
          <a:xfrm>
            <a:off x="-608" y="1768138"/>
            <a:ext cx="9144000" cy="4133088"/>
          </a:xfrm>
          <a:prstGeom prst="rect">
            <a:avLst/>
          </a:prstGeom>
        </p:spPr>
      </p:pic>
      <p:sp>
        <p:nvSpPr>
          <p:cNvPr id="11" name="Title 2"/>
          <p:cNvSpPr>
            <a:spLocks noGrp="1"/>
          </p:cNvSpPr>
          <p:nvPr>
            <p:ph type="title" hasCustomPrompt="1"/>
          </p:nvPr>
        </p:nvSpPr>
        <p:spPr>
          <a:xfrm>
            <a:off x="309786" y="177662"/>
            <a:ext cx="7474582" cy="1104877"/>
          </a:xfrm>
          <a:prstGeom prst="rect">
            <a:avLst/>
          </a:prstGeom>
        </p:spPr>
        <p:txBody>
          <a:bodyPr vert="horz" anchor="t"/>
          <a:lstStyle>
            <a:lvl1pPr algn="l">
              <a:lnSpc>
                <a:spcPct val="90000"/>
              </a:lnSpc>
              <a:defRPr sz="2700" baseline="0">
                <a:solidFill>
                  <a:srgbClr val="53565A"/>
                </a:solidFill>
              </a:defRPr>
            </a:lvl1pPr>
          </a:lstStyle>
          <a:p>
            <a:r>
              <a:rPr lang="en-US" dirty="0"/>
              <a:t>Cover Slide Title and</a:t>
            </a:r>
            <a:br>
              <a:rPr lang="en-US" dirty="0"/>
            </a:br>
            <a:r>
              <a:rPr lang="en-US" dirty="0"/>
              <a:t>Second Line if Necessary</a:t>
            </a:r>
          </a:p>
        </p:txBody>
      </p:sp>
      <p:pic>
        <p:nvPicPr>
          <p:cNvPr id="12" name="Picture 11"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pic>
        <p:nvPicPr>
          <p:cNvPr id="13" name="Picture 12" descr="placeholder-horizontal.png"/>
          <p:cNvPicPr>
            <a:picLocks noChangeAspect="1"/>
          </p:cNvPicPr>
          <p:nvPr/>
        </p:nvPicPr>
        <p:blipFill>
          <a:blip r:embed="rId3" cstate="print"/>
          <a:stretch>
            <a:fillRect/>
          </a:stretch>
        </p:blipFill>
        <p:spPr>
          <a:xfrm>
            <a:off x="-608" y="1768138"/>
            <a:ext cx="9144000" cy="4133088"/>
          </a:xfrm>
          <a:prstGeom prst="rect">
            <a:avLst/>
          </a:prstGeom>
        </p:spPr>
      </p:pic>
    </p:spTree>
    <p:extLst>
      <p:ext uri="{BB962C8B-B14F-4D97-AF65-F5344CB8AC3E}">
        <p14:creationId xmlns:p14="http://schemas.microsoft.com/office/powerpoint/2010/main" val="3372005383"/>
      </p:ext>
    </p:extLst>
  </p:cSld>
  <p:clrMapOvr>
    <a:masterClrMapping/>
  </p:clrMapOvr>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7" name="Picture Placeholder 2"/>
          <p:cNvSpPr>
            <a:spLocks noGrp="1"/>
          </p:cNvSpPr>
          <p:nvPr>
            <p:ph type="pic" idx="10" hasCustomPrompt="1"/>
          </p:nvPr>
        </p:nvSpPr>
        <p:spPr>
          <a:xfrm>
            <a:off x="344009" y="5757335"/>
            <a:ext cx="5317489" cy="541223"/>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9" name="Text Placeholder 6"/>
          <p:cNvSpPr>
            <a:spLocks noGrp="1"/>
          </p:cNvSpPr>
          <p:nvPr>
            <p:ph type="body" sz="quarter" idx="12" hasCustomPrompt="1"/>
          </p:nvPr>
        </p:nvSpPr>
        <p:spPr>
          <a:xfrm>
            <a:off x="344008" y="6265335"/>
            <a:ext cx="3913188" cy="278191"/>
          </a:xfrm>
          <a:prstGeom prst="rect">
            <a:avLst/>
          </a:prstGeom>
        </p:spPr>
        <p:txBody>
          <a:bodyPr/>
          <a:lstStyle>
            <a:lvl1pPr marL="0" indent="0">
              <a:buNone/>
              <a:defRPr sz="825">
                <a:solidFill>
                  <a:srgbClr val="53565A"/>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2" name="Picture 11" descr="placeholder-horizontal.png"/>
          <p:cNvPicPr>
            <a:picLocks noChangeAspect="1"/>
          </p:cNvPicPr>
          <p:nvPr/>
        </p:nvPicPr>
        <p:blipFill>
          <a:blip r:embed="rId3" cstate="print"/>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9" y="168031"/>
            <a:ext cx="6868853" cy="506652"/>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17" name="Text Placeholder 11"/>
          <p:cNvSpPr>
            <a:spLocks noGrp="1"/>
          </p:cNvSpPr>
          <p:nvPr>
            <p:ph type="body" sz="quarter" idx="14" hasCustomPrompt="1"/>
          </p:nvPr>
        </p:nvSpPr>
        <p:spPr>
          <a:xfrm>
            <a:off x="300040" y="624933"/>
            <a:ext cx="6738218" cy="1156530"/>
          </a:xfrm>
          <a:prstGeom prst="rect">
            <a:avLst/>
          </a:prstGeom>
        </p:spPr>
        <p:txBody>
          <a:bodyPr vert="horz"/>
          <a:lstStyle>
            <a:lvl1pPr marL="0" indent="0">
              <a:lnSpc>
                <a:spcPct val="90000"/>
              </a:lnSpc>
              <a:buNone/>
              <a:defRPr sz="27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pic>
        <p:nvPicPr>
          <p:cNvPr id="13" name="Picture 12" descr="placeholder-horizontal.png"/>
          <p:cNvPicPr>
            <a:picLocks noChangeAspect="1"/>
          </p:cNvPicPr>
          <p:nvPr/>
        </p:nvPicPr>
        <p:blipFill>
          <a:blip r:embed="rId3" cstate="print"/>
          <a:stretch>
            <a:fillRect/>
          </a:stretch>
        </p:blipFill>
        <p:spPr>
          <a:xfrm>
            <a:off x="-608" y="1828387"/>
            <a:ext cx="9144000" cy="3928946"/>
          </a:xfrm>
          <a:prstGeom prst="rect">
            <a:avLst/>
          </a:prstGeom>
        </p:spPr>
      </p:pic>
    </p:spTree>
    <p:extLst>
      <p:ext uri="{BB962C8B-B14F-4D97-AF65-F5344CB8AC3E}">
        <p14:creationId xmlns:p14="http://schemas.microsoft.com/office/powerpoint/2010/main" val="1608910404"/>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placeholder-horizontal.png"/>
          <p:cNvPicPr>
            <a:picLocks noChangeAspect="1"/>
          </p:cNvPicPr>
          <p:nvPr/>
        </p:nvPicPr>
        <p:blipFill>
          <a:blip r:embed="rId2" cstate="print"/>
          <a:stretch>
            <a:fillRect/>
          </a:stretch>
        </p:blipFill>
        <p:spPr>
          <a:xfrm>
            <a:off x="-608" y="1828387"/>
            <a:ext cx="9144000" cy="4044432"/>
          </a:xfrm>
          <a:prstGeom prst="rect">
            <a:avLst/>
          </a:prstGeom>
        </p:spPr>
      </p:pic>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5"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825">
                <a:solidFill>
                  <a:srgbClr val="53565A"/>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7" name="Title 1"/>
          <p:cNvSpPr>
            <a:spLocks noGrp="1"/>
          </p:cNvSpPr>
          <p:nvPr>
            <p:ph type="title" hasCustomPrompt="1"/>
          </p:nvPr>
        </p:nvSpPr>
        <p:spPr>
          <a:xfrm>
            <a:off x="447201" y="949001"/>
            <a:ext cx="6874246" cy="761124"/>
          </a:xfrm>
        </p:spPr>
        <p:txBody>
          <a:bodyPr/>
          <a:lstStyle>
            <a:lvl1pPr>
              <a:defRPr sz="1200">
                <a:solidFill>
                  <a:srgbClr val="53565A"/>
                </a:solidFill>
              </a:defRPr>
            </a:lvl1pPr>
          </a:lstStyle>
          <a:p>
            <a:r>
              <a:rPr lang="en-US" dirty="0"/>
              <a:t>Subtitle of slide and or description of presentation</a:t>
            </a:r>
            <a:br>
              <a:rPr lang="en-US" dirty="0"/>
            </a:br>
            <a:r>
              <a:rPr lang="en-US" dirty="0"/>
              <a:t>Second line if Necessary</a:t>
            </a:r>
          </a:p>
        </p:txBody>
      </p:sp>
      <p:sp>
        <p:nvSpPr>
          <p:cNvPr id="18" name="Picture Placeholder 2"/>
          <p:cNvSpPr>
            <a:spLocks noGrp="1"/>
          </p:cNvSpPr>
          <p:nvPr>
            <p:ph type="pic" idx="1" hasCustomPrompt="1"/>
          </p:nvPr>
        </p:nvSpPr>
        <p:spPr>
          <a:xfrm>
            <a:off x="443403" y="374494"/>
            <a:ext cx="6878044" cy="783831"/>
          </a:xfrm>
          <a:prstGeom prst="rect">
            <a:avLst/>
          </a:prstGeom>
        </p:spPr>
        <p:txBody>
          <a:bodyPr/>
          <a:lstStyle>
            <a:lvl1pPr marL="0" indent="0">
              <a:buNone/>
              <a:defRPr sz="2700">
                <a:solidFill>
                  <a:srgbClr val="FF8200"/>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pic>
        <p:nvPicPr>
          <p:cNvPr id="8" name="Picture 7" descr="placeholder-horizontal.png"/>
          <p:cNvPicPr>
            <a:picLocks noChangeAspect="1"/>
          </p:cNvPicPr>
          <p:nvPr/>
        </p:nvPicPr>
        <p:blipFill>
          <a:blip r:embed="rId2" cstate="print"/>
          <a:stretch>
            <a:fillRect/>
          </a:stretch>
        </p:blipFill>
        <p:spPr>
          <a:xfrm>
            <a:off x="-608" y="1828387"/>
            <a:ext cx="9144000" cy="4044432"/>
          </a:xfrm>
          <a:prstGeom prst="rect">
            <a:avLst/>
          </a:prstGeom>
        </p:spPr>
      </p:pic>
      <p:pic>
        <p:nvPicPr>
          <p:cNvPr id="9" name="Picture 8"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2818456105"/>
      </p:ext>
    </p:extLst>
  </p:cSld>
  <p:clrMapOvr>
    <a:masterClrMapping/>
  </p:clrMapOvr>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pic>
        <p:nvPicPr>
          <p:cNvPr id="5" name="Picture 4" descr="placeholder-vector.png"/>
          <p:cNvPicPr>
            <a:picLocks noChangeAspect="1"/>
          </p:cNvPicPr>
          <p:nvPr/>
        </p:nvPicPr>
        <p:blipFill>
          <a:blip r:embed="rId3" cstate="print"/>
          <a:stretch>
            <a:fillRect/>
          </a:stretch>
        </p:blipFill>
        <p:spPr>
          <a:xfrm>
            <a:off x="0" y="0"/>
            <a:ext cx="4572000" cy="6858000"/>
          </a:xfrm>
          <a:prstGeom prst="rect">
            <a:avLst/>
          </a:prstGeom>
        </p:spPr>
      </p:pic>
      <p:sp>
        <p:nvSpPr>
          <p:cNvPr id="7" name="Title 3"/>
          <p:cNvSpPr>
            <a:spLocks noGrp="1"/>
          </p:cNvSpPr>
          <p:nvPr>
            <p:ph type="title" hasCustomPrompt="1"/>
          </p:nvPr>
        </p:nvSpPr>
        <p:spPr>
          <a:xfrm>
            <a:off x="4917836" y="2740932"/>
            <a:ext cx="3732113" cy="2429904"/>
          </a:xfrm>
          <a:prstGeom prst="rect">
            <a:avLst/>
          </a:prstGeom>
        </p:spPr>
        <p:txBody>
          <a:bodyPr vert="horz" anchor="t"/>
          <a:lstStyle>
            <a:lvl1pPr algn="l">
              <a:lnSpc>
                <a:spcPct val="100000"/>
              </a:lnSpc>
              <a:defRPr sz="2700">
                <a:solidFill>
                  <a:srgbClr val="FF8200"/>
                </a:solidFill>
              </a:defRPr>
            </a:lvl1pPr>
          </a:lstStyle>
          <a:p>
            <a:r>
              <a:rPr lang="en-US" dirty="0"/>
              <a:t>Section Title And Multiple Lines If Necessary</a:t>
            </a:r>
          </a:p>
        </p:txBody>
      </p:sp>
      <p:pic>
        <p:nvPicPr>
          <p:cNvPr id="8" name="Picture 7"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pic>
        <p:nvPicPr>
          <p:cNvPr id="9" name="Picture 8"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2424306673"/>
      </p:ext>
    </p:extLst>
  </p:cSld>
  <p:clrMapOvr>
    <a:masterClrMapping/>
  </p:clrMapOvr>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1" name="Text Placeholder 10"/>
          <p:cNvSpPr>
            <a:spLocks noGrp="1"/>
          </p:cNvSpPr>
          <p:nvPr>
            <p:ph type="body" sz="quarter" idx="12"/>
          </p:nvPr>
        </p:nvSpPr>
        <p:spPr>
          <a:xfrm>
            <a:off x="5068889" y="3494882"/>
            <a:ext cx="3724275" cy="1718018"/>
          </a:xfrm>
          <a:prstGeom prst="rect">
            <a:avLst/>
          </a:prstGeom>
        </p:spPr>
        <p:txBody>
          <a:bodyPr vert="horz"/>
          <a:lstStyle>
            <a:lvl1pPr>
              <a:buNone/>
              <a:defRPr sz="1200">
                <a:solidFill>
                  <a:srgbClr val="53565A"/>
                </a:solidFill>
              </a:defRPr>
            </a:lvl1pPr>
            <a:lvl2pPr>
              <a:buNone/>
              <a:defRPr sz="1200"/>
            </a:lvl2pPr>
            <a:lvl3pPr>
              <a:buNone/>
              <a:defRPr sz="1200"/>
            </a:lvl3pPr>
            <a:lvl4pPr>
              <a:buNone/>
              <a:defRPr sz="1200"/>
            </a:lvl4pPr>
            <a:lvl5pPr>
              <a:buNone/>
              <a:defRPr sz="1200"/>
            </a:lvl5pPr>
          </a:lstStyle>
          <a:p>
            <a:pPr lvl="0"/>
            <a:r>
              <a:rPr lang="en-US"/>
              <a:t>Click to edit Master text styles</a:t>
            </a:r>
          </a:p>
        </p:txBody>
      </p:sp>
      <p:sp>
        <p:nvSpPr>
          <p:cNvPr id="13" name="Text Placeholder 12"/>
          <p:cNvSpPr>
            <a:spLocks noGrp="1"/>
          </p:cNvSpPr>
          <p:nvPr>
            <p:ph type="body" sz="quarter" idx="13" hasCustomPrompt="1"/>
          </p:nvPr>
        </p:nvSpPr>
        <p:spPr>
          <a:xfrm>
            <a:off x="5068128" y="2747964"/>
            <a:ext cx="3700462" cy="638704"/>
          </a:xfrm>
          <a:prstGeom prst="rect">
            <a:avLst/>
          </a:prstGeom>
        </p:spPr>
        <p:txBody>
          <a:bodyPr vert="horz"/>
          <a:lstStyle>
            <a:lvl1pPr>
              <a:buNone/>
              <a:defRPr sz="2700">
                <a:solidFill>
                  <a:srgbClr val="FF8200"/>
                </a:solidFill>
              </a:defRPr>
            </a:lvl1pPr>
            <a:lvl2pPr>
              <a:buNone/>
              <a:defRPr sz="2700"/>
            </a:lvl2pPr>
            <a:lvl3pPr>
              <a:buNone/>
              <a:defRPr sz="2700"/>
            </a:lvl3pPr>
            <a:lvl4pPr>
              <a:buNone/>
              <a:defRPr sz="2700"/>
            </a:lvl4pPr>
            <a:lvl5pPr>
              <a:buNone/>
              <a:defRPr sz="2700"/>
            </a:lvl5pPr>
          </a:lstStyle>
          <a:p>
            <a:pPr lvl="0"/>
            <a:r>
              <a:rPr lang="en-US" dirty="0"/>
              <a:t>Appendix</a:t>
            </a:r>
          </a:p>
        </p:txBody>
      </p:sp>
      <p:pic>
        <p:nvPicPr>
          <p:cNvPr id="9" name="Picture 8" descr="placeholder-vector.png"/>
          <p:cNvPicPr>
            <a:picLocks noChangeAspect="1"/>
          </p:cNvPicPr>
          <p:nvPr/>
        </p:nvPicPr>
        <p:blipFill>
          <a:blip r:embed="rId3" cstate="print"/>
          <a:stretch>
            <a:fillRect/>
          </a:stretch>
        </p:blipFill>
        <p:spPr>
          <a:xfrm>
            <a:off x="0" y="0"/>
            <a:ext cx="4572000" cy="6858000"/>
          </a:xfrm>
          <a:prstGeom prst="rect">
            <a:avLst/>
          </a:prstGeom>
        </p:spPr>
      </p:pic>
      <p:pic>
        <p:nvPicPr>
          <p:cNvPr id="6" name="Picture 5"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pic>
        <p:nvPicPr>
          <p:cNvPr id="7" name="Picture 6"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352786238"/>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322508"/>
            <a:ext cx="8458201" cy="230832"/>
          </a:xfrm>
        </p:spPr>
        <p:txBody>
          <a:bodyPr wrap="square" lIns="0" tIns="0" rIns="0" bIns="0">
            <a:spAutoFit/>
          </a:bodyPr>
          <a:lstStyle>
            <a:lvl1pPr>
              <a:defRPr sz="1500" b="1"/>
            </a:lvl1pPr>
          </a:lstStyle>
          <a:p>
            <a:r>
              <a:rPr lang="en-US" dirty="0"/>
              <a:t>Click to edit Master title style</a:t>
            </a:r>
          </a:p>
        </p:txBody>
      </p:sp>
      <p:sp>
        <p:nvSpPr>
          <p:cNvPr id="3" name="Rectangle 6"/>
          <p:cNvSpPr>
            <a:spLocks noGrp="1" noChangeArrowheads="1"/>
          </p:cNvSpPr>
          <p:nvPr>
            <p:ph type="sldNum" sz="quarter" idx="10"/>
          </p:nvPr>
        </p:nvSpPr>
        <p:spPr>
          <a:xfrm>
            <a:off x="8733682" y="6608696"/>
            <a:ext cx="372218" cy="196208"/>
          </a:xfrm>
          <a:ln/>
        </p:spPr>
        <p:txBody>
          <a:bodyPr wrap="square">
            <a:spAutoFit/>
          </a:bodyPr>
          <a:lstStyle>
            <a:lvl1pPr>
              <a:defRPr sz="675">
                <a:latin typeface="+mn-lt"/>
              </a:defRPr>
            </a:lvl1pPr>
          </a:lstStyle>
          <a:p>
            <a:pPr>
              <a:defRPr/>
            </a:pPr>
            <a:fld id="{00CCDBD0-082F-493D-863A-3960C5117E3D}" type="slidenum">
              <a:rPr lang="en-US" smtClean="0"/>
              <a:pPr>
                <a:defRPr/>
              </a:pPr>
              <a:t>‹#›</a:t>
            </a:fld>
            <a:endParaRPr lang="en-US" dirty="0"/>
          </a:p>
        </p:txBody>
      </p:sp>
    </p:spTree>
    <p:extLst>
      <p:ext uri="{BB962C8B-B14F-4D97-AF65-F5344CB8AC3E}">
        <p14:creationId xmlns:p14="http://schemas.microsoft.com/office/powerpoint/2010/main" val="983039440"/>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Picture Placeholder 2"/>
          <p:cNvSpPr>
            <a:spLocks noGrp="1"/>
          </p:cNvSpPr>
          <p:nvPr>
            <p:ph type="pic" idx="1" hasCustomPrompt="1"/>
          </p:nvPr>
        </p:nvSpPr>
        <p:spPr>
          <a:xfrm>
            <a:off x="457198" y="1500111"/>
            <a:ext cx="8238320" cy="3878033"/>
          </a:xfrm>
          <a:prstGeom prst="rect">
            <a:avLst/>
          </a:prstGeom>
        </p:spPr>
        <p:txBody>
          <a:bodyPr>
            <a:normAutofit/>
          </a:bodyPr>
          <a:lstStyle>
            <a:lvl1pPr marL="0" indent="0" algn="ctr">
              <a:buNone/>
              <a:defRPr sz="18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icture here</a:t>
            </a:r>
          </a:p>
        </p:txBody>
      </p:sp>
      <p:sp>
        <p:nvSpPr>
          <p:cNvPr id="8"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9" name="Content Placeholder 5"/>
          <p:cNvSpPr>
            <a:spLocks noGrp="1"/>
          </p:cNvSpPr>
          <p:nvPr>
            <p:ph sz="quarter" idx="4"/>
          </p:nvPr>
        </p:nvSpPr>
        <p:spPr>
          <a:xfrm>
            <a:off x="457198" y="5683664"/>
            <a:ext cx="8238320" cy="714593"/>
          </a:xfrm>
          <a:prstGeom prst="rect">
            <a:avLst/>
          </a:prstGeom>
        </p:spPr>
        <p:txBody>
          <a:bodyPr/>
          <a:lstStyle>
            <a:lvl1pPr>
              <a:buNone/>
              <a:defRPr sz="1200">
                <a:solidFill>
                  <a:srgbClr val="53565A"/>
                </a:solidFill>
              </a:defRPr>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p:txBody>
      </p:sp>
    </p:spTree>
    <p:extLst>
      <p:ext uri="{BB962C8B-B14F-4D97-AF65-F5344CB8AC3E}">
        <p14:creationId xmlns:p14="http://schemas.microsoft.com/office/powerpoint/2010/main" val="2975525658"/>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200"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Content Placeholder 4"/>
          <p:cNvSpPr>
            <a:spLocks noGrp="1"/>
          </p:cNvSpPr>
          <p:nvPr>
            <p:ph idx="11"/>
          </p:nvPr>
        </p:nvSpPr>
        <p:spPr>
          <a:xfrm>
            <a:off x="4698218"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457200" y="705206"/>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Text Placeholder 22"/>
          <p:cNvSpPr>
            <a:spLocks noGrp="1"/>
          </p:cNvSpPr>
          <p:nvPr>
            <p:ph type="body" sz="quarter" idx="16"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4217492453"/>
      </p:ext>
    </p:extLst>
  </p:cSld>
  <p:clrMapOvr>
    <a:masterClrMapping/>
  </p:clrMapOvr>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1" y="1494886"/>
            <a:ext cx="2806700" cy="2209800"/>
          </a:xfrm>
          <a:prstGeom prst="rect">
            <a:avLst/>
          </a:prstGeom>
        </p:spPr>
        <p:txBody>
          <a:bodyPr/>
          <a:lstStyle/>
          <a:p>
            <a:r>
              <a:rPr lang="en-US" dirty="0"/>
              <a:t>Click icon to add picture</a:t>
            </a:r>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dirty="0"/>
              <a:t>Click icon to add picture</a:t>
            </a:r>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dirty="0"/>
              <a:t>Click icon to add picture</a:t>
            </a:r>
          </a:p>
        </p:txBody>
      </p:sp>
      <p:sp>
        <p:nvSpPr>
          <p:cNvPr id="9" name="Picture Placeholder 8"/>
          <p:cNvSpPr>
            <a:spLocks noGrp="1"/>
          </p:cNvSpPr>
          <p:nvPr>
            <p:ph type="pic" sz="quarter" idx="14"/>
          </p:nvPr>
        </p:nvSpPr>
        <p:spPr>
          <a:xfrm>
            <a:off x="126208" y="3872964"/>
            <a:ext cx="2782092" cy="2235737"/>
          </a:xfrm>
          <a:prstGeom prst="rect">
            <a:avLst/>
          </a:prstGeom>
        </p:spPr>
        <p:txBody>
          <a:bodyPr/>
          <a:lstStyle/>
          <a:p>
            <a:r>
              <a:rPr lang="en-US" dirty="0"/>
              <a:t>Click icon to add picture</a:t>
            </a:r>
          </a:p>
        </p:txBody>
      </p:sp>
      <p:sp>
        <p:nvSpPr>
          <p:cNvPr id="14" name="Picture Placeholder 8"/>
          <p:cNvSpPr>
            <a:spLocks noGrp="1"/>
          </p:cNvSpPr>
          <p:nvPr>
            <p:ph type="pic" sz="quarter" idx="15"/>
          </p:nvPr>
        </p:nvSpPr>
        <p:spPr>
          <a:xfrm>
            <a:off x="3113883" y="3890423"/>
            <a:ext cx="2782092" cy="2235737"/>
          </a:xfrm>
          <a:prstGeom prst="rect">
            <a:avLst/>
          </a:prstGeom>
        </p:spPr>
        <p:txBody>
          <a:bodyPr/>
          <a:lstStyle/>
          <a:p>
            <a:r>
              <a:rPr lang="en-US" dirty="0"/>
              <a:t>Click icon to add picture</a:t>
            </a:r>
          </a:p>
        </p:txBody>
      </p:sp>
      <p:sp>
        <p:nvSpPr>
          <p:cNvPr id="16" name="Picture Placeholder 8"/>
          <p:cNvSpPr>
            <a:spLocks noGrp="1"/>
          </p:cNvSpPr>
          <p:nvPr>
            <p:ph type="pic" sz="quarter" idx="16"/>
          </p:nvPr>
        </p:nvSpPr>
        <p:spPr>
          <a:xfrm>
            <a:off x="6076950" y="3890422"/>
            <a:ext cx="2782092" cy="2235737"/>
          </a:xfrm>
          <a:prstGeom prst="rect">
            <a:avLst/>
          </a:prstGeom>
        </p:spPr>
        <p:txBody>
          <a:bodyPr/>
          <a:lstStyle/>
          <a:p>
            <a:r>
              <a:rPr lang="en-US" dirty="0"/>
              <a:t>Click icon to add picture</a:t>
            </a:r>
          </a:p>
        </p:txBody>
      </p:sp>
      <p:sp>
        <p:nvSpPr>
          <p:cNvPr id="12" name="Text Placeholder 22"/>
          <p:cNvSpPr>
            <a:spLocks noGrp="1"/>
          </p:cNvSpPr>
          <p:nvPr>
            <p:ph type="body" sz="quarter" idx="17"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
        <p:nvSpPr>
          <p:cNvPr id="13" name="Title 1"/>
          <p:cNvSpPr>
            <a:spLocks noGrp="1"/>
          </p:cNvSpPr>
          <p:nvPr>
            <p:ph type="title"/>
          </p:nvPr>
        </p:nvSpPr>
        <p:spPr>
          <a:xfrm>
            <a:off x="457200" y="705206"/>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2765071341"/>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199" y="134686"/>
            <a:ext cx="7135091" cy="1121459"/>
          </a:xfrm>
          <a:prstGeom prst="rect">
            <a:avLst/>
          </a:prstGeom>
        </p:spPr>
        <p:txBody>
          <a:bodyPr/>
          <a:lstStyle>
            <a:lvl1pPr algn="l">
              <a:lnSpc>
                <a:spcPct val="90000"/>
              </a:lnSpc>
              <a:defRPr sz="3600" baseline="0">
                <a:solidFill>
                  <a:schemeClr val="tx2"/>
                </a:solidFill>
              </a:defRPr>
            </a:lvl1pPr>
          </a:lstStyle>
          <a:p>
            <a:r>
              <a:rPr lang="en-US" dirty="0"/>
              <a:t>Cover Slide Title and Multiple Lines If Necessary</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11" name="Picture 10"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1106966005"/>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2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a:t>Subtitle of Slide</a:t>
            </a:r>
          </a:p>
        </p:txBody>
      </p:sp>
      <p:sp>
        <p:nvSpPr>
          <p:cNvPr id="9" name="Text Placeholder 8"/>
          <p:cNvSpPr>
            <a:spLocks noGrp="1"/>
          </p:cNvSpPr>
          <p:nvPr>
            <p:ph type="body" sz="quarter" idx="11" hasCustomPrompt="1"/>
          </p:nvPr>
        </p:nvSpPr>
        <p:spPr>
          <a:xfrm>
            <a:off x="457198" y="5794656"/>
            <a:ext cx="8238320" cy="370435"/>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975">
                <a:solidFill>
                  <a:srgbClr val="A7A8AA"/>
                </a:solidFill>
              </a:defRPr>
            </a:lvl1pPr>
          </a:lstStyle>
          <a:p>
            <a:pPr lvl="0"/>
            <a:r>
              <a:rPr lang="en-US" dirty="0"/>
              <a:t>Click to edit text</a:t>
            </a:r>
          </a:p>
        </p:txBody>
      </p:sp>
      <p:sp>
        <p:nvSpPr>
          <p:cNvPr id="11" name="Content Placeholder 1"/>
          <p:cNvSpPr>
            <a:spLocks noGrp="1"/>
          </p:cNvSpPr>
          <p:nvPr>
            <p:ph idx="13"/>
          </p:nvPr>
        </p:nvSpPr>
        <p:spPr>
          <a:xfrm>
            <a:off x="457198" y="1943072"/>
            <a:ext cx="8238320"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22"/>
          <p:cNvSpPr>
            <a:spLocks noGrp="1"/>
          </p:cNvSpPr>
          <p:nvPr>
            <p:ph type="body" sz="quarter" idx="16"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cxnSp>
        <p:nvCxnSpPr>
          <p:cNvPr id="8" name="Straight Connector 7"/>
          <p:cNvCxnSpPr/>
          <p:nvPr/>
        </p:nvCxnSpPr>
        <p:spPr>
          <a:xfrm>
            <a:off x="363680" y="1776844"/>
            <a:ext cx="8478985"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3215436"/>
      </p:ext>
    </p:extLst>
  </p:cSld>
  <p:clrMapOvr>
    <a:masterClrMapping/>
  </p:clrMapOvr>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289566"/>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Content Placeholder 1"/>
          <p:cNvSpPr>
            <a:spLocks noGrp="1"/>
          </p:cNvSpPr>
          <p:nvPr>
            <p:ph idx="10"/>
          </p:nvPr>
        </p:nvSpPr>
        <p:spPr>
          <a:xfrm>
            <a:off x="457198" y="1167598"/>
            <a:ext cx="823832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22"/>
          <p:cNvSpPr>
            <a:spLocks noGrp="1"/>
          </p:cNvSpPr>
          <p:nvPr>
            <p:ph type="body" sz="quarter" idx="16"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cxnSp>
        <p:nvCxnSpPr>
          <p:cNvPr id="5" name="Straight Connector 4"/>
          <p:cNvCxnSpPr/>
          <p:nvPr/>
        </p:nvCxnSpPr>
        <p:spPr>
          <a:xfrm>
            <a:off x="363681" y="831272"/>
            <a:ext cx="8468592"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001129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4754822" cy="6886211"/>
          </a:xfrm>
          <a:prstGeom prst="rect">
            <a:avLst/>
          </a:prstGeom>
        </p:spPr>
      </p:pic>
      <p:pic>
        <p:nvPicPr>
          <p:cNvPr id="6" name="Picture 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5" name="Title 3"/>
          <p:cNvSpPr>
            <a:spLocks noGrp="1"/>
          </p:cNvSpPr>
          <p:nvPr>
            <p:ph type="title" hasCustomPrompt="1"/>
          </p:nvPr>
        </p:nvSpPr>
        <p:spPr>
          <a:xfrm>
            <a:off x="4917836" y="2740932"/>
            <a:ext cx="3732113" cy="2429904"/>
          </a:xfrm>
          <a:prstGeom prst="rect">
            <a:avLst/>
          </a:prstGeom>
        </p:spPr>
        <p:txBody>
          <a:bodyPr vert="horz" anchor="t"/>
          <a:lstStyle>
            <a:lvl1pPr algn="l">
              <a:lnSpc>
                <a:spcPct val="100000"/>
              </a:lnSpc>
              <a:defRPr sz="2700">
                <a:solidFill>
                  <a:srgbClr val="FF8200"/>
                </a:solidFill>
              </a:defRPr>
            </a:lvl1pPr>
          </a:lstStyle>
          <a:p>
            <a:r>
              <a:rPr lang="en-US" dirty="0"/>
              <a:t>Section Title And Multiple Lines If Necessary</a:t>
            </a:r>
          </a:p>
        </p:txBody>
      </p:sp>
      <p:pic>
        <p:nvPicPr>
          <p:cNvPr id="8" name="Picture 7" descr="Illust_Section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4754822" cy="6886211"/>
          </a:xfrm>
          <a:prstGeom prst="rect">
            <a:avLst/>
          </a:prstGeom>
        </p:spPr>
      </p:pic>
      <p:pic>
        <p:nvPicPr>
          <p:cNvPr id="9" name="Picture 8"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2038743179"/>
      </p:ext>
    </p:extLst>
  </p:cSld>
  <p:clrMapOvr>
    <a:masterClrMapping/>
  </p:clrMapOvr>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4685018" cy="6858000"/>
          </a:xfrm>
          <a:prstGeom prst="rect">
            <a:avLst/>
          </a:prstGeom>
        </p:spPr>
      </p:pic>
      <p:pic>
        <p:nvPicPr>
          <p:cNvPr id="5" name="Picture 4"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1" name="Text Placeholder 10"/>
          <p:cNvSpPr>
            <a:spLocks noGrp="1"/>
          </p:cNvSpPr>
          <p:nvPr>
            <p:ph type="body" sz="quarter" idx="12"/>
          </p:nvPr>
        </p:nvSpPr>
        <p:spPr>
          <a:xfrm>
            <a:off x="5068889" y="3494882"/>
            <a:ext cx="3724275" cy="1718018"/>
          </a:xfrm>
          <a:prstGeom prst="rect">
            <a:avLst/>
          </a:prstGeom>
        </p:spPr>
        <p:txBody>
          <a:bodyPr vert="horz"/>
          <a:lstStyle>
            <a:lvl1pPr>
              <a:buNone/>
              <a:defRPr sz="1200">
                <a:solidFill>
                  <a:srgbClr val="53565A"/>
                </a:solidFill>
              </a:defRPr>
            </a:lvl1pPr>
            <a:lvl2pPr>
              <a:buNone/>
              <a:defRPr sz="1200"/>
            </a:lvl2pPr>
            <a:lvl3pPr>
              <a:buNone/>
              <a:defRPr sz="1200"/>
            </a:lvl3pPr>
            <a:lvl4pPr>
              <a:buNone/>
              <a:defRPr sz="1200"/>
            </a:lvl4pPr>
            <a:lvl5pPr>
              <a:buNone/>
              <a:defRPr sz="1200"/>
            </a:lvl5pPr>
          </a:lstStyle>
          <a:p>
            <a:pPr lvl="0"/>
            <a:r>
              <a:rPr lang="en-US"/>
              <a:t>Click to edit Master text styles</a:t>
            </a:r>
          </a:p>
        </p:txBody>
      </p:sp>
      <p:sp>
        <p:nvSpPr>
          <p:cNvPr id="13" name="Text Placeholder 12"/>
          <p:cNvSpPr>
            <a:spLocks noGrp="1"/>
          </p:cNvSpPr>
          <p:nvPr>
            <p:ph type="body" sz="quarter" idx="13" hasCustomPrompt="1"/>
          </p:nvPr>
        </p:nvSpPr>
        <p:spPr>
          <a:xfrm>
            <a:off x="5068128" y="2747964"/>
            <a:ext cx="3700462" cy="638704"/>
          </a:xfrm>
          <a:prstGeom prst="rect">
            <a:avLst/>
          </a:prstGeom>
        </p:spPr>
        <p:txBody>
          <a:bodyPr vert="horz"/>
          <a:lstStyle>
            <a:lvl1pPr>
              <a:buNone/>
              <a:defRPr sz="2700">
                <a:solidFill>
                  <a:srgbClr val="FF8200"/>
                </a:solidFill>
              </a:defRPr>
            </a:lvl1pPr>
            <a:lvl2pPr>
              <a:buNone/>
              <a:defRPr sz="2700"/>
            </a:lvl2pPr>
            <a:lvl3pPr>
              <a:buNone/>
              <a:defRPr sz="2700"/>
            </a:lvl3pPr>
            <a:lvl4pPr>
              <a:buNone/>
              <a:defRPr sz="2700"/>
            </a:lvl4pPr>
            <a:lvl5pPr>
              <a:buNone/>
              <a:defRPr sz="2700"/>
            </a:lvl5pPr>
          </a:lstStyle>
          <a:p>
            <a:pPr lvl="0"/>
            <a:r>
              <a:rPr lang="en-US" dirty="0"/>
              <a:t>Appendix</a:t>
            </a:r>
          </a:p>
        </p:txBody>
      </p:sp>
      <p:pic>
        <p:nvPicPr>
          <p:cNvPr id="6" name="Picture 5" descr="Illust_Appendix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4685018" cy="6858000"/>
          </a:xfrm>
          <a:prstGeom prst="rect">
            <a:avLst/>
          </a:prstGeom>
        </p:spPr>
      </p:pic>
      <p:pic>
        <p:nvPicPr>
          <p:cNvPr id="7" name="Picture 6"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Tree>
    <p:extLst>
      <p:ext uri="{BB962C8B-B14F-4D97-AF65-F5344CB8AC3E}">
        <p14:creationId xmlns:p14="http://schemas.microsoft.com/office/powerpoint/2010/main" val="2289170645"/>
      </p:ext>
    </p:extLst>
  </p:cSld>
  <p:clrMapOvr>
    <a:masterClrMapping/>
  </p:clrMapOvr>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9160616" cy="6870462"/>
          </a:xfrm>
          <a:prstGeom prst="rect">
            <a:avLst/>
          </a:prstGeom>
        </p:spPr>
      </p:pic>
      <p:sp>
        <p:nvSpPr>
          <p:cNvPr id="2" name="Title 1"/>
          <p:cNvSpPr>
            <a:spLocks noGrp="1"/>
          </p:cNvSpPr>
          <p:nvPr>
            <p:ph type="ctrTitle" hasCustomPrompt="1"/>
          </p:nvPr>
        </p:nvSpPr>
        <p:spPr>
          <a:xfrm>
            <a:off x="4823119" y="2046614"/>
            <a:ext cx="3912176" cy="1664799"/>
          </a:xfrm>
          <a:prstGeom prst="rect">
            <a:avLst/>
          </a:prstGeom>
        </p:spPr>
        <p:txBody>
          <a:bodyPr/>
          <a:lstStyle>
            <a:lvl1pPr algn="l">
              <a:lnSpc>
                <a:spcPct val="90000"/>
              </a:lnSpc>
              <a:defRPr sz="2700" baseline="0">
                <a:solidFill>
                  <a:schemeClr val="tx2"/>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7" y="3835859"/>
            <a:ext cx="3912177" cy="1284154"/>
          </a:xfrm>
          <a:prstGeom prst="rect">
            <a:avLst/>
          </a:prstGeom>
        </p:spPr>
        <p:txBody>
          <a:bodyPr/>
          <a:lstStyle>
            <a:lvl1pPr marL="0" indent="0" algn="l">
              <a:buNone/>
              <a:defRPr sz="1200">
                <a:solidFill>
                  <a:srgbClr val="53565A"/>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9"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819156377"/>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6" y="5551714"/>
            <a:ext cx="3912178" cy="544286"/>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13" name="Picture Placeholder 2"/>
          <p:cNvSpPr>
            <a:spLocks noGrp="1"/>
          </p:cNvSpPr>
          <p:nvPr>
            <p:ph type="pic" idx="11" hasCustomPrompt="1"/>
          </p:nvPr>
        </p:nvSpPr>
        <p:spPr>
          <a:xfrm>
            <a:off x="4891024" y="2007812"/>
            <a:ext cx="3912176" cy="504303"/>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2700" baseline="0">
                <a:solidFill>
                  <a:srgbClr val="FF8200"/>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5"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041928476"/>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_Title Slide 5">
    <p:spTree>
      <p:nvGrpSpPr>
        <p:cNvPr id="1" name=""/>
        <p:cNvGrpSpPr/>
        <p:nvPr/>
      </p:nvGrpSpPr>
      <p:grpSpPr>
        <a:xfrm>
          <a:off x="0" y="0"/>
          <a:ext cx="0" cy="0"/>
          <a:chOff x="0" y="0"/>
          <a:chExt cx="0" cy="0"/>
        </a:xfrm>
      </p:grpSpPr>
      <p:pic>
        <p:nvPicPr>
          <p:cNvPr id="8" name="Picture 7"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9" name="Rectangle 8"/>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sp>
        <p:nvSpPr>
          <p:cNvPr id="3" name="Subtitle 2"/>
          <p:cNvSpPr>
            <a:spLocks noGrp="1"/>
          </p:cNvSpPr>
          <p:nvPr>
            <p:ph type="subTitle" idx="1" hasCustomPrompt="1"/>
          </p:nvPr>
        </p:nvSpPr>
        <p:spPr>
          <a:xfrm>
            <a:off x="3149209" y="2872276"/>
            <a:ext cx="5472113" cy="901716"/>
          </a:xfrm>
          <a:prstGeom prst="rect">
            <a:avLst/>
          </a:prstGeom>
          <a:ln>
            <a:noFill/>
          </a:ln>
        </p:spPr>
        <p:txBody>
          <a:bodyPr anchor="ctr"/>
          <a:lstStyle>
            <a:lvl1pPr marL="0" indent="0" algn="l">
              <a:lnSpc>
                <a:spcPct val="60000"/>
              </a:lnSpc>
              <a:buNone/>
              <a:defRPr sz="2700" baseline="0">
                <a:solidFill>
                  <a:schemeClr val="bg1"/>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6" name="Text Placeholder 5"/>
          <p:cNvSpPr>
            <a:spLocks noGrp="1"/>
          </p:cNvSpPr>
          <p:nvPr>
            <p:ph type="body" sz="quarter" idx="11" hasCustomPrompt="1"/>
          </p:nvPr>
        </p:nvSpPr>
        <p:spPr>
          <a:xfrm>
            <a:off x="3149209" y="3740100"/>
            <a:ext cx="5472113" cy="252412"/>
          </a:xfrm>
          <a:prstGeom prst="rect">
            <a:avLst/>
          </a:prstGeom>
        </p:spPr>
        <p:txBody>
          <a:bodyPr vert="horz"/>
          <a:lstStyle>
            <a:lvl1pPr marL="0" indent="0">
              <a:buNone/>
              <a:defRPr sz="135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763628925"/>
      </p:ext>
    </p:extLst>
  </p:cSld>
  <p:clrMapOvr>
    <a:masterClrMapping/>
  </p:clrMapOvr>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_Title Slide 6">
    <p:spTree>
      <p:nvGrpSpPr>
        <p:cNvPr id="1" name=""/>
        <p:cNvGrpSpPr/>
        <p:nvPr/>
      </p:nvGrpSpPr>
      <p:grpSpPr>
        <a:xfrm>
          <a:off x="0" y="0"/>
          <a:ext cx="0" cy="0"/>
          <a:chOff x="0" y="0"/>
          <a:chExt cx="0" cy="0"/>
        </a:xfrm>
      </p:grpSpPr>
      <p:pic>
        <p:nvPicPr>
          <p:cNvPr id="10" name="Picture 9"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11" name="Rectangle 10"/>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pic>
        <p:nvPicPr>
          <p:cNvPr id="16" name="Picture 1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3" name="Subtitle 2"/>
          <p:cNvSpPr>
            <a:spLocks noGrp="1"/>
          </p:cNvSpPr>
          <p:nvPr>
            <p:ph type="subTitle" idx="1" hasCustomPrompt="1"/>
          </p:nvPr>
        </p:nvSpPr>
        <p:spPr>
          <a:xfrm>
            <a:off x="3144070" y="2971288"/>
            <a:ext cx="5596363" cy="971627"/>
          </a:xfrm>
          <a:prstGeom prst="rect">
            <a:avLst/>
          </a:prstGeom>
          <a:ln>
            <a:noFill/>
          </a:ln>
        </p:spPr>
        <p:txBody>
          <a:bodyPr anchor="ctr"/>
          <a:lstStyle>
            <a:lvl1pPr marL="0" indent="0" algn="l">
              <a:lnSpc>
                <a:spcPct val="70000"/>
              </a:lnSpc>
              <a:buNone/>
              <a:defRPr sz="2700" baseline="0">
                <a:solidFill>
                  <a:schemeClr val="bg1"/>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p:nvSpPr>
        <p:spPr>
          <a:xfrm>
            <a:off x="3545968"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sz="1500" dirty="0"/>
          </a:p>
        </p:txBody>
      </p:sp>
      <p:sp>
        <p:nvSpPr>
          <p:cNvPr id="14" name="Picture Placeholder 2"/>
          <p:cNvSpPr>
            <a:spLocks noGrp="1"/>
          </p:cNvSpPr>
          <p:nvPr>
            <p:ph type="pic" idx="10" hasCustomPrompt="1"/>
          </p:nvPr>
        </p:nvSpPr>
        <p:spPr>
          <a:xfrm>
            <a:off x="3439982" y="2044095"/>
            <a:ext cx="5300451" cy="530474"/>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15" name="Picture Placeholder 2"/>
          <p:cNvSpPr>
            <a:spLocks noGrp="1"/>
          </p:cNvSpPr>
          <p:nvPr>
            <p:ph type="pic" idx="11" hasCustomPrompt="1"/>
          </p:nvPr>
        </p:nvSpPr>
        <p:spPr>
          <a:xfrm>
            <a:off x="3526646" y="5539619"/>
            <a:ext cx="5201811" cy="527520"/>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6" y="6397626"/>
            <a:ext cx="4202212" cy="363613"/>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378661953"/>
      </p:ext>
    </p:extLst>
  </p:cSld>
  <p:clrMapOvr>
    <a:masterClrMapping/>
  </p:clrMapOvr>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pic>
        <p:nvPicPr>
          <p:cNvPr id="2" name="Picture 1"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825">
                <a:solidFill>
                  <a:srgbClr val="53565A"/>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4" name="Text Placeholder 13"/>
          <p:cNvSpPr>
            <a:spLocks noGrp="1"/>
          </p:cNvSpPr>
          <p:nvPr>
            <p:ph type="body" sz="quarter" idx="14" hasCustomPrompt="1"/>
          </p:nvPr>
        </p:nvSpPr>
        <p:spPr>
          <a:xfrm>
            <a:off x="300039" y="1282539"/>
            <a:ext cx="7484329" cy="322555"/>
          </a:xfrm>
          <a:prstGeom prst="rect">
            <a:avLst/>
          </a:prstGeom>
        </p:spPr>
        <p:txBody>
          <a:bodyPr vert="horz"/>
          <a:lstStyle>
            <a:lvl1pPr>
              <a:buNone/>
              <a:defRPr sz="1200">
                <a:solidFill>
                  <a:srgbClr val="53565A"/>
                </a:solidFill>
              </a:defRPr>
            </a:lvl1pPr>
          </a:lstStyle>
          <a:p>
            <a:pPr lvl="0"/>
            <a:r>
              <a:rPr lang="en-US" dirty="0"/>
              <a:t>Subtitle of Presentation</a:t>
            </a:r>
          </a:p>
        </p:txBody>
      </p:sp>
      <p:sp>
        <p:nvSpPr>
          <p:cNvPr id="3" name="Title 2"/>
          <p:cNvSpPr>
            <a:spLocks noGrp="1"/>
          </p:cNvSpPr>
          <p:nvPr>
            <p:ph type="title" hasCustomPrompt="1"/>
          </p:nvPr>
        </p:nvSpPr>
        <p:spPr>
          <a:xfrm>
            <a:off x="309786" y="177662"/>
            <a:ext cx="7474582" cy="1104877"/>
          </a:xfrm>
          <a:prstGeom prst="rect">
            <a:avLst/>
          </a:prstGeom>
        </p:spPr>
        <p:txBody>
          <a:bodyPr vert="horz" anchor="t"/>
          <a:lstStyle>
            <a:lvl1pPr algn="l">
              <a:lnSpc>
                <a:spcPct val="90000"/>
              </a:lnSpc>
              <a:defRPr sz="2700" baseline="0">
                <a:solidFill>
                  <a:srgbClr val="53565A"/>
                </a:solidFill>
              </a:defRPr>
            </a:lvl1pPr>
          </a:lstStyle>
          <a:p>
            <a:r>
              <a:rPr lang="en-US" dirty="0"/>
              <a:t>Cover Slide Title and</a:t>
            </a:r>
            <a:br>
              <a:rPr lang="en-US" dirty="0"/>
            </a:br>
            <a:r>
              <a:rPr lang="en-US" dirty="0"/>
              <a:t>Second Line if Necessary</a:t>
            </a:r>
          </a:p>
        </p:txBody>
      </p:sp>
    </p:spTree>
    <p:extLst>
      <p:ext uri="{BB962C8B-B14F-4D97-AF65-F5344CB8AC3E}">
        <p14:creationId xmlns:p14="http://schemas.microsoft.com/office/powerpoint/2010/main" val="3854081133"/>
      </p:ext>
    </p:extLst>
  </p:cSld>
  <p:clrMapOvr>
    <a:masterClrMapping/>
  </p:clrMapOvr>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8" name="Picture 7"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91499"/>
            <a:ext cx="9144608" cy="6566503"/>
          </a:xfrm>
          <a:prstGeom prst="rect">
            <a:avLst/>
          </a:prstGeom>
        </p:spPr>
      </p:pic>
      <p:pic>
        <p:nvPicPr>
          <p:cNvPr id="11" name="Picture 1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3" name="Picture Placeholder 2"/>
          <p:cNvSpPr>
            <a:spLocks noGrp="1"/>
          </p:cNvSpPr>
          <p:nvPr>
            <p:ph type="pic" idx="1" hasCustomPrompt="1"/>
          </p:nvPr>
        </p:nvSpPr>
        <p:spPr>
          <a:xfrm>
            <a:off x="344009" y="168031"/>
            <a:ext cx="6868853" cy="506652"/>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7" name="Picture Placeholder 2"/>
          <p:cNvSpPr>
            <a:spLocks noGrp="1"/>
          </p:cNvSpPr>
          <p:nvPr>
            <p:ph type="pic" idx="10" hasCustomPrompt="1"/>
          </p:nvPr>
        </p:nvSpPr>
        <p:spPr>
          <a:xfrm>
            <a:off x="344009" y="5757335"/>
            <a:ext cx="5317489" cy="541223"/>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9" name="Text Placeholder 6"/>
          <p:cNvSpPr>
            <a:spLocks noGrp="1"/>
          </p:cNvSpPr>
          <p:nvPr>
            <p:ph type="body" sz="quarter" idx="12" hasCustomPrompt="1"/>
          </p:nvPr>
        </p:nvSpPr>
        <p:spPr>
          <a:xfrm>
            <a:off x="344008" y="6265335"/>
            <a:ext cx="3913188" cy="278191"/>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0" name="Text Placeholder 11"/>
          <p:cNvSpPr>
            <a:spLocks noGrp="1"/>
          </p:cNvSpPr>
          <p:nvPr>
            <p:ph type="body" sz="quarter" idx="14" hasCustomPrompt="1"/>
          </p:nvPr>
        </p:nvSpPr>
        <p:spPr>
          <a:xfrm>
            <a:off x="300040" y="624933"/>
            <a:ext cx="6738218" cy="1156530"/>
          </a:xfrm>
          <a:prstGeom prst="rect">
            <a:avLst/>
          </a:prstGeom>
        </p:spPr>
        <p:txBody>
          <a:bodyPr vert="horz"/>
          <a:lstStyle>
            <a:lvl1pPr marL="0" indent="0">
              <a:lnSpc>
                <a:spcPct val="90000"/>
              </a:lnSpc>
              <a:buNone/>
              <a:defRPr sz="27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416407696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544286"/>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9" name="Picture 8"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pic>
        <p:nvPicPr>
          <p:cNvPr id="11" name="Picture 1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2501778718"/>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C9020E1-6174-4B56-ABAE-9E0816058D48}" type="datetimeFigureOut">
              <a:rPr lang="en-US" smtClean="0"/>
              <a:pPr/>
              <a:t>6/2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defRPr/>
            </a:pPr>
            <a:fld id="{6003EAAF-5BD9-4464-8A92-94FE6A92D101}" type="slidenum">
              <a:rPr lang="en-US" b="1" smtClean="0"/>
              <a:pPr>
                <a:defRPr/>
              </a:pPr>
              <a:t>‹#›</a:t>
            </a:fld>
            <a:endParaRPr lang="en-US" b="1" dirty="0"/>
          </a:p>
        </p:txBody>
      </p:sp>
      <p:pic>
        <p:nvPicPr>
          <p:cNvPr id="6" name="Picture 5"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7" name="Picture 6"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8"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825">
                <a:solidFill>
                  <a:srgbClr val="53565A"/>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9"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2" name="Title 1"/>
          <p:cNvSpPr>
            <a:spLocks noGrp="1"/>
          </p:cNvSpPr>
          <p:nvPr>
            <p:ph type="title" hasCustomPrompt="1"/>
          </p:nvPr>
        </p:nvSpPr>
        <p:spPr>
          <a:xfrm>
            <a:off x="447201" y="949001"/>
            <a:ext cx="6874246" cy="761124"/>
          </a:xfrm>
        </p:spPr>
        <p:txBody>
          <a:bodyPr/>
          <a:lstStyle>
            <a:lvl1pPr>
              <a:defRPr sz="1200">
                <a:solidFill>
                  <a:srgbClr val="53565A"/>
                </a:solidFill>
              </a:defRPr>
            </a:lvl1pPr>
          </a:lstStyle>
          <a:p>
            <a:r>
              <a:rPr lang="en-US" dirty="0"/>
              <a:t>Subtitle of slide and or description of presentation</a:t>
            </a:r>
            <a:br>
              <a:rPr lang="en-US" dirty="0"/>
            </a:br>
            <a:r>
              <a:rPr lang="en-US" dirty="0"/>
              <a:t>Second line if Necessary</a:t>
            </a:r>
          </a:p>
        </p:txBody>
      </p:sp>
      <p:sp>
        <p:nvSpPr>
          <p:cNvPr id="10" name="Picture Placeholder 2"/>
          <p:cNvSpPr>
            <a:spLocks noGrp="1"/>
          </p:cNvSpPr>
          <p:nvPr>
            <p:ph type="pic" idx="1" hasCustomPrompt="1"/>
          </p:nvPr>
        </p:nvSpPr>
        <p:spPr>
          <a:xfrm>
            <a:off x="443403" y="374494"/>
            <a:ext cx="6878044" cy="783831"/>
          </a:xfrm>
          <a:prstGeom prst="rect">
            <a:avLst/>
          </a:prstGeom>
        </p:spPr>
        <p:txBody>
          <a:bodyPr/>
          <a:lstStyle>
            <a:lvl1pPr marL="0" indent="0">
              <a:buNone/>
              <a:defRPr sz="2700">
                <a:solidFill>
                  <a:srgbClr val="FF8200"/>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Tree>
    <p:extLst>
      <p:ext uri="{BB962C8B-B14F-4D97-AF65-F5344CB8AC3E}">
        <p14:creationId xmlns:p14="http://schemas.microsoft.com/office/powerpoint/2010/main" val="3387590609"/>
      </p:ext>
    </p:extLst>
  </p:cSld>
  <p:clrMapOvr>
    <a:masterClrMapping/>
  </p:clrMapOvr>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9" y="2046614"/>
            <a:ext cx="3912176" cy="1664799"/>
          </a:xfrm>
          <a:prstGeom prst="rect">
            <a:avLst/>
          </a:prstGeom>
        </p:spPr>
        <p:txBody>
          <a:bodyPr/>
          <a:lstStyle>
            <a:lvl1pPr algn="l">
              <a:lnSpc>
                <a:spcPct val="90000"/>
              </a:lnSpc>
              <a:defRPr sz="2700" baseline="0">
                <a:solidFill>
                  <a:schemeClr val="tx2"/>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7" y="3835859"/>
            <a:ext cx="3912177" cy="1284154"/>
          </a:xfrm>
          <a:prstGeom prst="rect">
            <a:avLst/>
          </a:prstGeom>
        </p:spPr>
        <p:txBody>
          <a:bodyPr/>
          <a:lstStyle>
            <a:lvl1pPr marL="0" indent="0" algn="l">
              <a:buNone/>
              <a:defRPr sz="1200">
                <a:solidFill>
                  <a:srgbClr val="53565A"/>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6"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1" name="Picture 10"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3074248457"/>
      </p:ext>
    </p:extLst>
  </p:cSld>
  <p:clrMapOvr>
    <a:masterClrMapping/>
  </p:clrMapOvr>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6" y="5553983"/>
            <a:ext cx="3912178" cy="518663"/>
          </a:xfrm>
          <a:prstGeom prst="rect">
            <a:avLst/>
          </a:prstGeom>
        </p:spPr>
        <p:txBody>
          <a:bodyPr/>
          <a:lstStyle>
            <a:lvl1pPr marL="0" indent="0">
              <a:buNone/>
              <a:defRPr sz="1500">
                <a:solidFill>
                  <a:srgbClr val="FF8200"/>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13" name="Picture Placeholder 2"/>
          <p:cNvSpPr>
            <a:spLocks noGrp="1"/>
          </p:cNvSpPr>
          <p:nvPr>
            <p:ph type="pic" idx="11" hasCustomPrompt="1"/>
          </p:nvPr>
        </p:nvSpPr>
        <p:spPr>
          <a:xfrm>
            <a:off x="4891024" y="2007812"/>
            <a:ext cx="3912176" cy="504303"/>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2700" baseline="0">
                <a:solidFill>
                  <a:srgbClr val="FF8200"/>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7"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5" name="Picture 14"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741677184"/>
      </p:ext>
    </p:extLst>
  </p:cSld>
  <p:clrMapOvr>
    <a:masterClrMapping/>
  </p:clrMapOvr>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3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p:nvPicPr>
        <p:blipFill>
          <a:blip r:embed="rId2" cstate="print"/>
          <a:stretch>
            <a:fillRect/>
          </a:stretch>
        </p:blipFill>
        <p:spPr>
          <a:xfrm>
            <a:off x="-12938" y="0"/>
            <a:ext cx="3202147" cy="6858000"/>
          </a:xfrm>
          <a:prstGeom prst="rect">
            <a:avLst/>
          </a:prstGeom>
        </p:spPr>
      </p:pic>
      <p:sp>
        <p:nvSpPr>
          <p:cNvPr id="8" name="Rectangle 7"/>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7" name="Subtitle 2"/>
          <p:cNvSpPr>
            <a:spLocks noGrp="1"/>
          </p:cNvSpPr>
          <p:nvPr>
            <p:ph type="subTitle" idx="1" hasCustomPrompt="1"/>
          </p:nvPr>
        </p:nvSpPr>
        <p:spPr>
          <a:xfrm>
            <a:off x="3149209" y="2872276"/>
            <a:ext cx="5472113" cy="901716"/>
          </a:xfrm>
          <a:prstGeom prst="rect">
            <a:avLst/>
          </a:prstGeom>
          <a:ln>
            <a:noFill/>
          </a:ln>
        </p:spPr>
        <p:txBody>
          <a:bodyPr anchor="ctr"/>
          <a:lstStyle>
            <a:lvl1pPr marL="0" indent="0" algn="l">
              <a:lnSpc>
                <a:spcPct val="60000"/>
              </a:lnSpc>
              <a:buNone/>
              <a:defRPr sz="2700" baseline="0">
                <a:solidFill>
                  <a:schemeClr val="bg1"/>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a:t>
            </a:r>
          </a:p>
          <a:p>
            <a:r>
              <a:rPr lang="en-US" dirty="0"/>
              <a:t>Second Line If Necessary</a:t>
            </a:r>
          </a:p>
        </p:txBody>
      </p:sp>
      <p:sp>
        <p:nvSpPr>
          <p:cNvPr id="9" name="Text Placeholder 5"/>
          <p:cNvSpPr>
            <a:spLocks noGrp="1"/>
          </p:cNvSpPr>
          <p:nvPr>
            <p:ph type="body" sz="quarter" idx="11" hasCustomPrompt="1"/>
          </p:nvPr>
        </p:nvSpPr>
        <p:spPr>
          <a:xfrm>
            <a:off x="3149209" y="3740100"/>
            <a:ext cx="5472113" cy="252412"/>
          </a:xfrm>
          <a:prstGeom prst="rect">
            <a:avLst/>
          </a:prstGeom>
        </p:spPr>
        <p:txBody>
          <a:bodyPr vert="horz"/>
          <a:lstStyle>
            <a:lvl1pPr marL="0" indent="0">
              <a:buNone/>
              <a:defRPr sz="1350">
                <a:solidFill>
                  <a:srgbClr val="FFFFFF"/>
                </a:solidFill>
              </a:defRPr>
            </a:lvl1pPr>
          </a:lstStyle>
          <a:p>
            <a:pPr lvl="0"/>
            <a:r>
              <a:rPr lang="en-US" dirty="0"/>
              <a:t>Subtitle of Presentation</a:t>
            </a:r>
          </a:p>
        </p:txBody>
      </p:sp>
    </p:spTree>
    <p:extLst>
      <p:ext uri="{BB962C8B-B14F-4D97-AF65-F5344CB8AC3E}">
        <p14:creationId xmlns:p14="http://schemas.microsoft.com/office/powerpoint/2010/main" val="3967204490"/>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3_Title Slide 6">
    <p:spTree>
      <p:nvGrpSpPr>
        <p:cNvPr id="1" name=""/>
        <p:cNvGrpSpPr/>
        <p:nvPr/>
      </p:nvGrpSpPr>
      <p:grpSpPr>
        <a:xfrm>
          <a:off x="0" y="0"/>
          <a:ext cx="0" cy="0"/>
          <a:chOff x="0" y="0"/>
          <a:chExt cx="0" cy="0"/>
        </a:xfrm>
      </p:grpSpPr>
      <p:pic>
        <p:nvPicPr>
          <p:cNvPr id="10" name="Picture 9" descr="placeholder-vector.png"/>
          <p:cNvPicPr>
            <a:picLocks noChangeAspect="1"/>
          </p:cNvPicPr>
          <p:nvPr/>
        </p:nvPicPr>
        <p:blipFill>
          <a:blip r:embed="rId2" cstate="print"/>
          <a:stretch>
            <a:fillRect/>
          </a:stretch>
        </p:blipFill>
        <p:spPr>
          <a:xfrm>
            <a:off x="-12938" y="0"/>
            <a:ext cx="3202147" cy="6858000"/>
          </a:xfrm>
          <a:prstGeom prst="rect">
            <a:avLst/>
          </a:prstGeom>
        </p:spPr>
      </p:pic>
      <p:sp>
        <p:nvSpPr>
          <p:cNvPr id="11" name="Rectangle 10"/>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900" dirty="0">
              <a:solidFill>
                <a:prstClr val="white"/>
              </a:solidFill>
            </a:endParaRPr>
          </a:p>
        </p:txBody>
      </p:sp>
      <p:pic>
        <p:nvPicPr>
          <p:cNvPr id="16" name="Picture 1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3" name="Title 1"/>
          <p:cNvSpPr txBox="1">
            <a:spLocks/>
          </p:cNvSpPr>
          <p:nvPr/>
        </p:nvSpPr>
        <p:spPr>
          <a:xfrm>
            <a:off x="3545968"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sz="1500" dirty="0"/>
          </a:p>
        </p:txBody>
      </p:sp>
      <p:sp>
        <p:nvSpPr>
          <p:cNvPr id="14" name="Picture Placeholder 2"/>
          <p:cNvSpPr>
            <a:spLocks noGrp="1"/>
          </p:cNvSpPr>
          <p:nvPr>
            <p:ph type="pic" idx="10" hasCustomPrompt="1"/>
          </p:nvPr>
        </p:nvSpPr>
        <p:spPr>
          <a:xfrm>
            <a:off x="3439982" y="2044095"/>
            <a:ext cx="5300451" cy="530474"/>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15" name="Picture Placeholder 2"/>
          <p:cNvSpPr>
            <a:spLocks noGrp="1"/>
          </p:cNvSpPr>
          <p:nvPr>
            <p:ph type="pic" idx="11" hasCustomPrompt="1"/>
          </p:nvPr>
        </p:nvSpPr>
        <p:spPr>
          <a:xfrm>
            <a:off x="3526646" y="5539619"/>
            <a:ext cx="5201811" cy="527520"/>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825">
                <a:solidFill>
                  <a:schemeClr val="tx1"/>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6" y="6397626"/>
            <a:ext cx="4202212" cy="363613"/>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9" name="Subtitle 2"/>
          <p:cNvSpPr>
            <a:spLocks noGrp="1"/>
          </p:cNvSpPr>
          <p:nvPr>
            <p:ph type="subTitle" idx="1" hasCustomPrompt="1"/>
          </p:nvPr>
        </p:nvSpPr>
        <p:spPr>
          <a:xfrm>
            <a:off x="3144070" y="2971288"/>
            <a:ext cx="5596363" cy="971627"/>
          </a:xfrm>
          <a:prstGeom prst="rect">
            <a:avLst/>
          </a:prstGeom>
          <a:ln>
            <a:noFill/>
          </a:ln>
        </p:spPr>
        <p:txBody>
          <a:bodyPr anchor="ctr"/>
          <a:lstStyle>
            <a:lvl1pPr marL="0" indent="0" algn="l">
              <a:lnSpc>
                <a:spcPct val="70000"/>
              </a:lnSpc>
              <a:buNone/>
              <a:defRPr sz="2700" baseline="0">
                <a:solidFill>
                  <a:schemeClr val="bg1"/>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a:t>
            </a:r>
          </a:p>
          <a:p>
            <a:r>
              <a:rPr lang="en-US" dirty="0"/>
              <a:t>Second Line If Necessary</a:t>
            </a:r>
          </a:p>
        </p:txBody>
      </p:sp>
    </p:spTree>
    <p:extLst>
      <p:ext uri="{BB962C8B-B14F-4D97-AF65-F5344CB8AC3E}">
        <p14:creationId xmlns:p14="http://schemas.microsoft.com/office/powerpoint/2010/main" val="2789499126"/>
      </p:ext>
    </p:extLst>
  </p:cSld>
  <p:clrMapOvr>
    <a:masterClrMapping/>
  </p:clrMapOvr>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825">
                <a:solidFill>
                  <a:srgbClr val="53565A"/>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4" name="Text Placeholder 13"/>
          <p:cNvSpPr>
            <a:spLocks noGrp="1"/>
          </p:cNvSpPr>
          <p:nvPr>
            <p:ph type="body" sz="quarter" idx="14" hasCustomPrompt="1"/>
          </p:nvPr>
        </p:nvSpPr>
        <p:spPr>
          <a:xfrm>
            <a:off x="300040" y="1282539"/>
            <a:ext cx="6738218" cy="322555"/>
          </a:xfrm>
          <a:prstGeom prst="rect">
            <a:avLst/>
          </a:prstGeom>
        </p:spPr>
        <p:txBody>
          <a:bodyPr vert="horz"/>
          <a:lstStyle>
            <a:lvl1pPr>
              <a:buNone/>
              <a:defRPr sz="1200">
                <a:solidFill>
                  <a:srgbClr val="53565A"/>
                </a:solidFill>
              </a:defRPr>
            </a:lvl1pPr>
          </a:lstStyle>
          <a:p>
            <a:pPr lvl="0"/>
            <a:r>
              <a:rPr lang="en-US" dirty="0"/>
              <a:t>Subtitle of Presentation</a:t>
            </a:r>
          </a:p>
        </p:txBody>
      </p:sp>
      <p:pic>
        <p:nvPicPr>
          <p:cNvPr id="8" name="Picture 7" descr="placeholder-horizontal.png"/>
          <p:cNvPicPr>
            <a:picLocks noChangeAspect="1"/>
          </p:cNvPicPr>
          <p:nvPr/>
        </p:nvPicPr>
        <p:blipFill>
          <a:blip r:embed="rId3" cstate="print"/>
          <a:stretch>
            <a:fillRect/>
          </a:stretch>
        </p:blipFill>
        <p:spPr>
          <a:xfrm>
            <a:off x="-608" y="1768138"/>
            <a:ext cx="9144000" cy="4133088"/>
          </a:xfrm>
          <a:prstGeom prst="rect">
            <a:avLst/>
          </a:prstGeom>
        </p:spPr>
      </p:pic>
      <p:sp>
        <p:nvSpPr>
          <p:cNvPr id="11" name="Title 2"/>
          <p:cNvSpPr>
            <a:spLocks noGrp="1"/>
          </p:cNvSpPr>
          <p:nvPr>
            <p:ph type="title" hasCustomPrompt="1"/>
          </p:nvPr>
        </p:nvSpPr>
        <p:spPr>
          <a:xfrm>
            <a:off x="309786" y="177662"/>
            <a:ext cx="7474582" cy="1104877"/>
          </a:xfrm>
          <a:prstGeom prst="rect">
            <a:avLst/>
          </a:prstGeom>
        </p:spPr>
        <p:txBody>
          <a:bodyPr vert="horz" anchor="t"/>
          <a:lstStyle>
            <a:lvl1pPr algn="l">
              <a:lnSpc>
                <a:spcPct val="90000"/>
              </a:lnSpc>
              <a:defRPr sz="2700" baseline="0">
                <a:solidFill>
                  <a:srgbClr val="53565A"/>
                </a:solidFill>
              </a:defRPr>
            </a:lvl1pPr>
          </a:lstStyle>
          <a:p>
            <a:r>
              <a:rPr lang="en-US" dirty="0"/>
              <a:t>Cover Slide Title and</a:t>
            </a:r>
            <a:br>
              <a:rPr lang="en-US" dirty="0"/>
            </a:br>
            <a:r>
              <a:rPr lang="en-US" dirty="0"/>
              <a:t>Second Line if Necessary</a:t>
            </a:r>
          </a:p>
        </p:txBody>
      </p:sp>
    </p:spTree>
    <p:extLst>
      <p:ext uri="{BB962C8B-B14F-4D97-AF65-F5344CB8AC3E}">
        <p14:creationId xmlns:p14="http://schemas.microsoft.com/office/powerpoint/2010/main" val="940618319"/>
      </p:ext>
    </p:extLst>
  </p:cSld>
  <p:clrMapOvr>
    <a:masterClrMapping/>
  </p:clrMapOvr>
  <p:hf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2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7" name="Picture Placeholder 2"/>
          <p:cNvSpPr>
            <a:spLocks noGrp="1"/>
          </p:cNvSpPr>
          <p:nvPr>
            <p:ph type="pic" idx="10" hasCustomPrompt="1"/>
          </p:nvPr>
        </p:nvSpPr>
        <p:spPr>
          <a:xfrm>
            <a:off x="344009" y="5757335"/>
            <a:ext cx="5317489" cy="541223"/>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
        <p:nvSpPr>
          <p:cNvPr id="9" name="Text Placeholder 6"/>
          <p:cNvSpPr>
            <a:spLocks noGrp="1"/>
          </p:cNvSpPr>
          <p:nvPr>
            <p:ph type="body" sz="quarter" idx="12" hasCustomPrompt="1"/>
          </p:nvPr>
        </p:nvSpPr>
        <p:spPr>
          <a:xfrm>
            <a:off x="344008" y="6265335"/>
            <a:ext cx="3913188" cy="278191"/>
          </a:xfrm>
          <a:prstGeom prst="rect">
            <a:avLst/>
          </a:prstGeom>
        </p:spPr>
        <p:txBody>
          <a:bodyPr/>
          <a:lstStyle>
            <a:lvl1pPr marL="0" indent="0">
              <a:buNone/>
              <a:defRPr sz="825">
                <a:solidFill>
                  <a:srgbClr val="53565A"/>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2" name="Picture 11" descr="placeholder-horizontal.png"/>
          <p:cNvPicPr>
            <a:picLocks noChangeAspect="1"/>
          </p:cNvPicPr>
          <p:nvPr/>
        </p:nvPicPr>
        <p:blipFill>
          <a:blip r:embed="rId3" cstate="print"/>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9" y="168031"/>
            <a:ext cx="6868853" cy="506652"/>
          </a:xfrm>
          <a:prstGeom prst="rect">
            <a:avLst/>
          </a:prstGeom>
        </p:spPr>
        <p:txBody>
          <a:bodyPr/>
          <a:lstStyle>
            <a:lvl1pPr marL="0" indent="0">
              <a:buNone/>
              <a:defRPr sz="1500">
                <a:solidFill>
                  <a:schemeClr val="tx2"/>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Wordmark here</a:t>
            </a:r>
          </a:p>
        </p:txBody>
      </p:sp>
      <p:sp>
        <p:nvSpPr>
          <p:cNvPr id="17" name="Text Placeholder 11"/>
          <p:cNvSpPr>
            <a:spLocks noGrp="1"/>
          </p:cNvSpPr>
          <p:nvPr>
            <p:ph type="body" sz="quarter" idx="14" hasCustomPrompt="1"/>
          </p:nvPr>
        </p:nvSpPr>
        <p:spPr>
          <a:xfrm>
            <a:off x="300040" y="624933"/>
            <a:ext cx="6738218" cy="1156530"/>
          </a:xfrm>
          <a:prstGeom prst="rect">
            <a:avLst/>
          </a:prstGeom>
        </p:spPr>
        <p:txBody>
          <a:bodyPr vert="horz"/>
          <a:lstStyle>
            <a:lvl1pPr marL="0" indent="0">
              <a:lnSpc>
                <a:spcPct val="90000"/>
              </a:lnSpc>
              <a:buNone/>
              <a:defRPr sz="27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3589496883"/>
      </p:ext>
    </p:extLst>
  </p:cSld>
  <p:clrMapOvr>
    <a:masterClrMapping/>
  </p:clrMapOvr>
  <p:hf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pic>
        <p:nvPicPr>
          <p:cNvPr id="10" name="Picture 9" descr="placeholder-horizontal.png"/>
          <p:cNvPicPr>
            <a:picLocks noChangeAspect="1"/>
          </p:cNvPicPr>
          <p:nvPr/>
        </p:nvPicPr>
        <p:blipFill>
          <a:blip r:embed="rId2" cstate="print"/>
          <a:stretch>
            <a:fillRect/>
          </a:stretch>
        </p:blipFill>
        <p:spPr>
          <a:xfrm>
            <a:off x="-608" y="1828387"/>
            <a:ext cx="9144000" cy="4044432"/>
          </a:xfrm>
          <a:prstGeom prst="rect">
            <a:avLst/>
          </a:prstGeom>
        </p:spPr>
      </p:pic>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5"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825">
                <a:solidFill>
                  <a:srgbClr val="53565A"/>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7" name="Title 1"/>
          <p:cNvSpPr>
            <a:spLocks noGrp="1"/>
          </p:cNvSpPr>
          <p:nvPr>
            <p:ph type="title" hasCustomPrompt="1"/>
          </p:nvPr>
        </p:nvSpPr>
        <p:spPr>
          <a:xfrm>
            <a:off x="447201" y="949001"/>
            <a:ext cx="6874246" cy="761124"/>
          </a:xfrm>
        </p:spPr>
        <p:txBody>
          <a:bodyPr/>
          <a:lstStyle>
            <a:lvl1pPr>
              <a:defRPr sz="1200">
                <a:solidFill>
                  <a:srgbClr val="53565A"/>
                </a:solidFill>
              </a:defRPr>
            </a:lvl1pPr>
          </a:lstStyle>
          <a:p>
            <a:r>
              <a:rPr lang="en-US" dirty="0"/>
              <a:t>Subtitle of slide and or description of presentation</a:t>
            </a:r>
            <a:br>
              <a:rPr lang="en-US" dirty="0"/>
            </a:br>
            <a:r>
              <a:rPr lang="en-US" dirty="0"/>
              <a:t>Second line if Necessary</a:t>
            </a:r>
          </a:p>
        </p:txBody>
      </p:sp>
      <p:sp>
        <p:nvSpPr>
          <p:cNvPr id="18" name="Picture Placeholder 2"/>
          <p:cNvSpPr>
            <a:spLocks noGrp="1"/>
          </p:cNvSpPr>
          <p:nvPr>
            <p:ph type="pic" idx="1" hasCustomPrompt="1"/>
          </p:nvPr>
        </p:nvSpPr>
        <p:spPr>
          <a:xfrm>
            <a:off x="443403" y="374494"/>
            <a:ext cx="6878044" cy="783831"/>
          </a:xfrm>
          <a:prstGeom prst="rect">
            <a:avLst/>
          </a:prstGeom>
        </p:spPr>
        <p:txBody>
          <a:bodyPr/>
          <a:lstStyle>
            <a:lvl1pPr marL="0" indent="0">
              <a:buNone/>
              <a:defRPr sz="2700">
                <a:solidFill>
                  <a:srgbClr val="FF8200"/>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Wordmark here</a:t>
            </a:r>
          </a:p>
        </p:txBody>
      </p:sp>
    </p:spTree>
    <p:extLst>
      <p:ext uri="{BB962C8B-B14F-4D97-AF65-F5344CB8AC3E}">
        <p14:creationId xmlns:p14="http://schemas.microsoft.com/office/powerpoint/2010/main" val="2253287040"/>
      </p:ext>
    </p:extLst>
  </p:cSld>
  <p:clrMapOvr>
    <a:masterClrMapping/>
  </p:clrMapOvr>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pic>
        <p:nvPicPr>
          <p:cNvPr id="5" name="Picture 4" descr="placeholder-vector.png"/>
          <p:cNvPicPr>
            <a:picLocks noChangeAspect="1"/>
          </p:cNvPicPr>
          <p:nvPr/>
        </p:nvPicPr>
        <p:blipFill>
          <a:blip r:embed="rId3" cstate="print"/>
          <a:stretch>
            <a:fillRect/>
          </a:stretch>
        </p:blipFill>
        <p:spPr>
          <a:xfrm>
            <a:off x="0" y="0"/>
            <a:ext cx="4572000" cy="6858000"/>
          </a:xfrm>
          <a:prstGeom prst="rect">
            <a:avLst/>
          </a:prstGeom>
        </p:spPr>
      </p:pic>
      <p:sp>
        <p:nvSpPr>
          <p:cNvPr id="7" name="Title 3"/>
          <p:cNvSpPr>
            <a:spLocks noGrp="1"/>
          </p:cNvSpPr>
          <p:nvPr>
            <p:ph type="title" hasCustomPrompt="1"/>
          </p:nvPr>
        </p:nvSpPr>
        <p:spPr>
          <a:xfrm>
            <a:off x="4917836" y="2740932"/>
            <a:ext cx="3732113" cy="2429904"/>
          </a:xfrm>
          <a:prstGeom prst="rect">
            <a:avLst/>
          </a:prstGeom>
        </p:spPr>
        <p:txBody>
          <a:bodyPr vert="horz" anchor="t"/>
          <a:lstStyle>
            <a:lvl1pPr algn="l">
              <a:lnSpc>
                <a:spcPct val="100000"/>
              </a:lnSpc>
              <a:defRPr sz="2700">
                <a:solidFill>
                  <a:srgbClr val="FF8200"/>
                </a:solidFill>
              </a:defRPr>
            </a:lvl1pPr>
          </a:lstStyle>
          <a:p>
            <a:r>
              <a:rPr lang="en-US" dirty="0"/>
              <a:t>Section Title And Multiple Lines If Necessary</a:t>
            </a:r>
          </a:p>
        </p:txBody>
      </p:sp>
    </p:spTree>
    <p:extLst>
      <p:ext uri="{BB962C8B-B14F-4D97-AF65-F5344CB8AC3E}">
        <p14:creationId xmlns:p14="http://schemas.microsoft.com/office/powerpoint/2010/main" val="1551236971"/>
      </p:ext>
    </p:extLst>
  </p:cSld>
  <p:clrMapOvr>
    <a:masterClrMapping/>
  </p:clrMapOvr>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3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1" name="Text Placeholder 10"/>
          <p:cNvSpPr>
            <a:spLocks noGrp="1"/>
          </p:cNvSpPr>
          <p:nvPr>
            <p:ph type="body" sz="quarter" idx="12"/>
          </p:nvPr>
        </p:nvSpPr>
        <p:spPr>
          <a:xfrm>
            <a:off x="5068889" y="3494882"/>
            <a:ext cx="3724275" cy="1718018"/>
          </a:xfrm>
          <a:prstGeom prst="rect">
            <a:avLst/>
          </a:prstGeom>
        </p:spPr>
        <p:txBody>
          <a:bodyPr vert="horz"/>
          <a:lstStyle>
            <a:lvl1pPr>
              <a:buNone/>
              <a:defRPr sz="1200">
                <a:solidFill>
                  <a:srgbClr val="53565A"/>
                </a:solidFill>
              </a:defRPr>
            </a:lvl1pPr>
            <a:lvl2pPr>
              <a:buNone/>
              <a:defRPr sz="1200"/>
            </a:lvl2pPr>
            <a:lvl3pPr>
              <a:buNone/>
              <a:defRPr sz="1200"/>
            </a:lvl3pPr>
            <a:lvl4pPr>
              <a:buNone/>
              <a:defRPr sz="1200"/>
            </a:lvl4pPr>
            <a:lvl5pPr>
              <a:buNone/>
              <a:defRPr sz="1200"/>
            </a:lvl5pPr>
          </a:lstStyle>
          <a:p>
            <a:pPr lvl="0"/>
            <a:r>
              <a:rPr lang="en-US"/>
              <a:t>Click to edit Master text styles</a:t>
            </a:r>
          </a:p>
        </p:txBody>
      </p:sp>
      <p:sp>
        <p:nvSpPr>
          <p:cNvPr id="13" name="Text Placeholder 12"/>
          <p:cNvSpPr>
            <a:spLocks noGrp="1"/>
          </p:cNvSpPr>
          <p:nvPr>
            <p:ph type="body" sz="quarter" idx="13" hasCustomPrompt="1"/>
          </p:nvPr>
        </p:nvSpPr>
        <p:spPr>
          <a:xfrm>
            <a:off x="5068128" y="2747964"/>
            <a:ext cx="3700462" cy="638704"/>
          </a:xfrm>
          <a:prstGeom prst="rect">
            <a:avLst/>
          </a:prstGeom>
        </p:spPr>
        <p:txBody>
          <a:bodyPr vert="horz"/>
          <a:lstStyle>
            <a:lvl1pPr>
              <a:buNone/>
              <a:defRPr sz="2700">
                <a:solidFill>
                  <a:srgbClr val="FF8200"/>
                </a:solidFill>
              </a:defRPr>
            </a:lvl1pPr>
            <a:lvl2pPr>
              <a:buNone/>
              <a:defRPr sz="2700"/>
            </a:lvl2pPr>
            <a:lvl3pPr>
              <a:buNone/>
              <a:defRPr sz="2700"/>
            </a:lvl3pPr>
            <a:lvl4pPr>
              <a:buNone/>
              <a:defRPr sz="2700"/>
            </a:lvl4pPr>
            <a:lvl5pPr>
              <a:buNone/>
              <a:defRPr sz="2700"/>
            </a:lvl5pPr>
          </a:lstStyle>
          <a:p>
            <a:pPr lvl="0"/>
            <a:r>
              <a:rPr lang="en-US" dirty="0"/>
              <a:t>Appendix</a:t>
            </a:r>
          </a:p>
        </p:txBody>
      </p:sp>
      <p:pic>
        <p:nvPicPr>
          <p:cNvPr id="9" name="Picture 8"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611038635"/>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8" name="Picture 7"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9" name="Rectangle 8"/>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sp>
        <p:nvSpPr>
          <p:cNvPr id="3"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0" name="Picture 9"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14" name="Rectangle 13"/>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pic>
        <p:nvPicPr>
          <p:cNvPr id="15" name="Picture 14"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3801381556"/>
      </p:ext>
    </p:extLst>
  </p:cSld>
  <p:clrMapOvr>
    <a:masterClrMapping/>
  </p:clrMapOvr>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1_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0" y="705206"/>
            <a:ext cx="8238319" cy="418645"/>
          </a:xfrm>
        </p:spPr>
        <p:txBody>
          <a:bodyPr/>
          <a:lstStyle/>
          <a:p>
            <a:r>
              <a:rPr lang="en-US"/>
              <a:t>Click to edit Master title style</a:t>
            </a:r>
            <a:endParaRPr lang="en-US" dirty="0"/>
          </a:p>
        </p:txBody>
      </p:sp>
      <p:sp>
        <p:nvSpPr>
          <p:cNvPr id="4" name="Text Placeholder 22"/>
          <p:cNvSpPr>
            <a:spLocks noGrp="1"/>
          </p:cNvSpPr>
          <p:nvPr>
            <p:ph type="body" sz="quarter" idx="16"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3390394715"/>
      </p:ext>
    </p:extLst>
  </p:cSld>
  <p:clrMapOvr>
    <a:masterClrMapping/>
  </p:clrMapOvr>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2"/>
          <p:cNvSpPr>
            <a:spLocks noGrp="1"/>
          </p:cNvSpPr>
          <p:nvPr>
            <p:ph type="body" sz="quarter" idx="16"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800219818"/>
      </p:ext>
    </p:extLst>
  </p:cSld>
  <p:clrMapOvr>
    <a:masterClrMapping/>
  </p:clrMapOvr>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2" name="Picture Placeholder 2"/>
          <p:cNvSpPr>
            <a:spLocks noGrp="1"/>
          </p:cNvSpPr>
          <p:nvPr>
            <p:ph type="pic" idx="1" hasCustomPrompt="1"/>
          </p:nvPr>
        </p:nvSpPr>
        <p:spPr>
          <a:xfrm>
            <a:off x="457198" y="1500111"/>
            <a:ext cx="8238320" cy="3878033"/>
          </a:xfrm>
          <a:prstGeom prst="rect">
            <a:avLst/>
          </a:prstGeom>
        </p:spPr>
        <p:txBody>
          <a:bodyPr>
            <a:normAutofit/>
          </a:bodyPr>
          <a:lstStyle>
            <a:lvl1pPr marL="0" indent="0" algn="ctr">
              <a:buNone/>
              <a:defRPr sz="18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icture here</a:t>
            </a:r>
          </a:p>
        </p:txBody>
      </p:sp>
      <p:sp>
        <p:nvSpPr>
          <p:cNvPr id="8"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9" name="Content Placeholder 5"/>
          <p:cNvSpPr>
            <a:spLocks noGrp="1"/>
          </p:cNvSpPr>
          <p:nvPr>
            <p:ph sz="quarter" idx="4"/>
          </p:nvPr>
        </p:nvSpPr>
        <p:spPr>
          <a:xfrm>
            <a:off x="457198" y="5683664"/>
            <a:ext cx="8238320" cy="714593"/>
          </a:xfrm>
          <a:prstGeom prst="rect">
            <a:avLst/>
          </a:prstGeom>
        </p:spPr>
        <p:txBody>
          <a:bodyPr/>
          <a:lstStyle>
            <a:lvl1pPr>
              <a:buNone/>
              <a:defRPr sz="1200">
                <a:solidFill>
                  <a:srgbClr val="53565A"/>
                </a:solidFill>
              </a:defRPr>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p:txBody>
      </p:sp>
      <p:sp>
        <p:nvSpPr>
          <p:cNvPr id="11" name="Text Placeholder 22"/>
          <p:cNvSpPr>
            <a:spLocks noGrp="1"/>
          </p:cNvSpPr>
          <p:nvPr>
            <p:ph type="body" sz="quarter" idx="16"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4160688047"/>
      </p:ext>
    </p:extLst>
  </p:cSld>
  <p:clrMapOvr>
    <a:masterClrMapping/>
  </p:clrMapOvr>
  <p:hf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4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1"/>
                </a:solidFill>
              </a:defRPr>
            </a:lvl1pPr>
          </a:lstStyle>
          <a:p>
            <a:r>
              <a:rPr lang="en-US" sz="1350" dirty="0"/>
              <a:t>Subtitle of Slide</a:t>
            </a:r>
          </a:p>
        </p:txBody>
      </p:sp>
      <p:sp>
        <p:nvSpPr>
          <p:cNvPr id="9" name="Text Placeholder 8"/>
          <p:cNvSpPr>
            <a:spLocks noGrp="1"/>
          </p:cNvSpPr>
          <p:nvPr>
            <p:ph type="body" sz="quarter" idx="11" hasCustomPrompt="1"/>
          </p:nvPr>
        </p:nvSpPr>
        <p:spPr>
          <a:xfrm>
            <a:off x="457198" y="5794656"/>
            <a:ext cx="8238320" cy="370435"/>
          </a:xfrm>
        </p:spPr>
        <p:txBody>
          <a:bodyPr>
            <a:normAutofit/>
          </a:bodyPr>
          <a:lstStyle>
            <a:lvl1pPr marL="0" indent="0">
              <a:buNone/>
              <a:defRPr sz="975">
                <a:solidFill>
                  <a:srgbClr val="A7A8AA"/>
                </a:solidFill>
              </a:defRPr>
            </a:lvl1pPr>
            <a:lvl2pPr marL="342900" indent="0">
              <a:buNone/>
              <a:defRPr sz="12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975">
                <a:solidFill>
                  <a:srgbClr val="A7A8AA"/>
                </a:solidFill>
              </a:defRPr>
            </a:lvl1pPr>
          </a:lstStyle>
          <a:p>
            <a:pPr lvl="0"/>
            <a:r>
              <a:rPr lang="en-US" dirty="0"/>
              <a:t>Click to edit text</a:t>
            </a:r>
          </a:p>
        </p:txBody>
      </p:sp>
      <p:sp>
        <p:nvSpPr>
          <p:cNvPr id="11" name="Content Placeholder 1"/>
          <p:cNvSpPr>
            <a:spLocks noGrp="1"/>
          </p:cNvSpPr>
          <p:nvPr>
            <p:ph idx="13"/>
          </p:nvPr>
        </p:nvSpPr>
        <p:spPr>
          <a:xfrm>
            <a:off x="457198" y="1943072"/>
            <a:ext cx="8238320"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22"/>
          <p:cNvSpPr>
            <a:spLocks noGrp="1"/>
          </p:cNvSpPr>
          <p:nvPr>
            <p:ph type="body" sz="quarter" idx="16"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1193481995"/>
      </p:ext>
    </p:extLst>
  </p:cSld>
  <p:clrMapOvr>
    <a:masterClrMapping/>
  </p:clrMapOvr>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Content Placeholder 1"/>
          <p:cNvSpPr>
            <a:spLocks noGrp="1"/>
          </p:cNvSpPr>
          <p:nvPr>
            <p:ph idx="10"/>
          </p:nvPr>
        </p:nvSpPr>
        <p:spPr>
          <a:xfrm>
            <a:off x="457198" y="1500110"/>
            <a:ext cx="823832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22"/>
          <p:cNvSpPr>
            <a:spLocks noGrp="1"/>
          </p:cNvSpPr>
          <p:nvPr>
            <p:ph type="body" sz="quarter" idx="16" hasCustomPrompt="1"/>
          </p:nvPr>
        </p:nvSpPr>
        <p:spPr>
          <a:xfrm>
            <a:off x="198600" y="6511448"/>
            <a:ext cx="6672263" cy="227013"/>
          </a:xfrm>
        </p:spPr>
        <p:txBody>
          <a:bodyPr>
            <a:noAutofit/>
          </a:bodyPr>
          <a:lstStyle>
            <a:lvl1pPr>
              <a:buNone/>
              <a:defRPr sz="675"/>
            </a:lvl1pPr>
            <a:lvl2pPr>
              <a:buNone/>
              <a:defRPr sz="825"/>
            </a:lvl2pPr>
            <a:lvl3pPr>
              <a:buNone/>
              <a:defRPr sz="825"/>
            </a:lvl3pPr>
            <a:lvl4pPr>
              <a:buNone/>
              <a:defRPr sz="825"/>
            </a:lvl4pPr>
            <a:lvl5pPr>
              <a:buNone/>
              <a:defRPr sz="825"/>
            </a:lvl5pPr>
          </a:lstStyle>
          <a:p>
            <a:pPr lvl="0"/>
            <a:r>
              <a:rPr lang="en-US" dirty="0"/>
              <a:t>Sources &amp; Notes:</a:t>
            </a:r>
          </a:p>
        </p:txBody>
      </p:sp>
    </p:spTree>
    <p:extLst>
      <p:ext uri="{BB962C8B-B14F-4D97-AF65-F5344CB8AC3E}">
        <p14:creationId xmlns:p14="http://schemas.microsoft.com/office/powerpoint/2010/main" val="2292761719"/>
      </p:ext>
    </p:extLst>
  </p:cSld>
  <p:clrMapOvr>
    <a:masterClrMapping/>
  </p:clrMapOvr>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4754822" cy="6886211"/>
          </a:xfrm>
          <a:prstGeom prst="rect">
            <a:avLst/>
          </a:prstGeom>
        </p:spPr>
      </p:pic>
      <p:pic>
        <p:nvPicPr>
          <p:cNvPr id="6" name="Picture 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5" name="Title 3"/>
          <p:cNvSpPr>
            <a:spLocks noGrp="1"/>
          </p:cNvSpPr>
          <p:nvPr>
            <p:ph type="title" hasCustomPrompt="1"/>
          </p:nvPr>
        </p:nvSpPr>
        <p:spPr>
          <a:xfrm>
            <a:off x="4917836" y="2740932"/>
            <a:ext cx="3732113" cy="2429904"/>
          </a:xfrm>
          <a:prstGeom prst="rect">
            <a:avLst/>
          </a:prstGeom>
        </p:spPr>
        <p:txBody>
          <a:bodyPr vert="horz" anchor="t"/>
          <a:lstStyle>
            <a:lvl1pPr algn="l">
              <a:lnSpc>
                <a:spcPct val="100000"/>
              </a:lnSpc>
              <a:defRPr sz="2700">
                <a:solidFill>
                  <a:srgbClr val="FF8200"/>
                </a:solidFill>
              </a:defRPr>
            </a:lvl1pPr>
          </a:lstStyle>
          <a:p>
            <a:r>
              <a:rPr lang="en-US" dirty="0"/>
              <a:t>Section Title And Multiple Lines If Necessary</a:t>
            </a:r>
          </a:p>
        </p:txBody>
      </p:sp>
    </p:spTree>
    <p:extLst>
      <p:ext uri="{BB962C8B-B14F-4D97-AF65-F5344CB8AC3E}">
        <p14:creationId xmlns:p14="http://schemas.microsoft.com/office/powerpoint/2010/main" val="3190207936"/>
      </p:ext>
    </p:extLst>
  </p:cSld>
  <p:clrMapOvr>
    <a:masterClrMapping/>
  </p:clrMapOvr>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5_Section Header">
    <p:spTree>
      <p:nvGrpSpPr>
        <p:cNvPr id="1" name=""/>
        <p:cNvGrpSpPr/>
        <p:nvPr/>
      </p:nvGrpSpPr>
      <p:grpSpPr>
        <a:xfrm>
          <a:off x="0" y="0"/>
          <a:ext cx="0" cy="0"/>
          <a:chOff x="0" y="0"/>
          <a:chExt cx="0" cy="0"/>
        </a:xfrm>
      </p:grpSpPr>
      <p:pic>
        <p:nvPicPr>
          <p:cNvPr id="8" name="Picture 7" descr="Illust_Appendix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4685018" cy="6858000"/>
          </a:xfrm>
          <a:prstGeom prst="rect">
            <a:avLst/>
          </a:prstGeom>
        </p:spPr>
      </p:pic>
      <p:pic>
        <p:nvPicPr>
          <p:cNvPr id="5" name="Picture 4"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1" name="Text Placeholder 10"/>
          <p:cNvSpPr>
            <a:spLocks noGrp="1"/>
          </p:cNvSpPr>
          <p:nvPr>
            <p:ph type="body" sz="quarter" idx="12"/>
          </p:nvPr>
        </p:nvSpPr>
        <p:spPr>
          <a:xfrm>
            <a:off x="5068889" y="3494882"/>
            <a:ext cx="3724275" cy="1718018"/>
          </a:xfrm>
          <a:prstGeom prst="rect">
            <a:avLst/>
          </a:prstGeom>
        </p:spPr>
        <p:txBody>
          <a:bodyPr vert="horz"/>
          <a:lstStyle>
            <a:lvl1pPr>
              <a:buNone/>
              <a:defRPr sz="1200">
                <a:solidFill>
                  <a:srgbClr val="53565A"/>
                </a:solidFill>
              </a:defRPr>
            </a:lvl1pPr>
            <a:lvl2pPr>
              <a:buNone/>
              <a:defRPr sz="1200"/>
            </a:lvl2pPr>
            <a:lvl3pPr>
              <a:buNone/>
              <a:defRPr sz="1200"/>
            </a:lvl3pPr>
            <a:lvl4pPr>
              <a:buNone/>
              <a:defRPr sz="1200"/>
            </a:lvl4pPr>
            <a:lvl5pPr>
              <a:buNone/>
              <a:defRPr sz="1200"/>
            </a:lvl5pPr>
          </a:lstStyle>
          <a:p>
            <a:pPr lvl="0"/>
            <a:r>
              <a:rPr lang="en-US"/>
              <a:t>Click to edit Master text styles</a:t>
            </a:r>
          </a:p>
        </p:txBody>
      </p:sp>
      <p:sp>
        <p:nvSpPr>
          <p:cNvPr id="13" name="Text Placeholder 12"/>
          <p:cNvSpPr>
            <a:spLocks noGrp="1"/>
          </p:cNvSpPr>
          <p:nvPr>
            <p:ph type="body" sz="quarter" idx="13" hasCustomPrompt="1"/>
          </p:nvPr>
        </p:nvSpPr>
        <p:spPr>
          <a:xfrm>
            <a:off x="5068128" y="2747964"/>
            <a:ext cx="3700462" cy="638704"/>
          </a:xfrm>
          <a:prstGeom prst="rect">
            <a:avLst/>
          </a:prstGeom>
        </p:spPr>
        <p:txBody>
          <a:bodyPr vert="horz"/>
          <a:lstStyle>
            <a:lvl1pPr>
              <a:buNone/>
              <a:defRPr sz="2700">
                <a:solidFill>
                  <a:srgbClr val="FF8200"/>
                </a:solidFill>
              </a:defRPr>
            </a:lvl1pPr>
            <a:lvl2pPr>
              <a:buNone/>
              <a:defRPr sz="2700"/>
            </a:lvl2pPr>
            <a:lvl3pPr>
              <a:buNone/>
              <a:defRPr sz="2700"/>
            </a:lvl3pPr>
            <a:lvl4pPr>
              <a:buNone/>
              <a:defRPr sz="2700"/>
            </a:lvl4pPr>
            <a:lvl5pPr>
              <a:buNone/>
              <a:defRPr sz="2700"/>
            </a:lvl5pPr>
          </a:lstStyle>
          <a:p>
            <a:pPr lvl="0"/>
            <a:r>
              <a:rPr lang="en-US" dirty="0"/>
              <a:t>Appendix</a:t>
            </a:r>
          </a:p>
        </p:txBody>
      </p:sp>
    </p:spTree>
    <p:extLst>
      <p:ext uri="{BB962C8B-B14F-4D97-AF65-F5344CB8AC3E}">
        <p14:creationId xmlns:p14="http://schemas.microsoft.com/office/powerpoint/2010/main" val="3019899359"/>
      </p:ext>
    </p:extLst>
  </p:cSld>
  <p:clrMapOvr>
    <a:masterClrMapping/>
  </p:clrMapOvr>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968470"/>
          </a:xfrm>
          <a:prstGeom prst="rect">
            <a:avLst/>
          </a:prstGeom>
        </p:spPr>
        <p:txBody>
          <a:bodyPr/>
          <a:lstStyle>
            <a:lvl1pPr>
              <a:defRPr sz="1500">
                <a:solidFill>
                  <a:srgbClr val="53565A"/>
                </a:solidFill>
                <a:latin typeface="Arial"/>
                <a:cs typeface="Arial"/>
              </a:defRPr>
            </a:lvl1pPr>
            <a:lvl2pPr>
              <a:defRPr sz="1350">
                <a:solidFill>
                  <a:srgbClr val="53565A"/>
                </a:solidFill>
                <a:latin typeface="Arial"/>
                <a:cs typeface="Arial"/>
              </a:defRPr>
            </a:lvl2pPr>
            <a:lvl3pPr>
              <a:defRPr sz="1200">
                <a:solidFill>
                  <a:srgbClr val="53565A"/>
                </a:solidFill>
                <a:latin typeface="Arial"/>
                <a:cs typeface="Arial"/>
              </a:defRPr>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1" y="705208"/>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72514481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A8350041-0B87-4CCB-B82E-A5740C54C21B}"/>
              </a:ext>
            </a:extLst>
          </p:cNvPr>
          <p:cNvSpPr>
            <a:spLocks noGrp="1"/>
          </p:cNvSpPr>
          <p:nvPr>
            <p:ph type="dt" sz="half" idx="10"/>
          </p:nvPr>
        </p:nvSpPr>
        <p:spPr/>
        <p:txBody>
          <a:bodyPr/>
          <a:lstStyle/>
          <a:p>
            <a:pPr fontAlgn="base">
              <a:spcBef>
                <a:spcPct val="0"/>
              </a:spcBef>
              <a:spcAft>
                <a:spcPct val="0"/>
              </a:spcAft>
            </a:pPr>
            <a:fld id="{BC9020E1-6174-4B56-ABAE-9E0816058D48}" type="datetimeFigureOut">
              <a:rPr lang="en-US" smtClean="0">
                <a:latin typeface="Arial Narrow" pitchFamily="34" charset="0"/>
              </a:rPr>
              <a:pPr fontAlgn="base">
                <a:spcBef>
                  <a:spcPct val="0"/>
                </a:spcBef>
                <a:spcAft>
                  <a:spcPct val="0"/>
                </a:spcAft>
              </a:pPr>
              <a:t>6/21/2018</a:t>
            </a:fld>
            <a:endParaRPr lang="en-US" dirty="0">
              <a:latin typeface="Arial Narrow" pitchFamily="34" charset="0"/>
            </a:endParaRPr>
          </a:p>
        </p:txBody>
      </p:sp>
      <p:sp>
        <p:nvSpPr>
          <p:cNvPr id="3" name="Marcador de pie de página 2">
            <a:extLst>
              <a:ext uri="{FF2B5EF4-FFF2-40B4-BE49-F238E27FC236}">
                <a16:creationId xmlns:a16="http://schemas.microsoft.com/office/drawing/2014/main" id="{3634CF93-5A72-4598-A940-58E6DE442E9C}"/>
              </a:ext>
            </a:extLst>
          </p:cNvPr>
          <p:cNvSpPr>
            <a:spLocks noGrp="1"/>
          </p:cNvSpPr>
          <p:nvPr>
            <p:ph type="ftr" sz="quarter" idx="11"/>
          </p:nvPr>
        </p:nvSpPr>
        <p:spPr/>
        <p:txBody>
          <a:bodyPr/>
          <a:lstStyle/>
          <a:p>
            <a:pPr fontAlgn="base">
              <a:spcBef>
                <a:spcPct val="0"/>
              </a:spcBef>
              <a:spcAft>
                <a:spcPct val="0"/>
              </a:spcAft>
            </a:pPr>
            <a:endParaRPr lang="en-US" dirty="0">
              <a:latin typeface="Arial Narrow" pitchFamily="34" charset="0"/>
            </a:endParaRPr>
          </a:p>
        </p:txBody>
      </p:sp>
      <p:sp>
        <p:nvSpPr>
          <p:cNvPr id="4" name="Marcador de número de diapositiva 3">
            <a:extLst>
              <a:ext uri="{FF2B5EF4-FFF2-40B4-BE49-F238E27FC236}">
                <a16:creationId xmlns:a16="http://schemas.microsoft.com/office/drawing/2014/main" id="{5828D5DD-5CD0-4589-BF11-4A0A7BCB340F}"/>
              </a:ext>
            </a:extLst>
          </p:cNvPr>
          <p:cNvSpPr>
            <a:spLocks noGrp="1"/>
          </p:cNvSpPr>
          <p:nvPr>
            <p:ph type="sldNum" sz="quarter" idx="12"/>
          </p:nvPr>
        </p:nvSpPr>
        <p:spPr/>
        <p:txBody>
          <a:bodyPr/>
          <a:lstStyle/>
          <a:p>
            <a:pPr fontAlgn="base">
              <a:spcBef>
                <a:spcPct val="0"/>
              </a:spcBef>
              <a:spcAft>
                <a:spcPct val="0"/>
              </a:spcAft>
              <a:defRPr/>
            </a:pPr>
            <a:fld id="{6003EAAF-5BD9-4464-8A92-94FE6A92D101}" type="slidenum">
              <a:rPr lang="en-US" b="1" smtClean="0">
                <a:latin typeface="Arial Narrow" pitchFamily="34" charset="0"/>
              </a:rPr>
              <a:pPr fontAlgn="base">
                <a:spcBef>
                  <a:spcPct val="0"/>
                </a:spcBef>
                <a:spcAft>
                  <a:spcPct val="0"/>
                </a:spcAft>
                <a:defRPr/>
              </a:pPr>
              <a:t>‹#›</a:t>
            </a:fld>
            <a:endParaRPr lang="en-US" b="1" dirty="0">
              <a:latin typeface="Arial Narrow" pitchFamily="34" charset="0"/>
            </a:endParaRPr>
          </a:p>
        </p:txBody>
      </p:sp>
    </p:spTree>
    <p:extLst>
      <p:ext uri="{BB962C8B-B14F-4D97-AF65-F5344CB8AC3E}">
        <p14:creationId xmlns:p14="http://schemas.microsoft.com/office/powerpoint/2010/main" val="272848393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963717" y="217488"/>
            <a:ext cx="4049315" cy="6640512"/>
          </a:xfrm>
        </p:spPr>
        <p:txBody>
          <a:bodyPr/>
          <a:lstStyle/>
          <a:p>
            <a:endParaRPr lang="en-US"/>
          </a:p>
        </p:txBody>
      </p:sp>
    </p:spTree>
    <p:extLst>
      <p:ext uri="{BB962C8B-B14F-4D97-AF65-F5344CB8AC3E}">
        <p14:creationId xmlns:p14="http://schemas.microsoft.com/office/powerpoint/2010/main" val="165981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10" name="Picture 9"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11" name="Rectangle 10"/>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pic>
        <p:nvPicPr>
          <p:cNvPr id="16" name="Picture 1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2" name="Picture 11"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19" name="Rectangle 18"/>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pic>
        <p:nvPicPr>
          <p:cNvPr id="20" name="Picture 19"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21" name="Title 1"/>
          <p:cNvSpPr txBox="1">
            <a:spLocks/>
          </p:cNvSpPr>
          <p:nvPr/>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dirty="0"/>
          </a:p>
        </p:txBody>
      </p:sp>
    </p:spTree>
    <p:extLst>
      <p:ext uri="{BB962C8B-B14F-4D97-AF65-F5344CB8AC3E}">
        <p14:creationId xmlns:p14="http://schemas.microsoft.com/office/powerpoint/2010/main" val="875550030"/>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userDrawn="1">
  <p:cSld name="12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5688582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x">
  <p:cSld name="2_Title &amp; Subtitle copy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8262101"/>
      </p:ext>
    </p:extLst>
  </p:cSld>
  <p:clrMapOvr>
    <a:masterClrMapping/>
  </p:clrMapOvr>
  <p:transition spd="slow" advClick="0">
    <p:push dir="u"/>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78541809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59055853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chemeClr val="tx2"/>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chemeClr val="tx2"/>
                </a:solidFill>
              </a:defRPr>
            </a:lvl1pPr>
          </a:lstStyle>
          <a:p>
            <a:pPr lvl="0"/>
            <a:r>
              <a:rPr lang="en-US" dirty="0"/>
              <a:t>Click to edit text</a:t>
            </a:r>
          </a:p>
        </p:txBody>
      </p:sp>
    </p:spTree>
    <p:extLst>
      <p:ext uri="{BB962C8B-B14F-4D97-AF65-F5344CB8AC3E}">
        <p14:creationId xmlns:p14="http://schemas.microsoft.com/office/powerpoint/2010/main" val="372120168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7979191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8484300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11" name="Picture 10" descr="SpeedAlign_Cover_1.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256745" y="242634"/>
            <a:ext cx="7425926" cy="942147"/>
          </a:xfrm>
          <a:prstGeom prst="rect">
            <a:avLst/>
          </a:prstGeom>
        </p:spPr>
        <p:txBody>
          <a:bodyPr/>
          <a:lstStyle>
            <a:lvl1pPr algn="l">
              <a:lnSpc>
                <a:spcPct val="85000"/>
              </a:lnSpc>
              <a:defRPr sz="3600" baseline="0">
                <a:solidFill>
                  <a:srgbClr val="FF8200"/>
                </a:solidFill>
              </a:defRPr>
            </a:lvl1pPr>
          </a:lstStyle>
          <a:p>
            <a:r>
              <a:rPr lang="en-US" dirty="0"/>
              <a:t>Cover Slide Title</a:t>
            </a:r>
            <a:br>
              <a:rPr lang="en-US" dirty="0"/>
            </a:br>
            <a:r>
              <a:rPr lang="en-US" dirty="0"/>
              <a:t>Second Line If Necessary</a:t>
            </a:r>
          </a:p>
        </p:txBody>
      </p:sp>
      <p:sp>
        <p:nvSpPr>
          <p:cNvPr id="3" name="Subtitle 2"/>
          <p:cNvSpPr>
            <a:spLocks noGrp="1"/>
          </p:cNvSpPr>
          <p:nvPr>
            <p:ph type="subTitle" idx="1" hasCustomPrompt="1"/>
          </p:nvPr>
        </p:nvSpPr>
        <p:spPr>
          <a:xfrm>
            <a:off x="256745" y="1185345"/>
            <a:ext cx="7425926" cy="390948"/>
          </a:xfrm>
          <a:prstGeom prst="rect">
            <a:avLst/>
          </a:prstGeom>
        </p:spPr>
        <p:txBody>
          <a:bodyPr/>
          <a:lstStyle>
            <a:lvl1pPr marL="0" indent="0" algn="l">
              <a:buNone/>
              <a:defRPr sz="160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sp>
        <p:nvSpPr>
          <p:cNvPr id="9" name="Text Placeholder 6"/>
          <p:cNvSpPr>
            <a:spLocks noGrp="1"/>
          </p:cNvSpPr>
          <p:nvPr>
            <p:ph type="body" sz="quarter" idx="10" hasCustomPrompt="1"/>
          </p:nvPr>
        </p:nvSpPr>
        <p:spPr>
          <a:xfrm>
            <a:off x="247738" y="5917657"/>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r>
              <a:rPr lang="en-US" dirty="0"/>
              <a:t>  |  Date XX_XX_XX</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209082105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Picture 6" descr="SpeedAlign_Section_1.png"/>
          <p:cNvPicPr>
            <a:picLocks noChangeAspect="1"/>
          </p:cNvPicPr>
          <p:nvPr userDrawn="1"/>
        </p:nvPicPr>
        <p:blipFill>
          <a:blip r:embed="rId2"/>
          <a:stretch>
            <a:fillRect/>
          </a:stretch>
        </p:blipFill>
        <p:spPr>
          <a:xfrm>
            <a:off x="0" y="0"/>
            <a:ext cx="9144000" cy="6858000"/>
          </a:xfrm>
          <a:prstGeom prst="rect">
            <a:avLst/>
          </a:prstGeom>
        </p:spPr>
      </p:pic>
      <p:sp>
        <p:nvSpPr>
          <p:cNvPr id="10" name="Text Placeholder 10"/>
          <p:cNvSpPr>
            <a:spLocks noGrp="1"/>
          </p:cNvSpPr>
          <p:nvPr>
            <p:ph type="body" sz="quarter" idx="12" hasCustomPrompt="1"/>
          </p:nvPr>
        </p:nvSpPr>
        <p:spPr>
          <a:xfrm>
            <a:off x="246089" y="3478878"/>
            <a:ext cx="8547368" cy="1063305"/>
          </a:xfrm>
          <a:prstGeom prst="rect">
            <a:avLst/>
          </a:prstGeom>
        </p:spPr>
        <p:txBody>
          <a:bodyPr vert="horz"/>
          <a:lstStyle>
            <a:lvl1pPr>
              <a:buNone/>
              <a:defRPr sz="1500" baseline="0">
                <a:solidFill>
                  <a:srgbClr val="FFFFFF"/>
                </a:solidFill>
              </a:defRPr>
            </a:lvl1pPr>
            <a:lvl2pPr>
              <a:buNone/>
              <a:defRPr sz="1600"/>
            </a:lvl2pPr>
            <a:lvl3pPr>
              <a:buNone/>
              <a:defRPr sz="1600"/>
            </a:lvl3pPr>
            <a:lvl4pPr>
              <a:buNone/>
              <a:defRPr sz="1600"/>
            </a:lvl4pPr>
            <a:lvl5pPr>
              <a:buNone/>
              <a:defRPr sz="1600"/>
            </a:lvl5pPr>
          </a:lstStyle>
          <a:p>
            <a:pPr lvl="0"/>
            <a:r>
              <a:rPr lang="en-US" dirty="0"/>
              <a:t>Add section intro text here</a:t>
            </a:r>
          </a:p>
        </p:txBody>
      </p:sp>
      <p:sp>
        <p:nvSpPr>
          <p:cNvPr id="11" name="Text Placeholder 12"/>
          <p:cNvSpPr>
            <a:spLocks noGrp="1"/>
          </p:cNvSpPr>
          <p:nvPr>
            <p:ph type="body" sz="quarter" idx="13" hasCustomPrompt="1"/>
          </p:nvPr>
        </p:nvSpPr>
        <p:spPr>
          <a:xfrm>
            <a:off x="254147" y="2799018"/>
            <a:ext cx="8539309" cy="638704"/>
          </a:xfrm>
          <a:prstGeom prst="rect">
            <a:avLst/>
          </a:prstGeom>
        </p:spPr>
        <p:txBody>
          <a:bodyPr vert="horz"/>
          <a:lstStyle>
            <a:lvl1pPr>
              <a:buNone/>
              <a:defRPr sz="3600">
                <a:solidFill>
                  <a:srgbClr val="FFFFFF"/>
                </a:solidFill>
              </a:defRPr>
            </a:lvl1pPr>
            <a:lvl2pPr>
              <a:buNone/>
              <a:defRPr sz="3600"/>
            </a:lvl2pPr>
            <a:lvl3pPr>
              <a:buNone/>
              <a:defRPr sz="3600"/>
            </a:lvl3pPr>
            <a:lvl4pPr>
              <a:buNone/>
              <a:defRPr sz="3600"/>
            </a:lvl4pPr>
            <a:lvl5pPr>
              <a:buNone/>
              <a:defRPr sz="3600"/>
            </a:lvl5pPr>
          </a:lstStyle>
          <a:p>
            <a:pPr lvl="0"/>
            <a:r>
              <a:rPr lang="en-US" dirty="0"/>
              <a:t>Section Title</a:t>
            </a:r>
          </a:p>
        </p:txBody>
      </p:sp>
      <p:pic>
        <p:nvPicPr>
          <p:cNvPr id="9" name="Picture 8"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264214380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4" name="Text Placeholder 13"/>
          <p:cNvSpPr>
            <a:spLocks noGrp="1"/>
          </p:cNvSpPr>
          <p:nvPr>
            <p:ph type="body" sz="quarter" idx="14" hasCustomPrompt="1"/>
          </p:nvPr>
        </p:nvSpPr>
        <p:spPr>
          <a:xfrm>
            <a:off x="300038" y="1282537"/>
            <a:ext cx="7484329" cy="322555"/>
          </a:xfrm>
          <a:prstGeom prst="rect">
            <a:avLst/>
          </a:prstGeom>
        </p:spPr>
        <p:txBody>
          <a:bodyPr vert="horz"/>
          <a:lstStyle>
            <a:lvl1pPr>
              <a:buNone/>
              <a:defRPr sz="1600">
                <a:solidFill>
                  <a:srgbClr val="53565A"/>
                </a:solidFill>
              </a:defRPr>
            </a:lvl1pPr>
          </a:lstStyle>
          <a:p>
            <a:pPr lvl="0"/>
            <a:r>
              <a:rPr lang="en-US" dirty="0"/>
              <a:t>Subtitle of Presentation</a:t>
            </a:r>
          </a:p>
        </p:txBody>
      </p:sp>
      <p:sp>
        <p:nvSpPr>
          <p:cNvPr id="3"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rgbClr val="53565A"/>
                </a:solidFill>
              </a:defRPr>
            </a:lvl1pPr>
          </a:lstStyle>
          <a:p>
            <a:r>
              <a:rPr lang="en-US" dirty="0"/>
              <a:t>Cover Slide Title and</a:t>
            </a:r>
            <a:br>
              <a:rPr lang="en-US" dirty="0"/>
            </a:br>
            <a:r>
              <a:rPr lang="en-US" dirty="0"/>
              <a:t>Second Line if Necessary</a:t>
            </a:r>
          </a:p>
        </p:txBody>
      </p:sp>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32208480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4" name="Text Placeholder 13"/>
          <p:cNvSpPr>
            <a:spLocks noGrp="1"/>
          </p:cNvSpPr>
          <p:nvPr>
            <p:ph type="body" sz="quarter" idx="14" hasCustomPrompt="1"/>
          </p:nvPr>
        </p:nvSpPr>
        <p:spPr>
          <a:xfrm>
            <a:off x="300038" y="1282537"/>
            <a:ext cx="7484329" cy="322555"/>
          </a:xfrm>
          <a:prstGeom prst="rect">
            <a:avLst/>
          </a:prstGeom>
        </p:spPr>
        <p:txBody>
          <a:bodyPr vert="horz"/>
          <a:lstStyle>
            <a:lvl1pPr>
              <a:buNone/>
              <a:defRPr sz="1600">
                <a:solidFill>
                  <a:srgbClr val="53565A"/>
                </a:solidFill>
              </a:defRPr>
            </a:lvl1pPr>
          </a:lstStyle>
          <a:p>
            <a:pPr lvl="0"/>
            <a:r>
              <a:rPr lang="en-US" dirty="0"/>
              <a:t>Subtitle of Presentation</a:t>
            </a:r>
          </a:p>
        </p:txBody>
      </p:sp>
      <p:sp>
        <p:nvSpPr>
          <p:cNvPr id="3"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rgbClr val="53565A"/>
                </a:solidFill>
              </a:defRPr>
            </a:lvl1pPr>
          </a:lstStyle>
          <a:p>
            <a:r>
              <a:rPr lang="en-US" dirty="0"/>
              <a:t>Cover Slide Title and</a:t>
            </a:r>
            <a:br>
              <a:rPr lang="en-US" dirty="0"/>
            </a:br>
            <a:r>
              <a:rPr lang="en-US" dirty="0"/>
              <a:t>Second Line if Necessary</a:t>
            </a:r>
          </a:p>
        </p:txBody>
      </p:sp>
      <p:pic>
        <p:nvPicPr>
          <p:cNvPr id="8" name="Picture 7"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11" name="Picture 1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2718445311"/>
      </p:ext>
    </p:extLst>
  </p:cSld>
  <p:clrMapOvr>
    <a:masterClrMapping/>
  </p:clrMapOvr>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9" name="Date Placeholder 3"/>
          <p:cNvSpPr>
            <a:spLocks noGrp="1"/>
          </p:cNvSpPr>
          <p:nvPr>
            <p:ph type="dt" sz="half" idx="10"/>
          </p:nvPr>
        </p:nvSpPr>
        <p:spPr>
          <a:xfrm>
            <a:off x="533400" y="6324600"/>
            <a:ext cx="2133600" cy="365125"/>
          </a:xfrm>
          <a:prstGeom prst="rect">
            <a:avLst/>
          </a:prstGeom>
        </p:spPr>
        <p:txBody>
          <a:bodyPr/>
          <a:lstStyle>
            <a:lvl1pPr>
              <a:defRPr/>
            </a:lvl1pPr>
          </a:lstStyle>
          <a:p>
            <a:pPr>
              <a:defRPr/>
            </a:pPr>
            <a:endParaRPr lang="en-US" dirty="0">
              <a:solidFill>
                <a:srgbClr val="FF8200"/>
              </a:solidFill>
            </a:endParaRPr>
          </a:p>
        </p:txBody>
      </p:sp>
      <p:sp>
        <p:nvSpPr>
          <p:cNvPr id="10"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a:solidFill>
                <a:srgbClr val="FF8200"/>
              </a:solidFill>
            </a:endParaRPr>
          </a:p>
        </p:txBody>
      </p:sp>
      <p:sp>
        <p:nvSpPr>
          <p:cNvPr id="11"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A329D8BC-B4F4-4451-96BE-D48771B0D126}" type="slidenum">
              <a:rPr lang="en-US">
                <a:solidFill>
                  <a:srgbClr val="FF8200"/>
                </a:solidFill>
              </a:rPr>
              <a:pPr>
                <a:defRPr/>
              </a:pPr>
              <a:t>‹#›</a:t>
            </a:fld>
            <a:endParaRPr lang="en-US">
              <a:solidFill>
                <a:srgbClr val="FF8200"/>
              </a:solidFill>
            </a:endParaRPr>
          </a:p>
        </p:txBody>
      </p:sp>
    </p:spTree>
    <p:extLst>
      <p:ext uri="{BB962C8B-B14F-4D97-AF65-F5344CB8AC3E}">
        <p14:creationId xmlns:p14="http://schemas.microsoft.com/office/powerpoint/2010/main" val="125822984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Slide Number Placeholder 7"/>
          <p:cNvSpPr>
            <a:spLocks noGrp="1"/>
          </p:cNvSpPr>
          <p:nvPr>
            <p:ph type="sldNum" sz="quarter" idx="4"/>
          </p:nvPr>
        </p:nvSpPr>
        <p:spPr>
          <a:xfrm>
            <a:off x="8548008" y="76661"/>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pPr/>
              <a:t>‹#›</a:t>
            </a:fld>
            <a:endParaRPr lang="en-US" dirty="0"/>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3340487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02776547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51171127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76912995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chemeClr val="tx2"/>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chemeClr val="tx2"/>
                </a:solidFill>
              </a:defRPr>
            </a:lvl1pPr>
          </a:lstStyle>
          <a:p>
            <a:pPr lvl="0"/>
            <a:r>
              <a:rPr lang="en-US" dirty="0"/>
              <a:t>Click to edit text</a:t>
            </a:r>
          </a:p>
        </p:txBody>
      </p:sp>
    </p:spTree>
    <p:extLst>
      <p:ext uri="{BB962C8B-B14F-4D97-AF65-F5344CB8AC3E}">
        <p14:creationId xmlns:p14="http://schemas.microsoft.com/office/powerpoint/2010/main" val="270937688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2899763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31628873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11" name="Picture 10" descr="SpeedAlign_Cover_1.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256745" y="242634"/>
            <a:ext cx="7425926" cy="942147"/>
          </a:xfrm>
          <a:prstGeom prst="rect">
            <a:avLst/>
          </a:prstGeom>
        </p:spPr>
        <p:txBody>
          <a:bodyPr/>
          <a:lstStyle>
            <a:lvl1pPr algn="l">
              <a:lnSpc>
                <a:spcPct val="85000"/>
              </a:lnSpc>
              <a:defRPr sz="3600" baseline="0">
                <a:solidFill>
                  <a:srgbClr val="FF8200"/>
                </a:solidFill>
              </a:defRPr>
            </a:lvl1pPr>
          </a:lstStyle>
          <a:p>
            <a:r>
              <a:rPr lang="en-US" dirty="0"/>
              <a:t>Cover Slide Title</a:t>
            </a:r>
            <a:br>
              <a:rPr lang="en-US" dirty="0"/>
            </a:br>
            <a:r>
              <a:rPr lang="en-US" dirty="0"/>
              <a:t>Second Line If Necessary</a:t>
            </a:r>
          </a:p>
        </p:txBody>
      </p:sp>
      <p:sp>
        <p:nvSpPr>
          <p:cNvPr id="3" name="Subtitle 2"/>
          <p:cNvSpPr>
            <a:spLocks noGrp="1"/>
          </p:cNvSpPr>
          <p:nvPr>
            <p:ph type="subTitle" idx="1" hasCustomPrompt="1"/>
          </p:nvPr>
        </p:nvSpPr>
        <p:spPr>
          <a:xfrm>
            <a:off x="256745" y="1185345"/>
            <a:ext cx="7425926" cy="390948"/>
          </a:xfrm>
          <a:prstGeom prst="rect">
            <a:avLst/>
          </a:prstGeom>
        </p:spPr>
        <p:txBody>
          <a:bodyPr/>
          <a:lstStyle>
            <a:lvl1pPr marL="0" indent="0" algn="l">
              <a:buNone/>
              <a:defRPr sz="160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sp>
        <p:nvSpPr>
          <p:cNvPr id="9" name="Text Placeholder 6"/>
          <p:cNvSpPr>
            <a:spLocks noGrp="1"/>
          </p:cNvSpPr>
          <p:nvPr>
            <p:ph type="body" sz="quarter" idx="10" hasCustomPrompt="1"/>
          </p:nvPr>
        </p:nvSpPr>
        <p:spPr>
          <a:xfrm>
            <a:off x="247738" y="5917657"/>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r>
              <a:rPr lang="en-US" dirty="0"/>
              <a:t>  |  Date XX_XX_XX</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292287422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Picture 6" descr="SpeedAlign_Section_1.png"/>
          <p:cNvPicPr>
            <a:picLocks noChangeAspect="1"/>
          </p:cNvPicPr>
          <p:nvPr userDrawn="1"/>
        </p:nvPicPr>
        <p:blipFill>
          <a:blip r:embed="rId2"/>
          <a:stretch>
            <a:fillRect/>
          </a:stretch>
        </p:blipFill>
        <p:spPr>
          <a:xfrm>
            <a:off x="0" y="0"/>
            <a:ext cx="9144000" cy="6858000"/>
          </a:xfrm>
          <a:prstGeom prst="rect">
            <a:avLst/>
          </a:prstGeom>
        </p:spPr>
      </p:pic>
      <p:sp>
        <p:nvSpPr>
          <p:cNvPr id="10" name="Text Placeholder 10"/>
          <p:cNvSpPr>
            <a:spLocks noGrp="1"/>
          </p:cNvSpPr>
          <p:nvPr>
            <p:ph type="body" sz="quarter" idx="12" hasCustomPrompt="1"/>
          </p:nvPr>
        </p:nvSpPr>
        <p:spPr>
          <a:xfrm>
            <a:off x="246089" y="3478878"/>
            <a:ext cx="8547368" cy="1063305"/>
          </a:xfrm>
          <a:prstGeom prst="rect">
            <a:avLst/>
          </a:prstGeom>
        </p:spPr>
        <p:txBody>
          <a:bodyPr vert="horz"/>
          <a:lstStyle>
            <a:lvl1pPr>
              <a:buNone/>
              <a:defRPr sz="1500" baseline="0">
                <a:solidFill>
                  <a:srgbClr val="FFFFFF"/>
                </a:solidFill>
              </a:defRPr>
            </a:lvl1pPr>
            <a:lvl2pPr>
              <a:buNone/>
              <a:defRPr sz="1600"/>
            </a:lvl2pPr>
            <a:lvl3pPr>
              <a:buNone/>
              <a:defRPr sz="1600"/>
            </a:lvl3pPr>
            <a:lvl4pPr>
              <a:buNone/>
              <a:defRPr sz="1600"/>
            </a:lvl4pPr>
            <a:lvl5pPr>
              <a:buNone/>
              <a:defRPr sz="1600"/>
            </a:lvl5pPr>
          </a:lstStyle>
          <a:p>
            <a:pPr lvl="0"/>
            <a:r>
              <a:rPr lang="en-US" dirty="0"/>
              <a:t>Add section intro text here</a:t>
            </a:r>
          </a:p>
        </p:txBody>
      </p:sp>
      <p:sp>
        <p:nvSpPr>
          <p:cNvPr id="11" name="Text Placeholder 12"/>
          <p:cNvSpPr>
            <a:spLocks noGrp="1"/>
          </p:cNvSpPr>
          <p:nvPr>
            <p:ph type="body" sz="quarter" idx="13" hasCustomPrompt="1"/>
          </p:nvPr>
        </p:nvSpPr>
        <p:spPr>
          <a:xfrm>
            <a:off x="254147" y="2799018"/>
            <a:ext cx="8539309" cy="638704"/>
          </a:xfrm>
          <a:prstGeom prst="rect">
            <a:avLst/>
          </a:prstGeom>
        </p:spPr>
        <p:txBody>
          <a:bodyPr vert="horz"/>
          <a:lstStyle>
            <a:lvl1pPr>
              <a:buNone/>
              <a:defRPr sz="3600">
                <a:solidFill>
                  <a:srgbClr val="FFFFFF"/>
                </a:solidFill>
              </a:defRPr>
            </a:lvl1pPr>
            <a:lvl2pPr>
              <a:buNone/>
              <a:defRPr sz="3600"/>
            </a:lvl2pPr>
            <a:lvl3pPr>
              <a:buNone/>
              <a:defRPr sz="3600"/>
            </a:lvl3pPr>
            <a:lvl4pPr>
              <a:buNone/>
              <a:defRPr sz="3600"/>
            </a:lvl4pPr>
            <a:lvl5pPr>
              <a:buNone/>
              <a:defRPr sz="3600"/>
            </a:lvl5pPr>
          </a:lstStyle>
          <a:p>
            <a:pPr lvl="0"/>
            <a:r>
              <a:rPr lang="en-US" dirty="0"/>
              <a:t>Section Title</a:t>
            </a:r>
          </a:p>
        </p:txBody>
      </p:sp>
      <p:pic>
        <p:nvPicPr>
          <p:cNvPr id="9" name="Picture 8"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30252718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1732707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pic>
        <p:nvPicPr>
          <p:cNvPr id="12" name="Picture 11"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5" name="Picture 14"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2326197192"/>
      </p:ext>
    </p:extLst>
  </p:cSld>
  <p:clrMapOvr>
    <a:masterClrMapping/>
  </p:clrMapOvr>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6071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544286"/>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22592" y="356616"/>
            <a:ext cx="1782305" cy="274320"/>
          </a:xfrm>
          <a:prstGeom prst="rect">
            <a:avLst/>
          </a:prstGeom>
        </p:spPr>
      </p:pic>
    </p:spTree>
    <p:extLst>
      <p:ext uri="{BB962C8B-B14F-4D97-AF65-F5344CB8AC3E}">
        <p14:creationId xmlns:p14="http://schemas.microsoft.com/office/powerpoint/2010/main" val="328052329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cSld name="1_Section Header">
    <p:spTree>
      <p:nvGrpSpPr>
        <p:cNvPr id="1" name=""/>
        <p:cNvGrpSpPr/>
        <p:nvPr/>
      </p:nvGrpSpPr>
      <p:grpSpPr>
        <a:xfrm>
          <a:off x="0" y="0"/>
          <a:ext cx="0" cy="0"/>
          <a:chOff x="0" y="0"/>
          <a:chExt cx="0" cy="0"/>
        </a:xfrm>
      </p:grpSpPr>
      <p:pic>
        <p:nvPicPr>
          <p:cNvPr id="3" name="Picture 5" descr="C:\Documents and Settings\martinp003\Desktop\revised_graphics\ECDS_PPT_Transistion_rev3-01.png"/>
          <p:cNvPicPr>
            <a:picLocks noChangeAspect="1" noChangeArrowheads="1"/>
          </p:cNvPicPr>
          <p:nvPr/>
        </p:nvPicPr>
        <p:blipFill>
          <a:blip r:embed="rId2">
            <a:extLst>
              <a:ext uri="{28A0092B-C50C-407E-A947-70E740481C1C}">
                <a14:useLocalDpi xmlns:a14="http://schemas.microsoft.com/office/drawing/2010/main" val="0"/>
              </a:ext>
            </a:extLst>
          </a:blip>
          <a:srcRect r="50000"/>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C:\Documents and Settings\martinp003\Desktop\CDS [MASTER]\CDS marcom assets\Logos\ECDS logos_MASTER SET\Elsevier CDS, BU logos_PNGs\Elsevier_CPMRC_mediu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0075" y="6080125"/>
            <a:ext cx="1736725"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457200" y="914400"/>
            <a:ext cx="8229600" cy="1600200"/>
          </a:xfrm>
        </p:spPr>
        <p:txBody>
          <a:bodyPr anchor="t"/>
          <a:lstStyle>
            <a:lvl1pPr algn="ctr">
              <a:defRPr sz="3200">
                <a:solidFill>
                  <a:schemeClr val="tx1">
                    <a:lumMod val="65000"/>
                    <a:lumOff val="35000"/>
                  </a:schemeClr>
                </a:solidFill>
                <a:latin typeface="+mj-lt"/>
                <a:cs typeface="Arial"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60259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199" y="284034"/>
            <a:ext cx="8458201" cy="307777"/>
          </a:xfrm>
        </p:spPr>
        <p:txBody>
          <a:bodyPr wrap="square" lIns="0" tIns="0" rIns="0" bIns="0">
            <a:spAutoFit/>
          </a:bodyPr>
          <a:lstStyle>
            <a:lvl1pPr>
              <a:defRPr sz="2000" b="1"/>
            </a:lvl1pPr>
          </a:lstStyle>
          <a:p>
            <a:r>
              <a:rPr lang="en-US" dirty="0"/>
              <a:t>Click to edit Master title style</a:t>
            </a:r>
          </a:p>
        </p:txBody>
      </p:sp>
      <p:sp>
        <p:nvSpPr>
          <p:cNvPr id="3" name="Rectangle 6"/>
          <p:cNvSpPr>
            <a:spLocks noGrp="1" noChangeArrowheads="1"/>
          </p:cNvSpPr>
          <p:nvPr>
            <p:ph type="sldNum" sz="quarter" idx="10"/>
          </p:nvPr>
        </p:nvSpPr>
        <p:spPr>
          <a:xfrm>
            <a:off x="8733682" y="6591384"/>
            <a:ext cx="372218" cy="230832"/>
          </a:xfrm>
          <a:prstGeom prst="rect">
            <a:avLst/>
          </a:prstGeom>
          <a:ln/>
        </p:spPr>
        <p:txBody>
          <a:bodyPr wrap="square">
            <a:spAutoFit/>
          </a:bodyPr>
          <a:lstStyle>
            <a:lvl1pPr>
              <a:defRPr sz="900">
                <a:latin typeface="+mn-lt"/>
              </a:defRPr>
            </a:lvl1pPr>
          </a:lstStyle>
          <a:p>
            <a:pPr>
              <a:defRPr/>
            </a:pPr>
            <a:fld id="{00CCDBD0-082F-493D-863A-3960C5117E3D}" type="slidenum">
              <a:rPr lang="en-US" smtClean="0"/>
              <a:pPr>
                <a:defRPr/>
              </a:pPr>
              <a:t>‹#›</a:t>
            </a:fld>
            <a:endParaRPr lang="en-US" dirty="0"/>
          </a:p>
        </p:txBody>
      </p:sp>
    </p:spTree>
    <p:extLst>
      <p:ext uri="{BB962C8B-B14F-4D97-AF65-F5344CB8AC3E}">
        <p14:creationId xmlns:p14="http://schemas.microsoft.com/office/powerpoint/2010/main" val="862979685"/>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p>
        </p:txBody>
      </p:sp>
      <p:sp>
        <p:nvSpPr>
          <p:cNvPr id="4"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144920915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130125013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8628832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8"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424588723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104376397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dirty="0"/>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dirty="0"/>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dirty="0"/>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dirty="0"/>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dirty="0"/>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dirty="0"/>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dirty="0"/>
              <a:t>Click to edit Master title style</a:t>
            </a:r>
          </a:p>
        </p:txBody>
      </p:sp>
    </p:spTree>
    <p:extLst>
      <p:ext uri="{BB962C8B-B14F-4D97-AF65-F5344CB8AC3E}">
        <p14:creationId xmlns:p14="http://schemas.microsoft.com/office/powerpoint/2010/main" val="300905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C9020E1-6174-4B56-ABAE-9E0816058D48}" type="datetimeFigureOut">
              <a:rPr lang="en-US" smtClean="0"/>
              <a:pPr/>
              <a:t>6/2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defRPr/>
            </a:pPr>
            <a:fld id="{6003EAAF-5BD9-4464-8A92-94FE6A92D101}" type="slidenum">
              <a:rPr lang="en-US" b="1" smtClean="0"/>
              <a:pPr>
                <a:defRPr/>
              </a:pPr>
              <a:t>‹#›</a:t>
            </a:fld>
            <a:endParaRPr lang="en-US" b="1" dirty="0"/>
          </a:p>
        </p:txBody>
      </p:sp>
      <p:pic>
        <p:nvPicPr>
          <p:cNvPr id="6" name="Picture 5"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7" name="Picture 6"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8"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9"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2" name="Title 1"/>
          <p:cNvSpPr>
            <a:spLocks noGrp="1"/>
          </p:cNvSpPr>
          <p:nvPr>
            <p:ph type="title" hasCustomPrompt="1"/>
          </p:nvPr>
        </p:nvSpPr>
        <p:spPr>
          <a:xfrm>
            <a:off x="447200" y="949001"/>
            <a:ext cx="6874246" cy="761124"/>
          </a:xfrm>
        </p:spPr>
        <p:txBody>
          <a:bodyPr/>
          <a:lstStyle>
            <a:lvl1pPr>
              <a:defRPr sz="1600">
                <a:solidFill>
                  <a:srgbClr val="53565A"/>
                </a:solidFill>
              </a:defRPr>
            </a:lvl1pPr>
          </a:lstStyle>
          <a:p>
            <a:r>
              <a:rPr lang="en-US" dirty="0"/>
              <a:t>Subtitle of slide and or description of presentation</a:t>
            </a:r>
            <a:br>
              <a:rPr lang="en-US" dirty="0"/>
            </a:br>
            <a:r>
              <a:rPr lang="en-US" dirty="0"/>
              <a:t>Second line if Necessary</a:t>
            </a:r>
          </a:p>
        </p:txBody>
      </p:sp>
      <p:sp>
        <p:nvSpPr>
          <p:cNvPr id="10" name="Picture Placeholder 2"/>
          <p:cNvSpPr>
            <a:spLocks noGrp="1"/>
          </p:cNvSpPr>
          <p:nvPr>
            <p:ph type="pic" idx="1" hasCustomPrompt="1"/>
          </p:nvPr>
        </p:nvSpPr>
        <p:spPr>
          <a:xfrm>
            <a:off x="443402" y="374492"/>
            <a:ext cx="6878044" cy="783831"/>
          </a:xfrm>
          <a:prstGeom prst="rect">
            <a:avLst/>
          </a:prstGeom>
        </p:spPr>
        <p:txBody>
          <a:bodyPr/>
          <a:lstStyle>
            <a:lvl1pPr marL="0" indent="0">
              <a:buNone/>
              <a:defRPr sz="36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pic>
        <p:nvPicPr>
          <p:cNvPr id="11" name="Picture 10"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2190661473"/>
      </p:ext>
    </p:extLst>
  </p:cSld>
  <p:clrMapOvr>
    <a:masterClrMapping/>
  </p:clrMapOvr>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itle Slide 5">
    <p:spTree>
      <p:nvGrpSpPr>
        <p:cNvPr id="1" name=""/>
        <p:cNvGrpSpPr/>
        <p:nvPr/>
      </p:nvGrpSpPr>
      <p:grpSpPr>
        <a:xfrm>
          <a:off x="0" y="0"/>
          <a:ext cx="0" cy="0"/>
          <a:chOff x="0" y="0"/>
          <a:chExt cx="0" cy="0"/>
        </a:xfrm>
      </p:grpSpPr>
      <p:pic>
        <p:nvPicPr>
          <p:cNvPr id="2" name="Elsevier_World_Health_aw.jpg" descr="/Users/keithmarsh/Desktop/Lisa-Various EHI jobs/JOB 5-PPT/Elsevier_World_Health_aw.jpg"/>
          <p:cNvPicPr>
            <a:picLocks noChangeAspect="1"/>
          </p:cNvPicPr>
          <p:nvPr userDrawn="1"/>
        </p:nvPicPr>
        <p:blipFill rotWithShape="1">
          <a:blip r:embed="rId2" r:link="rId3">
            <a:extLst>
              <a:ext uri="{28A0092B-C50C-407E-A947-70E740481C1C}">
                <a14:useLocalDpi xmlns:a14="http://schemas.microsoft.com/office/drawing/2010/main" val="0"/>
              </a:ext>
            </a:extLst>
          </a:blip>
          <a:srcRect l="64664" t="15068" r="9411" b="4282"/>
          <a:stretch>
            <a:fillRect/>
          </a:stretch>
        </p:blipFill>
        <p:spPr>
          <a:xfrm>
            <a:off x="-8466" y="0"/>
            <a:ext cx="3197754" cy="6858000"/>
          </a:xfrm>
          <a:prstGeom prst="rect">
            <a:avLst/>
          </a:prstGeom>
        </p:spPr>
      </p:pic>
      <p:grpSp>
        <p:nvGrpSpPr>
          <p:cNvPr id="4" name="Group 3"/>
          <p:cNvGrpSpPr/>
          <p:nvPr userDrawn="1"/>
        </p:nvGrpSpPr>
        <p:grpSpPr>
          <a:xfrm>
            <a:off x="0" y="2698749"/>
            <a:ext cx="9143999" cy="1492250"/>
            <a:chOff x="0" y="2698749"/>
            <a:chExt cx="9143999" cy="1492250"/>
          </a:xfrm>
        </p:grpSpPr>
        <p:sp>
          <p:nvSpPr>
            <p:cNvPr id="9" name="Rectangle 8"/>
            <p:cNvSpPr/>
            <p:nvPr/>
          </p:nvSpPr>
          <p:spPr>
            <a:xfrm>
              <a:off x="3189288" y="2698749"/>
              <a:ext cx="5954711"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sp>
          <p:nvSpPr>
            <p:cNvPr id="16" name="Rectangle 15"/>
            <p:cNvSpPr/>
            <p:nvPr userDrawn="1"/>
          </p:nvSpPr>
          <p:spPr>
            <a:xfrm>
              <a:off x="0" y="2698749"/>
              <a:ext cx="3189289" cy="1492250"/>
            </a:xfrm>
            <a:prstGeom prst="rect">
              <a:avLst/>
            </a:prstGeom>
            <a:solidFill>
              <a:schemeClr val="tx2">
                <a:alpha val="8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grpSp>
      <p:sp>
        <p:nvSpPr>
          <p:cNvPr id="3" name="Subtitle 2"/>
          <p:cNvSpPr>
            <a:spLocks noGrp="1"/>
          </p:cNvSpPr>
          <p:nvPr>
            <p:ph type="subTitle" idx="1" hasCustomPrompt="1"/>
          </p:nvPr>
        </p:nvSpPr>
        <p:spPr>
          <a:xfrm>
            <a:off x="318928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89288" y="3740100"/>
            <a:ext cx="5472113" cy="252412"/>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5" name="Picture 14" descr="Elsevier_Tree_Logo_2C.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3617617688"/>
      </p:ext>
    </p:extLst>
  </p:cSld>
  <p:clrMapOvr>
    <a:masterClrMapping/>
  </p:clrMapOvr>
  <mc:AlternateContent xmlns:mc="http://schemas.openxmlformats.org/markup-compatibility/2006" xmlns:p14="http://schemas.microsoft.com/office/powerpoint/2010/main">
    <mc:Choice Requires="p14">
      <p:transition p14:dur="10" advClick="0" advTm="5000"/>
    </mc:Choice>
    <mc:Fallback xmlns="">
      <p:transition advClick="0" advTm="5000"/>
    </mc:Fallback>
  </mc:AlternateContent>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70"/>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1"/>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a:t>
            </a:r>
            <a:fld id="{DA15E891-66B8-4B28-AB8F-05A4B1DE573C}" type="slidenum">
              <a:rPr kumimoji="0" lang="en-US" sz="7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03014999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28472988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7334930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116818937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80510769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43878546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4" name="Rectangle 3"/>
          <p:cNvSpPr/>
          <p:nvPr userDrawn="1"/>
        </p:nvSpPr>
        <p:spPr>
          <a:xfrm>
            <a:off x="0" y="0"/>
            <a:ext cx="9144000" cy="1447800"/>
          </a:xfrm>
          <a:prstGeom prst="rect">
            <a:avLst/>
          </a:prstGeom>
          <a:solidFill>
            <a:srgbClr val="215691"/>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457200">
              <a:defRPr/>
            </a:pPr>
            <a:endParaRPr lang="en-US" dirty="0">
              <a:solidFill>
                <a:prstClr val="white"/>
              </a:solidFill>
            </a:endParaRPr>
          </a:p>
        </p:txBody>
      </p:sp>
      <p:pic>
        <p:nvPicPr>
          <p:cNvPr id="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68288" y="6367463"/>
            <a:ext cx="1169987"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40"/>
          <p:cNvSpPr txBox="1">
            <a:spLocks noChangeArrowheads="1"/>
          </p:cNvSpPr>
          <p:nvPr userDrawn="1"/>
        </p:nvSpPr>
        <p:spPr bwMode="auto">
          <a:xfrm>
            <a:off x="8420100" y="6629400"/>
            <a:ext cx="609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eaLnBrk="1" hangingPunct="1">
              <a:defRPr/>
            </a:pPr>
            <a:r>
              <a:rPr lang="en-US" sz="900" dirty="0">
                <a:solidFill>
                  <a:srgbClr val="215691"/>
                </a:solidFill>
              </a:rPr>
              <a:t>Slide </a:t>
            </a:r>
            <a:fld id="{30B9D703-428A-4B13-AF72-E5D804274CAC}" type="slidenum">
              <a:rPr lang="en-US" sz="900" smtClean="0">
                <a:solidFill>
                  <a:srgbClr val="215691"/>
                </a:solidFill>
              </a:rPr>
              <a:pPr defTabSz="457200" eaLnBrk="1" hangingPunct="1">
                <a:defRPr/>
              </a:pPr>
              <a:t>‹#›</a:t>
            </a:fld>
            <a:endParaRPr lang="en-US" sz="900" dirty="0">
              <a:solidFill>
                <a:srgbClr val="215691"/>
              </a:solidFill>
            </a:endParaRPr>
          </a:p>
        </p:txBody>
      </p:sp>
      <p:pic>
        <p:nvPicPr>
          <p:cNvPr id="7" name="Picture 8"/>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48400" y="0"/>
            <a:ext cx="2895600" cy="143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p:nvPr userDrawn="1"/>
        </p:nvSpPr>
        <p:spPr>
          <a:xfrm>
            <a:off x="0" y="0"/>
            <a:ext cx="9144000" cy="1447800"/>
          </a:xfrm>
          <a:prstGeom prst="rect">
            <a:avLst/>
          </a:prstGeom>
          <a:solidFill>
            <a:srgbClr val="215691"/>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457200">
              <a:defRPr/>
            </a:pPr>
            <a:endParaRPr lang="en-US" dirty="0">
              <a:solidFill>
                <a:prstClr val="white"/>
              </a:solidFill>
            </a:endParaRPr>
          </a:p>
        </p:txBody>
      </p:sp>
      <p:pic>
        <p:nvPicPr>
          <p:cNvPr id="9"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268288" y="6278563"/>
            <a:ext cx="1408112"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543800" y="30163"/>
            <a:ext cx="1573213"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457200" y="2332037"/>
            <a:ext cx="8229600" cy="3916363"/>
          </a:xfrm>
        </p:spPr>
        <p:txBody>
          <a:bodyPr/>
          <a:lstStyle>
            <a:lvl1pPr marL="347663" indent="-347663">
              <a:spcBef>
                <a:spcPts val="200"/>
              </a:spcBef>
              <a:buClr>
                <a:srgbClr val="215691"/>
              </a:buClr>
              <a:buSzPct val="120000"/>
              <a:buFont typeface="Arial" pitchFamily="34" charset="0"/>
              <a:buChar char="•"/>
              <a:defRPr sz="3200" b="1">
                <a:latin typeface="Arial" pitchFamily="34" charset="0"/>
                <a:cs typeface="Arial" pitchFamily="34" charset="0"/>
              </a:defRPr>
            </a:lvl1pPr>
            <a:lvl2pPr marL="576263" indent="-228600">
              <a:spcBef>
                <a:spcPts val="200"/>
              </a:spcBef>
              <a:buClr>
                <a:srgbClr val="215691"/>
              </a:buClr>
              <a:buFont typeface="Wingdings" pitchFamily="2" charset="2"/>
              <a:buChar char="§"/>
              <a:defRPr>
                <a:latin typeface="Arial" pitchFamily="34" charset="0"/>
                <a:cs typeface="Arial" pitchFamily="34" charset="0"/>
              </a:defRPr>
            </a:lvl2pPr>
            <a:lvl3pPr marL="804863" indent="-174625">
              <a:spcBef>
                <a:spcPts val="200"/>
              </a:spcBef>
              <a:buClr>
                <a:srgbClr val="215691"/>
              </a:buClr>
              <a:buFont typeface="Courier New" pitchFamily="49" charset="0"/>
              <a:buChar char="o"/>
              <a:defRPr sz="1800">
                <a:latin typeface="Arial" pitchFamily="34" charset="0"/>
                <a:cs typeface="Arial" pitchFamily="34" charset="0"/>
              </a:defRPr>
            </a:lvl3pPr>
            <a:lvl4pPr marL="1143000" indent="-284163">
              <a:spcBef>
                <a:spcPts val="200"/>
              </a:spcBef>
              <a:buClr>
                <a:srgbClr val="215691"/>
              </a:buClr>
              <a:defRPr sz="1600">
                <a:latin typeface="Arial" pitchFamily="34" charset="0"/>
                <a:cs typeface="Arial" pitchFamily="34" charset="0"/>
              </a:defRPr>
            </a:lvl4pPr>
            <a:lvl5pPr marL="1371600" indent="-228600">
              <a:spcBef>
                <a:spcPts val="200"/>
              </a:spcBef>
              <a:buClr>
                <a:srgbClr val="215691"/>
              </a:buClr>
              <a:defRPr sz="16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5842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3" name="Rectangle 3"/>
          <p:cNvSpPr/>
          <p:nvPr userDrawn="1"/>
        </p:nvSpPr>
        <p:spPr>
          <a:xfrm>
            <a:off x="0" y="0"/>
            <a:ext cx="9144000" cy="1447800"/>
          </a:xfrm>
          <a:prstGeom prst="rect">
            <a:avLst/>
          </a:prstGeom>
          <a:solidFill>
            <a:srgbClr val="215691"/>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457200">
              <a:defRPr/>
            </a:pPr>
            <a:endParaRPr lang="en-US" dirty="0">
              <a:solidFill>
                <a:prstClr val="white"/>
              </a:solidFill>
            </a:endParaRPr>
          </a:p>
        </p:txBody>
      </p:sp>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68288" y="6367463"/>
            <a:ext cx="1169987"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0"/>
          <p:cNvSpPr txBox="1">
            <a:spLocks noChangeArrowheads="1"/>
          </p:cNvSpPr>
          <p:nvPr userDrawn="1"/>
        </p:nvSpPr>
        <p:spPr bwMode="auto">
          <a:xfrm>
            <a:off x="8420100" y="6629400"/>
            <a:ext cx="609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eaLnBrk="1" hangingPunct="1">
              <a:defRPr/>
            </a:pPr>
            <a:r>
              <a:rPr lang="en-US" sz="900" dirty="0">
                <a:solidFill>
                  <a:srgbClr val="215691"/>
                </a:solidFill>
              </a:rPr>
              <a:t>Slide </a:t>
            </a:r>
            <a:fld id="{81948B58-9C8F-491D-92CF-778EF961AF67}" type="slidenum">
              <a:rPr lang="en-US" sz="900" smtClean="0">
                <a:solidFill>
                  <a:srgbClr val="215691"/>
                </a:solidFill>
              </a:rPr>
              <a:pPr defTabSz="457200" eaLnBrk="1" hangingPunct="1">
                <a:defRPr/>
              </a:pPr>
              <a:t>‹#›</a:t>
            </a:fld>
            <a:endParaRPr lang="en-US" sz="900" dirty="0">
              <a:solidFill>
                <a:srgbClr val="215691"/>
              </a:solidFill>
            </a:endParaRPr>
          </a:p>
        </p:txBody>
      </p:sp>
      <p:pic>
        <p:nvPicPr>
          <p:cNvPr id="6" name="Picture 8"/>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48400" y="0"/>
            <a:ext cx="2895600" cy="143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8"/>
          <p:cNvSpPr/>
          <p:nvPr userDrawn="1"/>
        </p:nvSpPr>
        <p:spPr>
          <a:xfrm>
            <a:off x="0" y="0"/>
            <a:ext cx="9144000" cy="1447800"/>
          </a:xfrm>
          <a:prstGeom prst="rect">
            <a:avLst/>
          </a:prstGeom>
          <a:solidFill>
            <a:srgbClr val="215691"/>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457200">
              <a:defRPr/>
            </a:pPr>
            <a:endParaRPr lang="en-US" dirty="0">
              <a:solidFill>
                <a:prstClr val="white"/>
              </a:soli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68288" y="6367463"/>
            <a:ext cx="1169987"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44"/>
          <p:cNvSpPr txBox="1">
            <a:spLocks noChangeArrowheads="1"/>
          </p:cNvSpPr>
          <p:nvPr userDrawn="1"/>
        </p:nvSpPr>
        <p:spPr bwMode="auto">
          <a:xfrm>
            <a:off x="8420100" y="6629400"/>
            <a:ext cx="609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eaLnBrk="1" hangingPunct="1">
              <a:defRPr/>
            </a:pPr>
            <a:r>
              <a:rPr lang="en-US" sz="900" dirty="0">
                <a:solidFill>
                  <a:srgbClr val="215691"/>
                </a:solidFill>
              </a:rPr>
              <a:t>Slide </a:t>
            </a:r>
            <a:fld id="{2D3660A3-0B75-4A81-97A1-EF1022CEB956}" type="slidenum">
              <a:rPr lang="en-US" sz="900" smtClean="0">
                <a:solidFill>
                  <a:srgbClr val="215691"/>
                </a:solidFill>
              </a:rPr>
              <a:pPr defTabSz="457200" eaLnBrk="1" hangingPunct="1">
                <a:defRPr/>
              </a:pPr>
              <a:t>‹#›</a:t>
            </a:fld>
            <a:endParaRPr lang="en-US" sz="900" dirty="0">
              <a:solidFill>
                <a:srgbClr val="215691"/>
              </a:solidFill>
            </a:endParaRPr>
          </a:p>
        </p:txBody>
      </p:sp>
      <p:pic>
        <p:nvPicPr>
          <p:cNvPr id="10" name="Picture 13"/>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7543800" y="30163"/>
            <a:ext cx="1573213"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bwMode="gray">
          <a:xfrm>
            <a:off x="0" y="228600"/>
            <a:ext cx="8229600" cy="1143000"/>
          </a:xfrm>
          <a:prstGeom prst="rect">
            <a:avLst/>
          </a:prstGeom>
        </p:spPr>
        <p:txBody>
          <a:bodyPr/>
          <a:lstStyle>
            <a:lvl1pPr algn="l">
              <a:defRPr/>
            </a:lvl1pPr>
          </a:lstStyle>
          <a:p>
            <a:r>
              <a:rPr lang="en-US" dirty="0"/>
              <a:t>Click to edit Master title style</a:t>
            </a:r>
          </a:p>
        </p:txBody>
      </p:sp>
    </p:spTree>
    <p:extLst>
      <p:ext uri="{BB962C8B-B14F-4D97-AF65-F5344CB8AC3E}">
        <p14:creationId xmlns:p14="http://schemas.microsoft.com/office/powerpoint/2010/main" val="354611859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5" name="Rectangle 4"/>
          <p:cNvSpPr/>
          <p:nvPr userDrawn="1"/>
        </p:nvSpPr>
        <p:spPr>
          <a:xfrm>
            <a:off x="0" y="0"/>
            <a:ext cx="9144000" cy="1447800"/>
          </a:xfrm>
          <a:prstGeom prst="rect">
            <a:avLst/>
          </a:prstGeom>
          <a:solidFill>
            <a:srgbClr val="215691"/>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457200">
              <a:defRPr/>
            </a:pPr>
            <a:endParaRPr lang="en-US" dirty="0">
              <a:solidFill>
                <a:prstClr val="white"/>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68288" y="6367463"/>
            <a:ext cx="1169987"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43"/>
          <p:cNvSpPr txBox="1">
            <a:spLocks noChangeArrowheads="1"/>
          </p:cNvSpPr>
          <p:nvPr userDrawn="1"/>
        </p:nvSpPr>
        <p:spPr bwMode="auto">
          <a:xfrm>
            <a:off x="8420100" y="6629400"/>
            <a:ext cx="61436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eaLnBrk="1" hangingPunct="1">
              <a:defRPr/>
            </a:pPr>
            <a:r>
              <a:rPr lang="en-US" sz="900" dirty="0">
                <a:solidFill>
                  <a:srgbClr val="215691"/>
                </a:solidFill>
              </a:rPr>
              <a:t>Slide </a:t>
            </a:r>
            <a:fld id="{BC9E84E3-951C-4540-A5A6-BBD4CA626D73}" type="slidenum">
              <a:rPr lang="en-US" sz="900" smtClean="0">
                <a:solidFill>
                  <a:srgbClr val="215691"/>
                </a:solidFill>
              </a:rPr>
              <a:pPr defTabSz="457200" eaLnBrk="1" hangingPunct="1">
                <a:defRPr/>
              </a:pPr>
              <a:t>‹#›</a:t>
            </a:fld>
            <a:endParaRPr lang="en-US" sz="900" dirty="0">
              <a:solidFill>
                <a:srgbClr val="215691"/>
              </a:solidFill>
            </a:endParaRPr>
          </a:p>
        </p:txBody>
      </p:sp>
      <p:pic>
        <p:nvPicPr>
          <p:cNvPr id="8" name="Picture 9"/>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543800" y="30163"/>
            <a:ext cx="1573213"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bwMode="gray">
          <a:xfrm>
            <a:off x="0" y="228600"/>
            <a:ext cx="8229600" cy="1143000"/>
          </a:xfrm>
          <a:prstGeom prst="rect">
            <a:avLst/>
          </a:prstGeom>
        </p:spPr>
        <p:txBody>
          <a:bodyPr/>
          <a:lstStyle>
            <a:lvl1pPr algn="l">
              <a:defRPr/>
            </a:lvl1pPr>
          </a:lstStyle>
          <a:p>
            <a:r>
              <a:rPr lang="en-US" dirty="0"/>
              <a:t>Click to edit Master title style</a:t>
            </a:r>
          </a:p>
        </p:txBody>
      </p:sp>
      <p:sp>
        <p:nvSpPr>
          <p:cNvPr id="3" name="Content Placeholder 2"/>
          <p:cNvSpPr>
            <a:spLocks noGrp="1"/>
          </p:cNvSpPr>
          <p:nvPr>
            <p:ph sz="half" idx="1"/>
          </p:nvPr>
        </p:nvSpPr>
        <p:spPr>
          <a:xfrm>
            <a:off x="457200" y="1905000"/>
            <a:ext cx="4038600" cy="4221163"/>
          </a:xfrm>
        </p:spPr>
        <p:txBody>
          <a:bodyPr>
            <a:normAutofit/>
          </a:bodyPr>
          <a:lstStyle>
            <a:lvl1pPr marL="173038" indent="-173038" algn="l" defTabSz="914400" rtl="0" eaLnBrk="1" latinLnBrk="0" hangingPunct="1">
              <a:spcBef>
                <a:spcPts val="200"/>
              </a:spcBef>
              <a:buClr>
                <a:schemeClr val="accent1"/>
              </a:buClr>
              <a:buFont typeface="Arial" pitchFamily="34" charset="0"/>
              <a:defRPr lang="en-US" sz="2400" b="1" kern="1200" dirty="0" smtClean="0">
                <a:solidFill>
                  <a:schemeClr val="tx1"/>
                </a:solidFill>
                <a:latin typeface="Arial" pitchFamily="34" charset="0"/>
                <a:ea typeface="+mn-ea"/>
                <a:cs typeface="Arial" pitchFamily="34" charset="0"/>
              </a:defRPr>
            </a:lvl1pPr>
            <a:lvl2pPr marL="457200" indent="-284163" algn="l" defTabSz="914400" rtl="0" eaLnBrk="1" latinLnBrk="0" hangingPunct="1">
              <a:spcBef>
                <a:spcPts val="200"/>
              </a:spcBef>
              <a:buClr>
                <a:schemeClr val="accent1"/>
              </a:buClr>
              <a:buFont typeface="Wingdings" pitchFamily="2" charset="2"/>
              <a:buChar char="§"/>
              <a:defRPr lang="en-US" sz="1800" b="0" kern="1200" dirty="0" smtClean="0">
                <a:solidFill>
                  <a:schemeClr val="tx1"/>
                </a:solidFill>
                <a:latin typeface="Arial" pitchFamily="34" charset="0"/>
                <a:ea typeface="+mn-ea"/>
                <a:cs typeface="Arial" pitchFamily="34" charset="0"/>
              </a:defRPr>
            </a:lvl2pPr>
            <a:lvl3pPr marL="741363" indent="-284163" algn="l" defTabSz="914400" rtl="0" eaLnBrk="1" latinLnBrk="0" hangingPunct="1">
              <a:spcBef>
                <a:spcPts val="200"/>
              </a:spcBef>
              <a:buClr>
                <a:schemeClr val="accent1"/>
              </a:buClr>
              <a:buFont typeface="Courier New" pitchFamily="49" charset="0"/>
              <a:buChar char="o"/>
              <a:defRPr lang="en-US" sz="1600" b="0" kern="1200" dirty="0" smtClean="0">
                <a:solidFill>
                  <a:schemeClr val="tx1"/>
                </a:solidFill>
                <a:latin typeface="Arial" pitchFamily="34" charset="0"/>
                <a:ea typeface="+mn-ea"/>
                <a:cs typeface="Arial" pitchFamily="34" charset="0"/>
              </a:defRPr>
            </a:lvl3pPr>
            <a:lvl4pPr marL="1033463" indent="-292100" algn="l" defTabSz="914400" rtl="0" eaLnBrk="1" latinLnBrk="0" hangingPunct="1">
              <a:spcBef>
                <a:spcPts val="200"/>
              </a:spcBef>
              <a:buClr>
                <a:schemeClr val="accent1"/>
              </a:buClr>
              <a:buFont typeface="Arial" pitchFamily="34" charset="0"/>
              <a:defRPr lang="en-US" sz="1400" b="0" kern="1200" dirty="0" smtClean="0">
                <a:solidFill>
                  <a:schemeClr val="tx1"/>
                </a:solidFill>
                <a:latin typeface="Arial" pitchFamily="34" charset="0"/>
                <a:ea typeface="+mn-ea"/>
                <a:cs typeface="Arial" pitchFamily="34" charset="0"/>
              </a:defRPr>
            </a:lvl4pPr>
            <a:lvl5pPr marL="1316038" indent="-282575" algn="l" defTabSz="914400" rtl="0" eaLnBrk="1" latinLnBrk="0" hangingPunct="1">
              <a:spcBef>
                <a:spcPts val="200"/>
              </a:spcBef>
              <a:buClr>
                <a:schemeClr val="accent1"/>
              </a:buClr>
              <a:buFont typeface="Arial" pitchFamily="34" charset="0"/>
              <a:defRPr lang="en-US" sz="12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905000"/>
            <a:ext cx="4038600" cy="4221163"/>
          </a:xfrm>
        </p:spPr>
        <p:txBody>
          <a:bodyPr rtlCol="0">
            <a:noAutofit/>
          </a:bodyPr>
          <a:lstStyle>
            <a:lvl1pPr algn="l" defTabSz="914400" rtl="0" eaLnBrk="1" latinLnBrk="0" hangingPunct="1">
              <a:spcBef>
                <a:spcPts val="200"/>
              </a:spcBef>
              <a:buClr>
                <a:schemeClr val="accent1"/>
              </a:buClr>
              <a:defRPr lang="en-US" sz="2400" b="1" kern="1200" dirty="0" smtClean="0">
                <a:solidFill>
                  <a:schemeClr val="tx1"/>
                </a:solidFill>
                <a:latin typeface="Arial" pitchFamily="34" charset="0"/>
                <a:ea typeface="+mn-ea"/>
                <a:cs typeface="Arial" pitchFamily="34" charset="0"/>
              </a:defRPr>
            </a:lvl1pPr>
            <a:lvl2pPr marL="685800" indent="-512763" algn="l" defTabSz="914400" rtl="0" eaLnBrk="1" latinLnBrk="0" hangingPunct="1">
              <a:spcBef>
                <a:spcPts val="200"/>
              </a:spcBef>
              <a:buClr>
                <a:schemeClr val="accent1"/>
              </a:buClr>
              <a:buFont typeface="Wingdings" pitchFamily="2" charset="2"/>
              <a:buChar char="§"/>
              <a:defRPr lang="en-US" sz="1800" b="0" kern="1200" dirty="0" smtClean="0">
                <a:solidFill>
                  <a:schemeClr val="tx1"/>
                </a:solidFill>
                <a:latin typeface="Arial" pitchFamily="34" charset="0"/>
                <a:ea typeface="+mn-ea"/>
                <a:cs typeface="Arial" pitchFamily="34" charset="0"/>
              </a:defRPr>
            </a:lvl2pPr>
            <a:lvl3pPr marL="1143000" indent="-401638" algn="l" defTabSz="914400" rtl="0" eaLnBrk="1" latinLnBrk="0" hangingPunct="1">
              <a:spcBef>
                <a:spcPts val="200"/>
              </a:spcBef>
              <a:buClr>
                <a:schemeClr val="accent1"/>
              </a:buClr>
              <a:buFont typeface="Wingdings" pitchFamily="2" charset="2"/>
              <a:buChar char="§"/>
              <a:defRPr lang="en-US" sz="2400" b="1" kern="1200" dirty="0" smtClean="0">
                <a:solidFill>
                  <a:schemeClr val="tx1"/>
                </a:solidFill>
                <a:latin typeface="Arial" pitchFamily="34" charset="0"/>
                <a:ea typeface="+mn-ea"/>
                <a:cs typeface="Arial" pitchFamily="34" charset="0"/>
              </a:defRPr>
            </a:lvl3pPr>
            <a:lvl4pPr algn="l" defTabSz="914400" rtl="0" eaLnBrk="1" latinLnBrk="0" hangingPunct="1">
              <a:spcBef>
                <a:spcPts val="200"/>
              </a:spcBef>
              <a:buClr>
                <a:schemeClr val="accent1"/>
              </a:buClr>
              <a:defRPr lang="en-US" sz="2400" b="1" kern="1200" dirty="0" smtClean="0">
                <a:solidFill>
                  <a:schemeClr val="tx1"/>
                </a:solidFill>
                <a:latin typeface="Arial" pitchFamily="34" charset="0"/>
                <a:ea typeface="+mn-ea"/>
                <a:cs typeface="Arial" pitchFamily="34" charset="0"/>
              </a:defRPr>
            </a:lvl4pPr>
            <a:lvl5pPr algn="l" defTabSz="914400" rtl="0" eaLnBrk="1" latinLnBrk="0" hangingPunct="1">
              <a:spcBef>
                <a:spcPts val="200"/>
              </a:spcBef>
              <a:buClr>
                <a:schemeClr val="accent1"/>
              </a:buClr>
              <a:defRPr lang="en-US" sz="2400" b="1"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57773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1" name="Picture 10" descr="placeholder-vector.png"/>
          <p:cNvPicPr>
            <a:picLocks noChangeAspect="1"/>
          </p:cNvPicPr>
          <p:nvPr/>
        </p:nvPicPr>
        <p:blipFill>
          <a:blip r:embed="rId3" cstate="print"/>
          <a:stretch>
            <a:fillRect/>
          </a:stretch>
        </p:blipFill>
        <p:spPr>
          <a:xfrm>
            <a:off x="0" y="0"/>
            <a:ext cx="4572000" cy="6858000"/>
          </a:xfrm>
          <a:prstGeom prst="rect">
            <a:avLst/>
          </a:prstGeom>
        </p:spPr>
      </p:pic>
      <p:pic>
        <p:nvPicPr>
          <p:cNvPr id="8" name="Picture 7"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9" name="Picture 8"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4105826140"/>
      </p:ext>
    </p:extLst>
  </p:cSld>
  <p:clrMapOvr>
    <a:masterClrMapping/>
  </p:clrMapOvr>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4" name="Rectangle 3"/>
          <p:cNvSpPr/>
          <p:nvPr userDrawn="1"/>
        </p:nvSpPr>
        <p:spPr>
          <a:xfrm>
            <a:off x="0" y="2362200"/>
            <a:ext cx="9144000" cy="1676400"/>
          </a:xfrm>
          <a:prstGeom prst="rect">
            <a:avLst/>
          </a:prstGeom>
          <a:solidFill>
            <a:srgbClr val="2156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US" dirty="0">
              <a:solidFill>
                <a:prstClr val="white"/>
              </a:solidFill>
            </a:endParaRPr>
          </a:p>
        </p:txBody>
      </p:sp>
      <p:pic>
        <p:nvPicPr>
          <p:cNvPr id="5"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162800" y="6019800"/>
            <a:ext cx="1781175"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0"/>
          <p:cNvSpPr txBox="1">
            <a:spLocks noChangeArrowheads="1"/>
          </p:cNvSpPr>
          <p:nvPr userDrawn="1"/>
        </p:nvSpPr>
        <p:spPr bwMode="auto">
          <a:xfrm>
            <a:off x="8420100" y="6629400"/>
            <a:ext cx="609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eaLnBrk="1" hangingPunct="1">
              <a:defRPr/>
            </a:pPr>
            <a:r>
              <a:rPr lang="en-US" sz="900" dirty="0">
                <a:solidFill>
                  <a:srgbClr val="215691"/>
                </a:solidFill>
              </a:rPr>
              <a:t>Slide </a:t>
            </a:r>
            <a:fld id="{06A8E509-9911-49CF-AFDB-B3491D1E5F5E}" type="slidenum">
              <a:rPr lang="en-US" sz="900" smtClean="0">
                <a:solidFill>
                  <a:srgbClr val="215691"/>
                </a:solidFill>
              </a:rPr>
              <a:pPr defTabSz="457200" eaLnBrk="1" hangingPunct="1">
                <a:defRPr/>
              </a:pPr>
              <a:t>‹#›</a:t>
            </a:fld>
            <a:endParaRPr lang="en-US" sz="900" dirty="0">
              <a:solidFill>
                <a:srgbClr val="215691"/>
              </a:solidFill>
            </a:endParaRPr>
          </a:p>
        </p:txBody>
      </p:sp>
      <p:pic>
        <p:nvPicPr>
          <p:cNvPr id="7" name="Picture 9"/>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25413" y="152400"/>
            <a:ext cx="1931987" cy="202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bwMode="gray">
          <a:xfrm>
            <a:off x="609600" y="2819400"/>
            <a:ext cx="7848600" cy="979487"/>
          </a:xfrm>
        </p:spPr>
        <p:txBody>
          <a:bodyPr>
            <a:normAutofit/>
          </a:bodyPr>
          <a:lstStyle>
            <a:lvl1pPr marL="0" indent="0">
              <a:lnSpc>
                <a:spcPts val="4500"/>
              </a:lnSpc>
              <a:buNone/>
              <a:defRPr sz="4400">
                <a:solidFill>
                  <a:schemeClr val="bg1"/>
                </a:solidFill>
                <a:latin typeface="Impact"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09506675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7" name="Rectangle 12"/>
          <p:cNvSpPr/>
          <p:nvPr userDrawn="1"/>
        </p:nvSpPr>
        <p:spPr>
          <a:xfrm>
            <a:off x="0" y="0"/>
            <a:ext cx="9144000" cy="1447800"/>
          </a:xfrm>
          <a:prstGeom prst="rect">
            <a:avLst/>
          </a:prstGeom>
          <a:solidFill>
            <a:srgbClr val="215691"/>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457200">
              <a:defRPr/>
            </a:pPr>
            <a:endParaRPr lang="en-US" dirty="0">
              <a:solidFill>
                <a:prstClr val="white"/>
              </a:soli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68288" y="6367463"/>
            <a:ext cx="1169987"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0"/>
          <p:cNvSpPr txBox="1">
            <a:spLocks noChangeArrowheads="1"/>
          </p:cNvSpPr>
          <p:nvPr userDrawn="1"/>
        </p:nvSpPr>
        <p:spPr bwMode="auto">
          <a:xfrm>
            <a:off x="8420100" y="6629400"/>
            <a:ext cx="61436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eaLnBrk="1" hangingPunct="1">
              <a:defRPr/>
            </a:pPr>
            <a:r>
              <a:rPr lang="en-US" sz="900" dirty="0">
                <a:solidFill>
                  <a:srgbClr val="215691"/>
                </a:solidFill>
              </a:rPr>
              <a:t>Slide </a:t>
            </a:r>
            <a:fld id="{A9636F04-090E-4528-9B44-AFD9EB7C3E18}" type="slidenum">
              <a:rPr lang="en-US" sz="900" smtClean="0">
                <a:solidFill>
                  <a:srgbClr val="215691"/>
                </a:solidFill>
              </a:rPr>
              <a:pPr defTabSz="457200" eaLnBrk="1" hangingPunct="1">
                <a:defRPr/>
              </a:pPr>
              <a:t>‹#›</a:t>
            </a:fld>
            <a:endParaRPr lang="en-US" sz="900" dirty="0">
              <a:solidFill>
                <a:srgbClr val="215691"/>
              </a:solidFill>
            </a:endParaRPr>
          </a:p>
        </p:txBody>
      </p:sp>
      <p:cxnSp>
        <p:nvCxnSpPr>
          <p:cNvPr id="10" name="Straight Connector 48"/>
          <p:cNvCxnSpPr/>
          <p:nvPr userDrawn="1"/>
        </p:nvCxnSpPr>
        <p:spPr>
          <a:xfrm>
            <a:off x="457200" y="2392363"/>
            <a:ext cx="40386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49"/>
          <p:cNvCxnSpPr/>
          <p:nvPr userDrawn="1"/>
        </p:nvCxnSpPr>
        <p:spPr>
          <a:xfrm>
            <a:off x="4800600" y="2392363"/>
            <a:ext cx="403860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543800" y="30163"/>
            <a:ext cx="1573213"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bwMode="gray">
          <a:xfrm>
            <a:off x="0" y="228600"/>
            <a:ext cx="8229600" cy="1143000"/>
          </a:xfrm>
          <a:prstGeom prst="rect">
            <a:avLst/>
          </a:prstGeom>
        </p:spPr>
        <p:txBody>
          <a:bodyPr/>
          <a:lstStyle>
            <a:lvl1pPr algn="l">
              <a:defRPr/>
            </a:lvl1pPr>
          </a:lstStyle>
          <a:p>
            <a:r>
              <a:rPr lang="en-US" dirty="0"/>
              <a:t>Click to edit Master title style</a:t>
            </a:r>
          </a:p>
        </p:txBody>
      </p:sp>
      <p:sp>
        <p:nvSpPr>
          <p:cNvPr id="3" name="Text Placeholder 2"/>
          <p:cNvSpPr>
            <a:spLocks noGrp="1"/>
          </p:cNvSpPr>
          <p:nvPr>
            <p:ph type="body" idx="1"/>
          </p:nvPr>
        </p:nvSpPr>
        <p:spPr>
          <a:xfrm>
            <a:off x="457200" y="1676400"/>
            <a:ext cx="4267200" cy="639762"/>
          </a:xfrm>
        </p:spPr>
        <p:txBody>
          <a:bodyPr anchor="b">
            <a:noAutofit/>
          </a:bodyPr>
          <a:lstStyle>
            <a:lvl1pPr marL="0" indent="0">
              <a:lnSpc>
                <a:spcPts val="22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590800"/>
            <a:ext cx="3886200" cy="3382962"/>
          </a:xfrm>
        </p:spPr>
        <p:txBody>
          <a:bodyPr/>
          <a:lstStyle>
            <a:lvl1pPr marL="285750" indent="-285750" algn="l" defTabSz="914400" rtl="0" eaLnBrk="1" latinLnBrk="0" hangingPunct="1">
              <a:spcBef>
                <a:spcPct val="20000"/>
              </a:spcBef>
              <a:buClr>
                <a:schemeClr val="accent1"/>
              </a:buClr>
              <a:buFont typeface="Arial" pitchFamily="34" charset="0"/>
              <a:buChar char="•"/>
              <a:defRPr lang="en-US" sz="2000" b="0" kern="1200" dirty="0" smtClean="0">
                <a:solidFill>
                  <a:schemeClr val="tx1"/>
                </a:solidFill>
                <a:latin typeface="Arial" pitchFamily="34" charset="0"/>
                <a:ea typeface="+mn-ea"/>
                <a:cs typeface="Arial" pitchFamily="34" charset="0"/>
              </a:defRPr>
            </a:lvl1pPr>
            <a:lvl2pPr marL="512763" indent="-169863">
              <a:buClr>
                <a:schemeClr val="accent1"/>
              </a:buClr>
              <a:buFont typeface="Wingdings" pitchFamily="2" charset="2"/>
              <a:buChar char="§"/>
              <a:defRPr lang="en-US" sz="1800" b="0" kern="1200" dirty="0" smtClean="0">
                <a:solidFill>
                  <a:schemeClr val="tx1"/>
                </a:solidFill>
                <a:latin typeface="Arial" pitchFamily="34" charset="0"/>
                <a:ea typeface="+mn-ea"/>
                <a:cs typeface="Arial" pitchFamily="34" charset="0"/>
              </a:defRPr>
            </a:lvl2pPr>
            <a:lvl3pPr>
              <a:buClr>
                <a:schemeClr val="accent1"/>
              </a:buClr>
              <a:buFont typeface="Courier New" pitchFamily="49" charset="0"/>
              <a:buChar char="o"/>
              <a:defRPr lang="en-US" sz="1600" b="0" kern="1200" dirty="0" smtClean="0">
                <a:solidFill>
                  <a:schemeClr val="tx1"/>
                </a:solidFill>
                <a:latin typeface="Arial" pitchFamily="34" charset="0"/>
                <a:ea typeface="+mn-ea"/>
                <a:cs typeface="Arial" pitchFamily="34" charset="0"/>
              </a:defRPr>
            </a:lvl3pPr>
            <a:lvl4pPr>
              <a:buClr>
                <a:schemeClr val="accent1"/>
              </a:buClr>
              <a:defRPr lang="en-US" sz="1400" b="0" kern="1200" dirty="0" smtClean="0">
                <a:solidFill>
                  <a:schemeClr val="tx1"/>
                </a:solidFill>
                <a:latin typeface="Arial" pitchFamily="34" charset="0"/>
                <a:ea typeface="+mn-ea"/>
                <a:cs typeface="Arial" pitchFamily="34" charset="0"/>
              </a:defRPr>
            </a:lvl4pPr>
            <a:lvl5pPr>
              <a:buClr>
                <a:schemeClr val="accent1"/>
              </a:buClr>
              <a:defRPr lang="en-US" sz="120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4797425" y="1676400"/>
            <a:ext cx="4346575" cy="639762"/>
          </a:xfrm>
        </p:spPr>
        <p:txBody>
          <a:bodyPr anchor="b">
            <a:noAutofit/>
          </a:bodyPr>
          <a:lstStyle>
            <a:lvl1pPr marL="0" indent="0">
              <a:lnSpc>
                <a:spcPts val="2200"/>
              </a:lnSpc>
              <a:spcBef>
                <a:spcPts val="0"/>
              </a:spcBef>
              <a:buNone/>
              <a:defRPr lang="en-US" sz="2400" b="1" kern="1200" dirty="0" smtClean="0">
                <a:solidFill>
                  <a:schemeClr val="tx1"/>
                </a:solidFill>
                <a:latin typeface="Arial" pitchFamily="34" charset="0"/>
                <a:ea typeface="+mn-ea"/>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97425" y="2590800"/>
            <a:ext cx="3965575" cy="3382962"/>
          </a:xfrm>
        </p:spPr>
        <p:txBody>
          <a:bodyPr/>
          <a:lstStyle>
            <a:lvl1pPr marL="285750" indent="-285750" algn="l" defTabSz="914400" rtl="0" eaLnBrk="1" latinLnBrk="0" hangingPunct="1">
              <a:spcBef>
                <a:spcPct val="20000"/>
              </a:spcBef>
              <a:buClr>
                <a:schemeClr val="accent1"/>
              </a:buClr>
              <a:buFont typeface="Arial" pitchFamily="34" charset="0"/>
              <a:buChar char="•"/>
              <a:defRPr lang="en-US" sz="2000" b="0" kern="1200" dirty="0" smtClean="0">
                <a:solidFill>
                  <a:schemeClr val="tx1"/>
                </a:solidFill>
                <a:latin typeface="Arial" pitchFamily="34" charset="0"/>
                <a:ea typeface="+mn-ea"/>
                <a:cs typeface="Arial" pitchFamily="34" charset="0"/>
              </a:defRPr>
            </a:lvl1pPr>
            <a:lvl2pPr>
              <a:buClr>
                <a:schemeClr val="accent1"/>
              </a:buClr>
              <a:buFont typeface="Wingdings" pitchFamily="2" charset="2"/>
              <a:buChar char="§"/>
              <a:defRPr lang="en-US" sz="1800" b="0" kern="1200" dirty="0" smtClean="0">
                <a:solidFill>
                  <a:schemeClr val="tx1"/>
                </a:solidFill>
                <a:latin typeface="Arial" pitchFamily="34" charset="0"/>
                <a:ea typeface="+mn-ea"/>
                <a:cs typeface="Arial" pitchFamily="34" charset="0"/>
              </a:defRPr>
            </a:lvl2pPr>
            <a:lvl3pPr>
              <a:buClr>
                <a:schemeClr val="accent1"/>
              </a:buClr>
              <a:buFont typeface="Courier New" pitchFamily="49" charset="0"/>
              <a:buChar char="o"/>
              <a:defRPr lang="en-US" sz="1600" b="0" kern="1200" dirty="0" smtClean="0">
                <a:solidFill>
                  <a:schemeClr val="tx1"/>
                </a:solidFill>
                <a:latin typeface="Arial" pitchFamily="34" charset="0"/>
                <a:ea typeface="+mn-ea"/>
                <a:cs typeface="Arial" pitchFamily="34" charset="0"/>
              </a:defRPr>
            </a:lvl3pPr>
            <a:lvl4pPr>
              <a:buClr>
                <a:schemeClr val="accent1"/>
              </a:buClr>
              <a:defRPr lang="en-US" sz="1400" b="0" kern="1200" dirty="0" smtClean="0">
                <a:solidFill>
                  <a:schemeClr val="tx1"/>
                </a:solidFill>
                <a:latin typeface="Arial" pitchFamily="34" charset="0"/>
                <a:ea typeface="+mn-ea"/>
                <a:cs typeface="Arial" pitchFamily="34" charset="0"/>
              </a:defRPr>
            </a:lvl4pPr>
            <a:lvl5pPr>
              <a:buClr>
                <a:schemeClr val="accent1"/>
              </a:buClr>
              <a:defRPr lang="en-US" sz="1200" b="0" kern="1200" dirty="0" smtClean="0">
                <a:solidFill>
                  <a:schemeClr val="tx1"/>
                </a:solidFill>
                <a:latin typeface="Arial" pitchFamily="34" charset="0"/>
                <a:ea typeface="+mn-ea"/>
                <a:cs typeface="Arial"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8772015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10" name="Right Triangle 9"/>
          <p:cNvSpPr/>
          <p:nvPr/>
        </p:nvSpPr>
        <p:spPr>
          <a:xfrm>
            <a:off x="-1" y="4664147"/>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439" tIns="45719" rIns="91439" bIns="45719" anchor="ctr"/>
          <a:lstStyle/>
          <a:p>
            <a:pPr algn="ctr" defTabSz="457200"/>
            <a:endParaRPr lang="en-US" dirty="0">
              <a:solidFill>
                <a:prstClr val="white"/>
              </a:solidFill>
            </a:endParaRPr>
          </a:p>
        </p:txBody>
      </p:sp>
      <p:sp>
        <p:nvSpPr>
          <p:cNvPr id="9" name="Title 8"/>
          <p:cNvSpPr>
            <a:spLocks noGrp="1"/>
          </p:cNvSpPr>
          <p:nvPr>
            <p:ph type="ctrTitle"/>
          </p:nvPr>
        </p:nvSpPr>
        <p:spPr>
          <a:xfrm>
            <a:off x="685800" y="1752602"/>
            <a:ext cx="77724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a:t>Click to edit Master title style</a:t>
            </a:r>
          </a:p>
        </p:txBody>
      </p:sp>
      <p:sp>
        <p:nvSpPr>
          <p:cNvPr id="17" name="Subtitle 16"/>
          <p:cNvSpPr>
            <a:spLocks noGrp="1"/>
          </p:cNvSpPr>
          <p:nvPr>
            <p:ph type="subTitle" idx="1"/>
          </p:nvPr>
        </p:nvSpPr>
        <p:spPr>
          <a:xfrm>
            <a:off x="685800" y="3611607"/>
            <a:ext cx="7772400" cy="1199704"/>
          </a:xfrm>
        </p:spPr>
        <p:txBody>
          <a:bodyPr lIns="45719" rIns="45719"/>
          <a:lstStyle>
            <a:lvl1pPr marL="0" marR="64007" indent="0" algn="r">
              <a:buNone/>
              <a:defRPr>
                <a:solidFill>
                  <a:schemeClr val="tx2"/>
                </a:solidFill>
              </a:defRPr>
            </a:lvl1pPr>
            <a:lvl2pPr marL="457196" indent="0" algn="ctr">
              <a:buNone/>
            </a:lvl2pPr>
            <a:lvl3pPr marL="914391" indent="0" algn="ctr">
              <a:buNone/>
            </a:lvl3pPr>
            <a:lvl4pPr marL="1371587" indent="0" algn="ctr">
              <a:buNone/>
            </a:lvl4pPr>
            <a:lvl5pPr marL="1828782" indent="0" algn="ctr">
              <a:buNone/>
            </a:lvl5pPr>
            <a:lvl6pPr marL="2285978" indent="0" algn="ctr">
              <a:buNone/>
            </a:lvl6pPr>
            <a:lvl7pPr marL="2743173" indent="0" algn="ctr">
              <a:buNone/>
            </a:lvl7pPr>
            <a:lvl8pPr marL="3200368" indent="0" algn="ctr">
              <a:buNone/>
            </a:lvl8pPr>
            <a:lvl9pPr marL="3657563" indent="0" algn="ctr">
              <a:buNone/>
            </a:lvl9pPr>
            <a:extLst/>
          </a:lstStyle>
          <a:p>
            <a:r>
              <a:rPr kumimoji="0" lang="en-US"/>
              <a:t>Click to edit Master subtitle style</a:t>
            </a:r>
          </a:p>
        </p:txBody>
      </p:sp>
      <p:grpSp>
        <p:nvGrpSpPr>
          <p:cNvPr id="2" name="Group 1"/>
          <p:cNvGrpSpPr/>
          <p:nvPr/>
        </p:nvGrpSpPr>
        <p:grpSpPr>
          <a:xfrm>
            <a:off x="-3764" y="4953000"/>
            <a:ext cx="9147765"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pPr defTabSz="457200"/>
              <a:endParaRPr lang="en-US" dirty="0">
                <a:solidFill>
                  <a:srgbClr val="53565A"/>
                </a:solidFill>
              </a:endParaRPr>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pPr defTabSz="457200"/>
              <a:endParaRPr lang="en-US" dirty="0">
                <a:solidFill>
                  <a:srgbClr val="53565A"/>
                </a:solidFill>
              </a:endParaRPr>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cstate="email">
                <a:alphaModFix amt="50000"/>
                <a:extLst>
                  <a:ext uri="{28A0092B-C50C-407E-A947-70E740481C1C}">
                    <a14:useLocalDpi xmlns:a14="http://schemas.microsoft.com/office/drawing/2010/main"/>
                  </a:ext>
                </a:extLst>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algn="ctr" defTabSz="457200"/>
              <a:endParaRPr lang="en-US" dirty="0">
                <a:solidFill>
                  <a:prstClr val="white"/>
                </a:solidFill>
              </a:endParaRPr>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a:xfrm>
            <a:off x="6727032" y="6407944"/>
            <a:ext cx="1920240" cy="365760"/>
          </a:xfrm>
          <a:prstGeom prst="rect">
            <a:avLst/>
          </a:prstGeom>
        </p:spPr>
        <p:txBody>
          <a:bodyPr lIns="82296" tIns="41148" rIns="82296" bIns="41148"/>
          <a:lstStyle>
            <a:lvl1pPr>
              <a:defRPr>
                <a:solidFill>
                  <a:srgbClr val="FFFFFF"/>
                </a:solidFill>
              </a:defRPr>
            </a:lvl1pPr>
            <a:extLst/>
          </a:lstStyle>
          <a:p>
            <a:pPr defTabSz="457200"/>
            <a:fld id="{FA5860F2-7B2D-433C-96A1-2311BD8A272D}" type="datetime1">
              <a:rPr lang="en-US" smtClean="0"/>
              <a:pPr defTabSz="457200"/>
              <a:t>6/21/2018</a:t>
            </a:fld>
            <a:endParaRPr lang="en-US" dirty="0"/>
          </a:p>
        </p:txBody>
      </p:sp>
      <p:sp>
        <p:nvSpPr>
          <p:cNvPr id="19" name="Footer Placeholder 18"/>
          <p:cNvSpPr>
            <a:spLocks noGrp="1"/>
          </p:cNvSpPr>
          <p:nvPr>
            <p:ph type="ftr" sz="quarter" idx="11"/>
          </p:nvPr>
        </p:nvSpPr>
        <p:spPr>
          <a:xfrm>
            <a:off x="4380072" y="6407945"/>
            <a:ext cx="2350681" cy="365125"/>
          </a:xfrm>
          <a:prstGeom prst="rect">
            <a:avLst/>
          </a:prstGeom>
        </p:spPr>
        <p:txBody>
          <a:bodyPr lIns="82296" tIns="41148" rIns="82296" bIns="41148"/>
          <a:lstStyle>
            <a:lvl1pPr>
              <a:defRPr>
                <a:solidFill>
                  <a:schemeClr val="accent1">
                    <a:tint val="20000"/>
                  </a:schemeClr>
                </a:solidFill>
              </a:defRPr>
            </a:lvl1pPr>
            <a:extLst/>
          </a:lstStyle>
          <a:p>
            <a:pPr defTabSz="457200"/>
            <a:endParaRPr lang="en-US" dirty="0">
              <a:solidFill>
                <a:srgbClr val="007398">
                  <a:tint val="20000"/>
                </a:srgbClr>
              </a:solidFill>
            </a:endParaRPr>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fld id="{257FB39E-3097-418C-95DE-8F15F0DEDBBD}" type="slidenum">
              <a:rPr lang="en-US" smtClean="0"/>
              <a:pPr/>
              <a:t>‹#›</a:t>
            </a:fld>
            <a:endParaRPr lang="en-US" dirty="0"/>
          </a:p>
        </p:txBody>
      </p:sp>
    </p:spTree>
    <p:extLst>
      <p:ext uri="{BB962C8B-B14F-4D97-AF65-F5344CB8AC3E}">
        <p14:creationId xmlns:p14="http://schemas.microsoft.com/office/powerpoint/2010/main" val="36324321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Date Placeholder 3"/>
          <p:cNvSpPr>
            <a:spLocks noGrp="1"/>
          </p:cNvSpPr>
          <p:nvPr>
            <p:ph type="dt" sz="half" idx="10"/>
          </p:nvPr>
        </p:nvSpPr>
        <p:spPr>
          <a:xfrm>
            <a:off x="6727032" y="6407944"/>
            <a:ext cx="1920240" cy="365760"/>
          </a:xfrm>
          <a:prstGeom prst="rect">
            <a:avLst/>
          </a:prstGeom>
        </p:spPr>
        <p:txBody>
          <a:bodyPr lIns="82296" tIns="41148" rIns="82296" bIns="41148"/>
          <a:lstStyle/>
          <a:p>
            <a:pPr defTabSz="457200"/>
            <a:fld id="{2FE7073F-FDB9-4BA9-8D58-DA5455B6D169}" type="datetime1">
              <a:rPr lang="en-US">
                <a:solidFill>
                  <a:srgbClr val="53565A"/>
                </a:solidFill>
              </a:rPr>
              <a:pPr defTabSz="457200"/>
              <a:t>6/21/2018</a:t>
            </a:fld>
            <a:endParaRPr lang="en-US" dirty="0">
              <a:solidFill>
                <a:srgbClr val="53565A"/>
              </a:solidFill>
            </a:endParaRPr>
          </a:p>
        </p:txBody>
      </p:sp>
      <p:sp>
        <p:nvSpPr>
          <p:cNvPr id="5" name="Footer Placeholder 4"/>
          <p:cNvSpPr>
            <a:spLocks noGrp="1"/>
          </p:cNvSpPr>
          <p:nvPr>
            <p:ph type="ftr" sz="quarter" idx="11"/>
          </p:nvPr>
        </p:nvSpPr>
        <p:spPr>
          <a:xfrm>
            <a:off x="4380072" y="6407945"/>
            <a:ext cx="2350681" cy="365125"/>
          </a:xfrm>
          <a:prstGeom prst="rect">
            <a:avLst/>
          </a:prstGeom>
        </p:spPr>
        <p:txBody>
          <a:bodyPr lIns="82296" tIns="41148" rIns="82296" bIns="41148"/>
          <a:lstStyle/>
          <a:p>
            <a:pPr defTabSz="457200"/>
            <a:endParaRPr lang="en-US" dirty="0">
              <a:solidFill>
                <a:srgbClr val="53565A"/>
              </a:solidFill>
            </a:endParaRPr>
          </a:p>
        </p:txBody>
      </p:sp>
      <p:sp>
        <p:nvSpPr>
          <p:cNvPr id="6" name="Slide Number Placeholder 5"/>
          <p:cNvSpPr>
            <a:spLocks noGrp="1"/>
          </p:cNvSpPr>
          <p:nvPr>
            <p:ph type="sldNum" sz="quarter" idx="12"/>
          </p:nvPr>
        </p:nvSpPr>
        <p:spPr/>
        <p:txBody>
          <a:bodyPr/>
          <a:lstStyle/>
          <a:p>
            <a:fld id="{F5000E5D-2A97-49D7-A106-708ADB9618F5}" type="slidenum">
              <a:rPr lang="en-US" smtClean="0">
                <a:solidFill>
                  <a:prstClr val="white"/>
                </a:solidFill>
              </a:rPr>
              <a:pPr/>
              <a:t>‹#›</a:t>
            </a:fld>
            <a:endParaRPr lang="en-US" dirty="0">
              <a:solidFill>
                <a:prstClr val="white"/>
              </a:solidFill>
            </a:endParaRPr>
          </a:p>
        </p:txBody>
      </p:sp>
      <p:sp>
        <p:nvSpPr>
          <p:cNvPr id="7" name="Title 6"/>
          <p:cNvSpPr>
            <a:spLocks noGrp="1"/>
          </p:cNvSpPr>
          <p:nvPr>
            <p:ph type="title"/>
          </p:nvPr>
        </p:nvSpPr>
        <p:spPr/>
        <p:txBody>
          <a:bodyPr rtlCol="0"/>
          <a:lstStyle/>
          <a:p>
            <a:r>
              <a:rPr kumimoji="0" lang="en-US"/>
              <a:t>Click to edit Master title style</a:t>
            </a:r>
          </a:p>
        </p:txBody>
      </p:sp>
    </p:spTree>
    <p:extLst>
      <p:ext uri="{BB962C8B-B14F-4D97-AF65-F5344CB8AC3E}">
        <p14:creationId xmlns:p14="http://schemas.microsoft.com/office/powerpoint/2010/main" val="37488851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2400" b="1"/>
            </a:lvl1pPr>
          </a:lstStyle>
          <a:p>
            <a:r>
              <a:rPr lang="en-US" dirty="0"/>
              <a:t>Click to edit Master title style</a:t>
            </a:r>
          </a:p>
        </p:txBody>
      </p:sp>
      <p:sp>
        <p:nvSpPr>
          <p:cNvPr id="5" name="Content Placeholder 1"/>
          <p:cNvSpPr>
            <a:spLocks noGrp="1"/>
          </p:cNvSpPr>
          <p:nvPr>
            <p:ph idx="1"/>
          </p:nvPr>
        </p:nvSpPr>
        <p:spPr>
          <a:xfrm>
            <a:off x="457198" y="1500110"/>
            <a:ext cx="8238319" cy="4898146"/>
          </a:xfrm>
        </p:spPr>
        <p:txBody>
          <a:bodyPr/>
          <a:lstStyle>
            <a:lvl1pPr>
              <a:defRPr sz="2000" b="0">
                <a:solidFill>
                  <a:srgbClr val="53565A"/>
                </a:solidFill>
                <a:latin typeface="Arial"/>
                <a:cs typeface="Arial"/>
              </a:defRPr>
            </a:lvl1pPr>
            <a:lvl2pPr>
              <a:defRPr sz="1800" b="0">
                <a:solidFill>
                  <a:srgbClr val="53565A"/>
                </a:solidFill>
                <a:latin typeface="Arial"/>
                <a:cs typeface="Arial"/>
              </a:defRPr>
            </a:lvl2pPr>
            <a:lvl3pPr>
              <a:defRPr sz="1600" b="0">
                <a:solidFill>
                  <a:srgbClr val="53565A"/>
                </a:solidFill>
                <a:latin typeface="Arial"/>
                <a:cs typeface="Arial"/>
              </a:defRPr>
            </a:lvl3pPr>
            <a:lvl4pPr>
              <a:defRPr sz="1400" b="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9" name="Slide Number Placeholder 7"/>
          <p:cNvSpPr>
            <a:spLocks noGrp="1"/>
          </p:cNvSpPr>
          <p:nvPr>
            <p:ph type="sldNum" sz="quarter" idx="4"/>
          </p:nvPr>
        </p:nvSpPr>
        <p:spPr>
          <a:xfrm>
            <a:off x="8548008" y="60333"/>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6747406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82348"/>
            <a:ext cx="5485393" cy="827935"/>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374700"/>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86252326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_Alternate Title and Content (No Watermark)">
    <p:spTree>
      <p:nvGrpSpPr>
        <p:cNvPr id="1" name=""/>
        <p:cNvGrpSpPr/>
        <p:nvPr/>
      </p:nvGrpSpPr>
      <p:grpSpPr>
        <a:xfrm>
          <a:off x="0" y="0"/>
          <a:ext cx="0" cy="0"/>
          <a:chOff x="0" y="0"/>
          <a:chExt cx="0" cy="0"/>
        </a:xfrm>
      </p:grpSpPr>
      <p:sp>
        <p:nvSpPr>
          <p:cNvPr id="2" name="Rectangle 1"/>
          <p:cNvSpPr/>
          <p:nvPr userDrawn="1"/>
        </p:nvSpPr>
        <p:spPr>
          <a:xfrm>
            <a:off x="3276600" y="0"/>
            <a:ext cx="5867400" cy="64262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sp>
        <p:nvSpPr>
          <p:cNvPr id="7" name="Title 1"/>
          <p:cNvSpPr>
            <a:spLocks noGrp="1"/>
          </p:cNvSpPr>
          <p:nvPr>
            <p:ph type="title"/>
          </p:nvPr>
        </p:nvSpPr>
        <p:spPr>
          <a:xfrm>
            <a:off x="457200" y="147638"/>
            <a:ext cx="8229600" cy="855662"/>
          </a:xfrm>
          <a:prstGeom prst="rect">
            <a:avLst/>
          </a:prstGeom>
        </p:spPr>
        <p:txBody>
          <a:bodyPr/>
          <a:lstStyle>
            <a:lvl1pPr>
              <a:defRPr sz="4000">
                <a:solidFill>
                  <a:srgbClr val="E1810F"/>
                </a:solidFill>
                <a:latin typeface="Memphis Medium"/>
                <a:cs typeface="Memphis Medium"/>
              </a:defRPr>
            </a:lvl1pPr>
          </a:lstStyle>
          <a:p>
            <a:r>
              <a:rPr lang="en-US" dirty="0"/>
              <a:t>Click to edit Master title style</a:t>
            </a:r>
          </a:p>
        </p:txBody>
      </p:sp>
      <p:sp>
        <p:nvSpPr>
          <p:cNvPr id="8" name="Content Placeholder 2"/>
          <p:cNvSpPr>
            <a:spLocks noGrp="1"/>
          </p:cNvSpPr>
          <p:nvPr>
            <p:ph idx="1"/>
          </p:nvPr>
        </p:nvSpPr>
        <p:spPr>
          <a:xfrm>
            <a:off x="457200" y="1600200"/>
            <a:ext cx="8229600" cy="4525963"/>
          </a:xfrm>
          <a:prstGeom prst="rect">
            <a:avLst/>
          </a:prstGeom>
        </p:spPr>
        <p:txBody>
          <a:bodyPr/>
          <a:lstStyle>
            <a:lvl1pPr marL="342900" indent="-342900">
              <a:buClr>
                <a:schemeClr val="accent6"/>
              </a:buClr>
              <a:buFont typeface="Arial"/>
              <a:buChar char="•"/>
              <a:defRPr>
                <a:solidFill>
                  <a:schemeClr val="tx1">
                    <a:lumMod val="65000"/>
                    <a:lumOff val="35000"/>
                  </a:schemeClr>
                </a:solidFill>
                <a:latin typeface="+mn-lt"/>
              </a:defRPr>
            </a:lvl1pPr>
            <a:lvl2pPr>
              <a:buClr>
                <a:srgbClr val="E1810F"/>
              </a:buClr>
              <a:defRPr>
                <a:solidFill>
                  <a:schemeClr val="tx1">
                    <a:lumMod val="65000"/>
                    <a:lumOff val="35000"/>
                  </a:schemeClr>
                </a:solidFill>
              </a:defRPr>
            </a:lvl2pPr>
            <a:lvl3pPr>
              <a:buClr>
                <a:srgbClr val="E1810F"/>
              </a:buClr>
              <a:defRPr>
                <a:solidFill>
                  <a:schemeClr val="tx1">
                    <a:lumMod val="65000"/>
                    <a:lumOff val="35000"/>
                  </a:schemeClr>
                </a:solidFill>
              </a:defRPr>
            </a:lvl3pPr>
            <a:lvl4pPr>
              <a:buClr>
                <a:srgbClr val="E1810F"/>
              </a:buClr>
              <a:defRPr>
                <a:solidFill>
                  <a:schemeClr val="tx1">
                    <a:lumMod val="65000"/>
                    <a:lumOff val="35000"/>
                  </a:schemeClr>
                </a:solidFill>
              </a:defRPr>
            </a:lvl4pPr>
            <a:lvl5pPr>
              <a:buClr>
                <a:srgbClr val="E1810F"/>
              </a:buCl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4"/>
          <p:cNvSpPr>
            <a:spLocks noGrp="1"/>
          </p:cNvSpPr>
          <p:nvPr>
            <p:ph type="ftr" sz="quarter" idx="3"/>
          </p:nvPr>
        </p:nvSpPr>
        <p:spPr>
          <a:xfrm>
            <a:off x="88900" y="6464300"/>
            <a:ext cx="2895600" cy="365125"/>
          </a:xfrm>
          <a:prstGeom prst="rect">
            <a:avLst/>
          </a:prstGeom>
        </p:spPr>
        <p:txBody>
          <a:bodyPr/>
          <a:lstStyle>
            <a:lvl1pPr>
              <a:defRPr sz="1000"/>
            </a:lvl1pPr>
          </a:lstStyle>
          <a:p>
            <a:pPr defTabSz="457200"/>
            <a:r>
              <a:rPr lang="en-US" dirty="0">
                <a:solidFill>
                  <a:prstClr val="white"/>
                </a:solidFill>
                <a:cs typeface="Arial"/>
              </a:rPr>
              <a:t>© 2013 Elsevier  – Proprietary and Confidential</a:t>
            </a:r>
          </a:p>
          <a:p>
            <a:pPr defTabSz="457200"/>
            <a:endParaRPr lang="en-US" dirty="0">
              <a:solidFill>
                <a:srgbClr val="53565A"/>
              </a:solidFill>
            </a:endParaRPr>
          </a:p>
        </p:txBody>
      </p:sp>
    </p:spTree>
    <p:extLst>
      <p:ext uri="{BB962C8B-B14F-4D97-AF65-F5344CB8AC3E}">
        <p14:creationId xmlns:p14="http://schemas.microsoft.com/office/powerpoint/2010/main" val="356069356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emplate_Blank">
    <p:spTree>
      <p:nvGrpSpPr>
        <p:cNvPr id="1" name=""/>
        <p:cNvGrpSpPr/>
        <p:nvPr/>
      </p:nvGrpSpPr>
      <p:grpSpPr>
        <a:xfrm>
          <a:off x="0" y="0"/>
          <a:ext cx="0" cy="0"/>
          <a:chOff x="0" y="0"/>
          <a:chExt cx="0" cy="0"/>
        </a:xfrm>
      </p:grpSpPr>
      <p:sp>
        <p:nvSpPr>
          <p:cNvPr id="3" name="Text Placeholder 13"/>
          <p:cNvSpPr>
            <a:spLocks noGrp="1"/>
          </p:cNvSpPr>
          <p:nvPr>
            <p:ph type="body" sz="quarter" idx="10" hasCustomPrompt="1"/>
          </p:nvPr>
        </p:nvSpPr>
        <p:spPr>
          <a:xfrm>
            <a:off x="457200" y="533400"/>
            <a:ext cx="8229632" cy="594360"/>
          </a:xfrm>
          <a:prstGeom prst="rect">
            <a:avLst/>
          </a:prstGeom>
        </p:spPr>
        <p:txBody>
          <a:bodyPr>
            <a:noAutofit/>
          </a:bodyPr>
          <a:lstStyle>
            <a:lvl1pPr marL="0" indent="0">
              <a:buNone/>
              <a:defRPr sz="20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dirty="0"/>
              <a:t>Title of Slide</a:t>
            </a:r>
          </a:p>
        </p:txBody>
      </p:sp>
    </p:spTree>
    <p:extLst>
      <p:ext uri="{BB962C8B-B14F-4D97-AF65-F5344CB8AC3E}">
        <p14:creationId xmlns:p14="http://schemas.microsoft.com/office/powerpoint/2010/main" val="288341962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p>
        </p:txBody>
      </p:sp>
    </p:spTree>
    <p:extLst>
      <p:ext uri="{BB962C8B-B14F-4D97-AF65-F5344CB8AC3E}">
        <p14:creationId xmlns:p14="http://schemas.microsoft.com/office/powerpoint/2010/main" val="33858459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41384502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53981"/>
            <a:ext cx="3912178" cy="518663"/>
          </a:xfrm>
          <a:prstGeom prst="rect">
            <a:avLst/>
          </a:prstGeom>
        </p:spPr>
        <p:txBody>
          <a:bodyPr/>
          <a:lstStyle>
            <a:lvl1pPr marL="0" indent="0">
              <a:buNone/>
              <a:defRPr sz="20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5" name="Picture 14" descr="placeholder-vector.png"/>
          <p:cNvPicPr>
            <a:picLocks noChangeAspect="1"/>
          </p:cNvPicPr>
          <p:nvPr/>
        </p:nvPicPr>
        <p:blipFill>
          <a:blip r:embed="rId3" cstate="print"/>
          <a:stretch>
            <a:fillRect/>
          </a:stretch>
        </p:blipFill>
        <p:spPr>
          <a:xfrm>
            <a:off x="0" y="0"/>
            <a:ext cx="4572000" cy="6858000"/>
          </a:xfrm>
          <a:prstGeom prst="rect">
            <a:avLst/>
          </a:prstGeom>
        </p:spPr>
      </p:pic>
      <p:pic>
        <p:nvPicPr>
          <p:cNvPr id="9" name="Picture 8"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11" name="Picture 10"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3035104933"/>
      </p:ext>
    </p:extLst>
  </p:cSld>
  <p:clrMapOvr>
    <a:masterClrMapping/>
  </p:clrMapOvr>
  <p:hf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55955393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8"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203371656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51349969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dirty="0"/>
              <a:t>Click to edit Master title style</a:t>
            </a:r>
          </a:p>
        </p:txBody>
      </p:sp>
    </p:spTree>
    <p:extLst>
      <p:ext uri="{BB962C8B-B14F-4D97-AF65-F5344CB8AC3E}">
        <p14:creationId xmlns:p14="http://schemas.microsoft.com/office/powerpoint/2010/main" val="26014976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
        <p:nvSpPr>
          <p:cNvPr id="2" name="Rectangle 1"/>
          <p:cNvSpPr/>
          <p:nvPr userDrawn="1"/>
        </p:nvSpPr>
        <p:spPr>
          <a:xfrm>
            <a:off x="0" y="6393071"/>
            <a:ext cx="4572000" cy="461665"/>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tab pos="3086100" algn="ctr"/>
                <a:tab pos="4572000" algn="r"/>
                <a:tab pos="5715000" algn="l"/>
                <a:tab pos="8915400" algn="l"/>
              </a:tabLst>
            </a:pPr>
            <a:r>
              <a:rPr kumimoji="0" lang="en-US" altLang="en-US" sz="800" b="0" i="0" u="none" strike="noStrike" cap="none" normalizeH="0" baseline="0" dirty="0">
                <a:ln>
                  <a:noFill/>
                </a:ln>
                <a:solidFill>
                  <a:schemeClr val="tx1"/>
                </a:solidFill>
                <a:effectLst/>
                <a:latin typeface="Calibri" pitchFamily="34" charset="0"/>
                <a:ea typeface="Times New Roman" pitchFamily="18" charset="0"/>
                <a:cs typeface="Calibri" pitchFamily="34" charset="0"/>
              </a:rPr>
              <a:t>INTERNAL USE ONLY- NOT FOR DISTRIBUTION</a:t>
            </a:r>
          </a:p>
          <a:p>
            <a:pPr marL="0" marR="0" lvl="0" indent="0" algn="l" defTabSz="914400" rtl="0" eaLnBrk="1" fontAlgn="base" latinLnBrk="0" hangingPunct="1">
              <a:lnSpc>
                <a:spcPct val="100000"/>
              </a:lnSpc>
              <a:spcBef>
                <a:spcPct val="0"/>
              </a:spcBef>
              <a:spcAft>
                <a:spcPct val="0"/>
              </a:spcAft>
              <a:buClrTx/>
              <a:buSzTx/>
              <a:buFontTx/>
              <a:buNone/>
              <a:tabLst>
                <a:tab pos="3086100" algn="ctr"/>
                <a:tab pos="4572000" algn="r"/>
                <a:tab pos="5715000" algn="l"/>
                <a:tab pos="8915400" algn="l"/>
              </a:tabLst>
              <a:defRPr/>
            </a:pPr>
            <a:r>
              <a:rPr kumimoji="0" lang="en-US" altLang="en-US" sz="800" b="0" i="0" u="none" strike="noStrike" cap="none" normalizeH="0" baseline="0" dirty="0">
                <a:ln>
                  <a:noFill/>
                </a:ln>
                <a:solidFill>
                  <a:schemeClr val="tx1"/>
                </a:solidFill>
                <a:effectLst/>
                <a:latin typeface="Cambria" pitchFamily="18" charset="0"/>
                <a:ea typeface="Times New Roman" pitchFamily="18" charset="0"/>
                <a:cs typeface="Times New Roman" pitchFamily="18" charset="0"/>
              </a:rPr>
              <a:t>Copyright © 2015, Elsevier, Inc.  All rights reserved</a:t>
            </a: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tab pos="3086100" algn="ctr"/>
                <a:tab pos="4572000" algn="r"/>
                <a:tab pos="5715000" algn="l"/>
                <a:tab pos="8915400" algn="l"/>
              </a:tabLst>
            </a:pPr>
            <a:endParaRPr kumimoji="0" lang="en-US" altLang="en-US" sz="800" b="0" i="0" u="none" strike="noStrike" cap="none" normalizeH="0" baseline="0" dirty="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32724181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0" y="6597651"/>
            <a:ext cx="1259026" cy="258763"/>
          </a:xfrm>
          <a:prstGeom prst="rect">
            <a:avLst/>
          </a:prstGeom>
        </p:spPr>
        <p:txBody>
          <a:bodyPr/>
          <a:lstStyle>
            <a:lvl1pPr>
              <a:defRPr smtClean="0"/>
            </a:lvl1pPr>
          </a:lstStyle>
          <a:p>
            <a:pPr defTabSz="457200">
              <a:defRPr/>
            </a:pPr>
            <a:r>
              <a:rPr lang="en-US">
                <a:solidFill>
                  <a:srgbClr val="53565A"/>
                </a:solidFill>
              </a:rPr>
              <a:t>Page </a:t>
            </a:r>
            <a:fld id="{99A9CF16-CB93-4052-8131-B0204C060221}" type="slidenum">
              <a:rPr lang="en-US">
                <a:solidFill>
                  <a:srgbClr val="53565A"/>
                </a:solidFill>
              </a:rPr>
              <a:pPr defTabSz="457200">
                <a:defRPr/>
              </a:pPr>
              <a:t>‹#›</a:t>
            </a:fld>
            <a:endParaRPr lang="en-US">
              <a:solidFill>
                <a:srgbClr val="53565A"/>
              </a:solidFill>
            </a:endParaRPr>
          </a:p>
        </p:txBody>
      </p:sp>
    </p:spTree>
    <p:extLst>
      <p:ext uri="{BB962C8B-B14F-4D97-AF65-F5344CB8AC3E}">
        <p14:creationId xmlns:p14="http://schemas.microsoft.com/office/powerpoint/2010/main" val="167886244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ftr" sz="quarter" idx="10"/>
          </p:nvPr>
        </p:nvSpPr>
        <p:spPr>
          <a:xfrm>
            <a:off x="1371600" y="6477000"/>
            <a:ext cx="1676400" cy="304800"/>
          </a:xfrm>
          <a:prstGeom prst="rect">
            <a:avLst/>
          </a:prstGeom>
          <a:ln/>
        </p:spPr>
        <p:txBody>
          <a:bodyPr/>
          <a:lstStyle>
            <a:lvl1pPr>
              <a:defRPr/>
            </a:lvl1pPr>
          </a:lstStyle>
          <a:p>
            <a:pPr defTabSz="457200">
              <a:defRPr/>
            </a:pPr>
            <a:endParaRPr lang="en-US" altLang="en-US">
              <a:solidFill>
                <a:srgbClr val="53565A"/>
              </a:solidFill>
            </a:endParaRPr>
          </a:p>
        </p:txBody>
      </p:sp>
      <p:sp>
        <p:nvSpPr>
          <p:cNvPr id="6" name="Slide Number Placeholder 5"/>
          <p:cNvSpPr>
            <a:spLocks noGrp="1"/>
          </p:cNvSpPr>
          <p:nvPr>
            <p:ph type="sldNum" sz="quarter" idx="11"/>
          </p:nvPr>
        </p:nvSpPr>
        <p:spPr>
          <a:xfrm>
            <a:off x="7150100" y="3437"/>
            <a:ext cx="1855108" cy="327933"/>
          </a:xfrm>
          <a:prstGeom prst="rect">
            <a:avLst/>
          </a:prstGeom>
          <a:solidFill>
            <a:srgbClr val="FF8200"/>
          </a:solidFill>
        </p:spPr>
        <p:txBody>
          <a:bodyPr/>
          <a:lstStyle/>
          <a:p>
            <a:pPr defTabSz="457200"/>
            <a:fld id="{DA15E891-66B8-4B28-AB8F-05A4B1DE573C}" type="slidenum">
              <a:rPr lang="en-US" smtClean="0">
                <a:solidFill>
                  <a:srgbClr val="53565A"/>
                </a:solidFill>
              </a:rPr>
              <a:pPr defTabSz="457200"/>
              <a:t>‹#›</a:t>
            </a:fld>
            <a:endParaRPr lang="en-US" dirty="0">
              <a:solidFill>
                <a:srgbClr val="53565A"/>
              </a:solidFill>
            </a:endParaRPr>
          </a:p>
        </p:txBody>
      </p:sp>
    </p:spTree>
    <p:extLst>
      <p:ext uri="{BB962C8B-B14F-4D97-AF65-F5344CB8AC3E}">
        <p14:creationId xmlns:p14="http://schemas.microsoft.com/office/powerpoint/2010/main" val="398185728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Alternate Title and Content (No Watermark)">
    <p:spTree>
      <p:nvGrpSpPr>
        <p:cNvPr id="1" name=""/>
        <p:cNvGrpSpPr/>
        <p:nvPr/>
      </p:nvGrpSpPr>
      <p:grpSpPr>
        <a:xfrm>
          <a:off x="0" y="0"/>
          <a:ext cx="0" cy="0"/>
          <a:chOff x="0" y="0"/>
          <a:chExt cx="0" cy="0"/>
        </a:xfrm>
      </p:grpSpPr>
      <p:sp>
        <p:nvSpPr>
          <p:cNvPr id="7" name="Title 1"/>
          <p:cNvSpPr>
            <a:spLocks noGrp="1"/>
          </p:cNvSpPr>
          <p:nvPr>
            <p:ph type="title"/>
          </p:nvPr>
        </p:nvSpPr>
        <p:spPr>
          <a:xfrm>
            <a:off x="457200" y="297763"/>
            <a:ext cx="8229600" cy="855662"/>
          </a:xfrm>
          <a:prstGeom prst="rect">
            <a:avLst/>
          </a:prstGeom>
        </p:spPr>
        <p:txBody>
          <a:bodyPr/>
          <a:lstStyle>
            <a:lvl1pPr algn="ctr">
              <a:defRPr sz="3600">
                <a:solidFill>
                  <a:srgbClr val="F89628"/>
                </a:solidFill>
                <a:latin typeface="+mj-lt"/>
                <a:cs typeface="Memphis Medium"/>
              </a:defRPr>
            </a:lvl1pPr>
          </a:lstStyle>
          <a:p>
            <a:r>
              <a:rPr lang="en-US" dirty="0"/>
              <a:t>Click to edit Master title style</a:t>
            </a:r>
          </a:p>
        </p:txBody>
      </p:sp>
      <p:sp>
        <p:nvSpPr>
          <p:cNvPr id="8" name="Content Placeholder 2"/>
          <p:cNvSpPr>
            <a:spLocks noGrp="1"/>
          </p:cNvSpPr>
          <p:nvPr>
            <p:ph idx="1"/>
          </p:nvPr>
        </p:nvSpPr>
        <p:spPr>
          <a:xfrm>
            <a:off x="457200" y="1531960"/>
            <a:ext cx="8229600" cy="4525963"/>
          </a:xfrm>
          <a:prstGeom prst="rect">
            <a:avLst/>
          </a:prstGeom>
        </p:spPr>
        <p:txBody>
          <a:bodyPr/>
          <a:lstStyle>
            <a:lvl1pPr marL="342900" indent="-342900">
              <a:buClr>
                <a:srgbClr val="F89628"/>
              </a:buClr>
              <a:buFont typeface="Arial"/>
              <a:buChar char="•"/>
              <a:defRPr sz="2800">
                <a:solidFill>
                  <a:schemeClr val="tx1">
                    <a:lumMod val="65000"/>
                    <a:lumOff val="35000"/>
                  </a:schemeClr>
                </a:solidFill>
                <a:latin typeface="+mn-lt"/>
              </a:defRPr>
            </a:lvl1pPr>
            <a:lvl2pPr>
              <a:buClr>
                <a:srgbClr val="F89628"/>
              </a:buClr>
              <a:defRPr sz="2400">
                <a:solidFill>
                  <a:schemeClr val="tx1">
                    <a:lumMod val="65000"/>
                    <a:lumOff val="35000"/>
                  </a:schemeClr>
                </a:solidFill>
              </a:defRPr>
            </a:lvl2pPr>
            <a:lvl3pPr>
              <a:buClr>
                <a:srgbClr val="F89628"/>
              </a:buClr>
              <a:defRPr sz="2000">
                <a:solidFill>
                  <a:schemeClr val="tx1">
                    <a:lumMod val="65000"/>
                    <a:lumOff val="35000"/>
                  </a:schemeClr>
                </a:solidFill>
              </a:defRPr>
            </a:lvl3pPr>
            <a:lvl4pPr>
              <a:buClr>
                <a:srgbClr val="F89628"/>
              </a:buClr>
              <a:defRPr sz="1800">
                <a:solidFill>
                  <a:schemeClr val="tx1">
                    <a:lumMod val="65000"/>
                    <a:lumOff val="35000"/>
                  </a:schemeClr>
                </a:solidFill>
              </a:defRPr>
            </a:lvl4pPr>
            <a:lvl5pPr>
              <a:buClr>
                <a:srgbClr val="F89628"/>
              </a:buClr>
              <a:defRPr sz="1800">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2"/>
          </p:nvPr>
        </p:nvSpPr>
        <p:spPr>
          <a:xfrm>
            <a:off x="457200" y="6472462"/>
            <a:ext cx="1763305" cy="365125"/>
          </a:xfrm>
          <a:prstGeom prst="rect">
            <a:avLst/>
          </a:prstGeom>
        </p:spPr>
        <p:txBody>
          <a:bodyPr/>
          <a:lstStyle>
            <a:lvl1pPr>
              <a:defRPr>
                <a:solidFill>
                  <a:schemeClr val="bg1"/>
                </a:solidFill>
              </a:defRPr>
            </a:lvl1pPr>
          </a:lstStyle>
          <a:p>
            <a:pPr defTabSz="457200"/>
            <a:fld id="{5A6A2FEF-98F7-C44D-858E-AE3555426219}"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0521266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452438"/>
            <a:ext cx="8229600" cy="1143000"/>
          </a:xfrm>
          <a:prstGeom prst="rect">
            <a:avLst/>
          </a:prstGeom>
        </p:spPr>
        <p:txBody>
          <a:bodyPr/>
          <a:lstStyle>
            <a:lvl1pPr>
              <a:defRPr>
                <a:solidFill>
                  <a:srgbClr val="E1810F"/>
                </a:solidFill>
                <a:latin typeface="Memphis Medium"/>
                <a:cs typeface="Memphis Medium"/>
              </a:defRPr>
            </a:lvl1p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Clr>
                <a:schemeClr val="accent6"/>
              </a:buClr>
              <a:buFont typeface="Arial"/>
              <a:buChar char="•"/>
              <a:defRPr>
                <a:solidFill>
                  <a:schemeClr val="tx1">
                    <a:lumMod val="65000"/>
                    <a:lumOff val="35000"/>
                  </a:schemeClr>
                </a:solidFill>
                <a:latin typeface="+mn-lt"/>
              </a:defRPr>
            </a:lvl1pPr>
            <a:lvl2pPr>
              <a:buClr>
                <a:srgbClr val="E1810F"/>
              </a:buClr>
              <a:defRPr>
                <a:solidFill>
                  <a:schemeClr val="tx1">
                    <a:lumMod val="65000"/>
                    <a:lumOff val="35000"/>
                  </a:schemeClr>
                </a:solidFill>
              </a:defRPr>
            </a:lvl2pPr>
            <a:lvl3pPr>
              <a:buClr>
                <a:srgbClr val="E1810F"/>
              </a:buClr>
              <a:defRPr>
                <a:solidFill>
                  <a:schemeClr val="tx1">
                    <a:lumMod val="65000"/>
                    <a:lumOff val="35000"/>
                  </a:schemeClr>
                </a:solidFill>
              </a:defRPr>
            </a:lvl3pPr>
            <a:lvl4pPr>
              <a:buClr>
                <a:srgbClr val="E1810F"/>
              </a:buClr>
              <a:defRPr>
                <a:solidFill>
                  <a:schemeClr val="tx1">
                    <a:lumMod val="65000"/>
                    <a:lumOff val="35000"/>
                  </a:schemeClr>
                </a:solidFill>
              </a:defRPr>
            </a:lvl4pPr>
            <a:lvl5pPr>
              <a:buClr>
                <a:srgbClr val="E1810F"/>
              </a:buCl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505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sp>
        <p:nvSpPr>
          <p:cNvPr id="5"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a:t>Section Title And Multiple Lines If Necessary</a:t>
            </a:r>
          </a:p>
        </p:txBody>
      </p:sp>
      <p:pic>
        <p:nvPicPr>
          <p:cNvPr id="6" name="Picture 2" descr="C:\Users\IversonS\Desktop\Elsevier Education\Education Branding\Illustrations\Elsevier_World_Health_aw.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0" y="0"/>
            <a:ext cx="4779264" cy="6870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48454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p:nvPicPr>
        <p:blipFill>
          <a:blip r:embed="rId2" cstate="print"/>
          <a:stretch>
            <a:fillRect/>
          </a:stretch>
        </p:blipFill>
        <p:spPr>
          <a:xfrm>
            <a:off x="-12939" y="0"/>
            <a:ext cx="3202147" cy="6858000"/>
          </a:xfrm>
          <a:prstGeom prst="rect">
            <a:avLst/>
          </a:prstGeom>
        </p:spPr>
      </p:pic>
      <p:sp>
        <p:nvSpPr>
          <p:cNvPr id="8" name="Rectangle 7"/>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7"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9"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pic>
        <p:nvPicPr>
          <p:cNvPr id="10" name="Picture 9" descr="placeholder-vector.png"/>
          <p:cNvPicPr>
            <a:picLocks noChangeAspect="1"/>
          </p:cNvPicPr>
          <p:nvPr/>
        </p:nvPicPr>
        <p:blipFill>
          <a:blip r:embed="rId2" cstate="print"/>
          <a:stretch>
            <a:fillRect/>
          </a:stretch>
        </p:blipFill>
        <p:spPr>
          <a:xfrm>
            <a:off x="-12939" y="0"/>
            <a:ext cx="3202147" cy="6858000"/>
          </a:xfrm>
          <a:prstGeom prst="rect">
            <a:avLst/>
          </a:prstGeom>
        </p:spPr>
      </p:pic>
      <p:sp>
        <p:nvSpPr>
          <p:cNvPr id="14" name="Rectangle 13"/>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pic>
        <p:nvPicPr>
          <p:cNvPr id="16" name="Picture 1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2225438207"/>
      </p:ext>
    </p:extLst>
  </p:cSld>
  <p:clrMapOvr>
    <a:masterClrMapping/>
  </p:clrMapOvr>
  <p:hf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p>
        </p:txBody>
      </p:sp>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19359" y="6511345"/>
            <a:ext cx="1314090" cy="218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9556480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19359" y="6511345"/>
            <a:ext cx="1314090" cy="218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441820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19359" y="6511345"/>
            <a:ext cx="1314090" cy="218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626443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19359" y="6511345"/>
            <a:ext cx="1314090" cy="218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440876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19359" y="6511345"/>
            <a:ext cx="1314090" cy="218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991112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dirty="0"/>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dirty="0"/>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dirty="0"/>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dirty="0"/>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dirty="0"/>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dirty="0"/>
          </a:p>
        </p:txBody>
      </p:sp>
      <p:sp>
        <p:nvSpPr>
          <p:cNvPr id="13" name="Title 1"/>
          <p:cNvSpPr>
            <a:spLocks noGrp="1"/>
          </p:cNvSpPr>
          <p:nvPr>
            <p:ph type="title"/>
          </p:nvPr>
        </p:nvSpPr>
        <p:spPr>
          <a:xfrm>
            <a:off x="457199" y="705204"/>
            <a:ext cx="8238319" cy="418645"/>
          </a:xfrm>
        </p:spPr>
        <p:txBody>
          <a:bodyPr/>
          <a:lstStyle/>
          <a:p>
            <a:r>
              <a:rPr lang="en-US" dirty="0"/>
              <a:t>Click to edit Master title style</a:t>
            </a:r>
          </a:p>
        </p:txBody>
      </p:sp>
      <p:pic>
        <p:nvPicPr>
          <p:cNvPr id="1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19359" y="6511345"/>
            <a:ext cx="1314090" cy="218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8001507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Alternate Title and Content (No Watermark)">
    <p:spTree>
      <p:nvGrpSpPr>
        <p:cNvPr id="1" name=""/>
        <p:cNvGrpSpPr/>
        <p:nvPr/>
      </p:nvGrpSpPr>
      <p:grpSpPr>
        <a:xfrm>
          <a:off x="0" y="0"/>
          <a:ext cx="0" cy="0"/>
          <a:chOff x="0" y="0"/>
          <a:chExt cx="0" cy="0"/>
        </a:xfrm>
      </p:grpSpPr>
      <p:sp>
        <p:nvSpPr>
          <p:cNvPr id="2" name="Rectangle 1"/>
          <p:cNvSpPr/>
          <p:nvPr userDrawn="1"/>
        </p:nvSpPr>
        <p:spPr>
          <a:xfrm>
            <a:off x="3276600" y="0"/>
            <a:ext cx="5867400" cy="612616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itle 1"/>
          <p:cNvSpPr>
            <a:spLocks noGrp="1"/>
          </p:cNvSpPr>
          <p:nvPr>
            <p:ph type="title"/>
          </p:nvPr>
        </p:nvSpPr>
        <p:spPr>
          <a:xfrm>
            <a:off x="457200" y="147638"/>
            <a:ext cx="5753100" cy="855662"/>
          </a:xfrm>
          <a:prstGeom prst="rect">
            <a:avLst/>
          </a:prstGeom>
        </p:spPr>
        <p:txBody>
          <a:bodyPr/>
          <a:lstStyle>
            <a:lvl1pPr algn="l">
              <a:defRPr sz="3200">
                <a:solidFill>
                  <a:srgbClr val="E1810F"/>
                </a:solidFill>
                <a:latin typeface="Memphis Medium"/>
                <a:cs typeface="Memphis Medium"/>
              </a:defRPr>
            </a:lvl1pPr>
          </a:lstStyle>
          <a:p>
            <a:r>
              <a:rPr lang="en-US" dirty="0"/>
              <a:t>Click to edit Master title style</a:t>
            </a:r>
          </a:p>
        </p:txBody>
      </p:sp>
      <p:sp>
        <p:nvSpPr>
          <p:cNvPr id="8" name="Content Placeholder 2"/>
          <p:cNvSpPr>
            <a:spLocks noGrp="1"/>
          </p:cNvSpPr>
          <p:nvPr>
            <p:ph idx="1"/>
          </p:nvPr>
        </p:nvSpPr>
        <p:spPr>
          <a:xfrm>
            <a:off x="457200" y="1600200"/>
            <a:ext cx="8229600" cy="4525963"/>
          </a:xfrm>
          <a:prstGeom prst="rect">
            <a:avLst/>
          </a:prstGeom>
        </p:spPr>
        <p:txBody>
          <a:bodyPr/>
          <a:lstStyle>
            <a:lvl1pPr marL="342900" indent="-342900">
              <a:buClr>
                <a:schemeClr val="accent6"/>
              </a:buClr>
              <a:buFont typeface="Arial"/>
              <a:buChar char="•"/>
              <a:defRPr>
                <a:solidFill>
                  <a:schemeClr val="tx1">
                    <a:lumMod val="65000"/>
                    <a:lumOff val="35000"/>
                  </a:schemeClr>
                </a:solidFill>
                <a:latin typeface="+mn-lt"/>
              </a:defRPr>
            </a:lvl1pPr>
            <a:lvl2pPr>
              <a:buClr>
                <a:srgbClr val="E1810F"/>
              </a:buClr>
              <a:defRPr>
                <a:solidFill>
                  <a:schemeClr val="tx1">
                    <a:lumMod val="65000"/>
                    <a:lumOff val="35000"/>
                  </a:schemeClr>
                </a:solidFill>
              </a:defRPr>
            </a:lvl2pPr>
            <a:lvl3pPr>
              <a:buClr>
                <a:srgbClr val="E1810F"/>
              </a:buClr>
              <a:defRPr>
                <a:solidFill>
                  <a:schemeClr val="tx1">
                    <a:lumMod val="65000"/>
                    <a:lumOff val="35000"/>
                  </a:schemeClr>
                </a:solidFill>
              </a:defRPr>
            </a:lvl3pPr>
            <a:lvl4pPr>
              <a:buClr>
                <a:srgbClr val="E1810F"/>
              </a:buClr>
              <a:defRPr>
                <a:solidFill>
                  <a:schemeClr val="tx1">
                    <a:lumMod val="65000"/>
                    <a:lumOff val="35000"/>
                  </a:schemeClr>
                </a:solidFill>
              </a:defRPr>
            </a:lvl4pPr>
            <a:lvl5pPr>
              <a:buClr>
                <a:srgbClr val="E1810F"/>
              </a:buClr>
              <a:defRPr>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5"/>
          <p:cNvGrpSpPr/>
          <p:nvPr userDrawn="1"/>
        </p:nvGrpSpPr>
        <p:grpSpPr>
          <a:xfrm>
            <a:off x="7275654" y="277277"/>
            <a:ext cx="1670208" cy="575733"/>
            <a:chOff x="0" y="5496095"/>
            <a:chExt cx="2645664" cy="929640"/>
          </a:xfrm>
        </p:grpSpPr>
        <p:pic>
          <p:nvPicPr>
            <p:cNvPr id="10" name="Content Placeholder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5496095"/>
              <a:ext cx="2645664" cy="929640"/>
            </a:xfrm>
            <a:prstGeom prst="rect">
              <a:avLst/>
            </a:prstGeom>
            <a:ln>
              <a:noFill/>
            </a:ln>
            <a:effectLst>
              <a:outerShdw blurRad="292100" dist="139700" dir="2700000" algn="tl" rotWithShape="0">
                <a:srgbClr val="333333">
                  <a:alpha val="65000"/>
                </a:srgbClr>
              </a:outerShdw>
            </a:effectLst>
          </p:spPr>
        </p:pic>
        <p:sp>
          <p:nvSpPr>
            <p:cNvPr id="11" name="TextBox 10"/>
            <p:cNvSpPr txBox="1"/>
            <p:nvPr/>
          </p:nvSpPr>
          <p:spPr>
            <a:xfrm>
              <a:off x="1446411" y="6186458"/>
              <a:ext cx="997526" cy="184666"/>
            </a:xfrm>
            <a:prstGeom prst="rect">
              <a:avLst/>
            </a:prstGeom>
            <a:solidFill>
              <a:schemeClr val="bg1"/>
            </a:solidFill>
          </p:spPr>
          <p:txBody>
            <a:bodyPr wrap="square" rtlCol="0">
              <a:spAutoFit/>
            </a:bodyPr>
            <a:lstStyle/>
            <a:p>
              <a:endParaRPr lang="en-US" dirty="0"/>
            </a:p>
          </p:txBody>
        </p:sp>
      </p:grpSp>
      <p:pic>
        <p:nvPicPr>
          <p:cNvPr id="9" name="Picture 8" descr="Footer.png"/>
          <p:cNvPicPr>
            <a:picLocks noChangeAspect="1"/>
          </p:cNvPicPr>
          <p:nvPr userDrawn="1"/>
        </p:nvPicPr>
        <p:blipFill rotWithShape="1">
          <a:blip r:embed="rId3" cstate="email">
            <a:extLst>
              <a:ext uri="{28A0092B-C50C-407E-A947-70E740481C1C}">
                <a14:useLocalDpi xmlns:a14="http://schemas.microsoft.com/office/drawing/2010/main"/>
              </a:ext>
            </a:extLst>
          </a:blip>
          <a:srcRect l="12948" r="-12948"/>
          <a:stretch/>
        </p:blipFill>
        <p:spPr>
          <a:xfrm>
            <a:off x="-73153" y="32141"/>
            <a:ext cx="10614617" cy="6848140"/>
          </a:xfrm>
          <a:prstGeom prst="rect">
            <a:avLst/>
          </a:prstGeom>
        </p:spPr>
      </p:pic>
    </p:spTree>
    <p:extLst>
      <p:ext uri="{BB962C8B-B14F-4D97-AF65-F5344CB8AC3E}">
        <p14:creationId xmlns:p14="http://schemas.microsoft.com/office/powerpoint/2010/main" val="370145992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14636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572483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5"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a:t>Section Title And Multiple Lines If Necessary</a:t>
            </a:r>
          </a:p>
        </p:txBody>
      </p:sp>
      <p:pic>
        <p:nvPicPr>
          <p:cNvPr id="6" name="Picture 2" descr="C:\Users\IversonS\Desktop\Elsevier Education\Education Branding\Illustrations\Elsevier_World_Health_aw.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4779264" cy="6870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5137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p:nvPicPr>
        <p:blipFill>
          <a:blip r:embed="rId2" cstate="print"/>
          <a:stretch>
            <a:fillRect/>
          </a:stretch>
        </p:blipFill>
        <p:spPr>
          <a:xfrm>
            <a:off x="-12939" y="0"/>
            <a:ext cx="3202147" cy="6858000"/>
          </a:xfrm>
          <a:prstGeom prst="rect">
            <a:avLst/>
          </a:prstGeom>
        </p:spPr>
      </p:pic>
      <p:sp>
        <p:nvSpPr>
          <p:cNvPr id="11" name="Rectangle 10"/>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pic>
        <p:nvPicPr>
          <p:cNvPr id="16" name="Picture 1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a:spLocks/>
          </p:cNvSpPr>
          <p:nvPr/>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9"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placeholder-vector.png"/>
          <p:cNvPicPr>
            <a:picLocks noChangeAspect="1"/>
          </p:cNvPicPr>
          <p:nvPr/>
        </p:nvPicPr>
        <p:blipFill>
          <a:blip r:embed="rId2" cstate="print"/>
          <a:stretch>
            <a:fillRect/>
          </a:stretch>
        </p:blipFill>
        <p:spPr>
          <a:xfrm>
            <a:off x="-12939" y="0"/>
            <a:ext cx="3202147" cy="6858000"/>
          </a:xfrm>
          <a:prstGeom prst="rect">
            <a:avLst/>
          </a:prstGeom>
        </p:spPr>
      </p:pic>
      <p:sp>
        <p:nvSpPr>
          <p:cNvPr id="20" name="Rectangle 19"/>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pic>
        <p:nvPicPr>
          <p:cNvPr id="21" name="Picture 2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22" name="Title 1"/>
          <p:cNvSpPr txBox="1">
            <a:spLocks/>
          </p:cNvSpPr>
          <p:nvPr/>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dirty="0"/>
          </a:p>
        </p:txBody>
      </p:sp>
    </p:spTree>
    <p:extLst>
      <p:ext uri="{BB962C8B-B14F-4D97-AF65-F5344CB8AC3E}">
        <p14:creationId xmlns:p14="http://schemas.microsoft.com/office/powerpoint/2010/main" val="702811963"/>
      </p:ext>
    </p:extLst>
  </p:cSld>
  <p:clrMapOvr>
    <a:masterClrMapping/>
  </p:clrMapOvr>
  <p:hf hdr="0" ftr="0" dt="0"/>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1_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7" name="Text Placeholder 22"/>
          <p:cNvSpPr>
            <a:spLocks noGrp="1"/>
          </p:cNvSpPr>
          <p:nvPr>
            <p:ph type="body" sz="quarter" idx="16" hasCustomPrompt="1"/>
          </p:nvPr>
        </p:nvSpPr>
        <p:spPr>
          <a:xfrm>
            <a:off x="198599" y="6511446"/>
            <a:ext cx="6672263" cy="227013"/>
          </a:xfrm>
          <a:prstGeom prst="rect">
            <a:avLst/>
          </a:prstGeo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38475037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1_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p>
        </p:txBody>
      </p:sp>
      <p:sp>
        <p:nvSpPr>
          <p:cNvPr id="4"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168100929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9"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pic>
        <p:nvPicPr>
          <p:cNvPr id="5" name="Picture 4" descr="Elsevier_Tree_Logo_2C.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8005" y="188351"/>
            <a:ext cx="688802" cy="798523"/>
          </a:xfrm>
          <a:prstGeom prst="rect">
            <a:avLst/>
          </a:prstGeom>
        </p:spPr>
      </p:pic>
    </p:spTree>
    <p:extLst>
      <p:ext uri="{BB962C8B-B14F-4D97-AF65-F5344CB8AC3E}">
        <p14:creationId xmlns:p14="http://schemas.microsoft.com/office/powerpoint/2010/main" val="2408687265"/>
      </p:ext>
    </p:extLst>
  </p:cSld>
  <p:clrMapOvr>
    <a:masterClrMapping/>
  </p:clrMapOvr>
  <mc:AlternateContent xmlns:mc="http://schemas.openxmlformats.org/markup-compatibility/2006" xmlns:p14="http://schemas.microsoft.com/office/powerpoint/2010/main">
    <mc:Choice Requires="p14">
      <p:transition p14:dur="10" advClick="0" advTm="5000"/>
    </mc:Choice>
    <mc:Fallback xmlns="">
      <p:transition advClick="0" advTm="5000"/>
    </mc:Fallback>
  </mc:AlternateContent>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8" name="Picture 7" descr="placeholder-horizontal.png"/>
          <p:cNvPicPr>
            <a:picLocks noChangeAspect="1"/>
          </p:cNvPicPr>
          <p:nvPr/>
        </p:nvPicPr>
        <p:blipFill>
          <a:blip r:embed="rId3" cstate="print"/>
          <a:stretch>
            <a:fillRect/>
          </a:stretch>
        </p:blipFill>
        <p:spPr>
          <a:xfrm>
            <a:off x="-608" y="1768138"/>
            <a:ext cx="9144000" cy="4133088"/>
          </a:xfrm>
          <a:prstGeom prst="rect">
            <a:avLst/>
          </a:prstGeom>
        </p:spPr>
      </p:pic>
      <p:sp>
        <p:nvSpPr>
          <p:cNvPr id="11"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rgbClr val="53565A"/>
                </a:solidFill>
              </a:defRPr>
            </a:lvl1pPr>
          </a:lstStyle>
          <a:p>
            <a:r>
              <a:rPr lang="en-US" dirty="0"/>
              <a:t>Cover Slide Title and</a:t>
            </a:r>
            <a:br>
              <a:rPr lang="en-US" dirty="0"/>
            </a:br>
            <a:r>
              <a:rPr lang="en-US" dirty="0"/>
              <a:t>Second Line if Necessary</a:t>
            </a:r>
          </a:p>
        </p:txBody>
      </p:sp>
      <p:pic>
        <p:nvPicPr>
          <p:cNvPr id="12" name="Picture 11"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13" name="Picture 12" descr="placeholder-horizontal.png"/>
          <p:cNvPicPr>
            <a:picLocks noChangeAspect="1"/>
          </p:cNvPicPr>
          <p:nvPr/>
        </p:nvPicPr>
        <p:blipFill>
          <a:blip r:embed="rId3" cstate="print"/>
          <a:stretch>
            <a:fillRect/>
          </a:stretch>
        </p:blipFill>
        <p:spPr>
          <a:xfrm>
            <a:off x="-608" y="1768138"/>
            <a:ext cx="9144000" cy="4133088"/>
          </a:xfrm>
          <a:prstGeom prst="rect">
            <a:avLst/>
          </a:prstGeom>
        </p:spPr>
      </p:pic>
    </p:spTree>
    <p:extLst>
      <p:ext uri="{BB962C8B-B14F-4D97-AF65-F5344CB8AC3E}">
        <p14:creationId xmlns:p14="http://schemas.microsoft.com/office/powerpoint/2010/main" val="835254448"/>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2" name="Picture 11" descr="placeholder-horizontal.png"/>
          <p:cNvPicPr>
            <a:picLocks noChangeAspect="1"/>
          </p:cNvPicPr>
          <p:nvPr/>
        </p:nvPicPr>
        <p:blipFill>
          <a:blip r:embed="rId3" cstate="print"/>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13" name="Picture 12" descr="placeholder-horizontal.png"/>
          <p:cNvPicPr>
            <a:picLocks noChangeAspect="1"/>
          </p:cNvPicPr>
          <p:nvPr/>
        </p:nvPicPr>
        <p:blipFill>
          <a:blip r:embed="rId3" cstate="print"/>
          <a:stretch>
            <a:fillRect/>
          </a:stretch>
        </p:blipFill>
        <p:spPr>
          <a:xfrm>
            <a:off x="-608" y="1828387"/>
            <a:ext cx="9144000" cy="3928946"/>
          </a:xfrm>
          <a:prstGeom prst="rect">
            <a:avLst/>
          </a:prstGeom>
        </p:spPr>
      </p:pic>
    </p:spTree>
    <p:extLst>
      <p:ext uri="{BB962C8B-B14F-4D97-AF65-F5344CB8AC3E}">
        <p14:creationId xmlns:p14="http://schemas.microsoft.com/office/powerpoint/2010/main" val="219845539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placeholder-horizontal.png"/>
          <p:cNvPicPr>
            <a:picLocks noChangeAspect="1"/>
          </p:cNvPicPr>
          <p:nvPr/>
        </p:nvPicPr>
        <p:blipFill>
          <a:blip r:embed="rId2" cstate="print"/>
          <a:stretch>
            <a:fillRect/>
          </a:stretch>
        </p:blipFill>
        <p:spPr>
          <a:xfrm>
            <a:off x="-608" y="1828387"/>
            <a:ext cx="9144000" cy="4044432"/>
          </a:xfrm>
          <a:prstGeom prst="rect">
            <a:avLst/>
          </a:prstGeom>
        </p:spPr>
      </p:pic>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7" name="Title 1"/>
          <p:cNvSpPr>
            <a:spLocks noGrp="1"/>
          </p:cNvSpPr>
          <p:nvPr>
            <p:ph type="title" hasCustomPrompt="1"/>
          </p:nvPr>
        </p:nvSpPr>
        <p:spPr>
          <a:xfrm>
            <a:off x="447200" y="949001"/>
            <a:ext cx="6874246" cy="761124"/>
          </a:xfrm>
        </p:spPr>
        <p:txBody>
          <a:bodyPr/>
          <a:lstStyle>
            <a:lvl1pPr>
              <a:defRPr sz="1600">
                <a:solidFill>
                  <a:srgbClr val="53565A"/>
                </a:solidFill>
              </a:defRPr>
            </a:lvl1pPr>
          </a:lstStyle>
          <a:p>
            <a:r>
              <a:rPr lang="en-US" dirty="0"/>
              <a:t>Subtitle of slide and or description of presentation</a:t>
            </a:r>
            <a:br>
              <a:rPr lang="en-US" dirty="0"/>
            </a:br>
            <a:r>
              <a:rPr lang="en-US" dirty="0"/>
              <a:t>Second line if Necessary</a:t>
            </a:r>
          </a:p>
        </p:txBody>
      </p:sp>
      <p:sp>
        <p:nvSpPr>
          <p:cNvPr id="18" name="Picture Placeholder 2"/>
          <p:cNvSpPr>
            <a:spLocks noGrp="1"/>
          </p:cNvSpPr>
          <p:nvPr>
            <p:ph type="pic" idx="1" hasCustomPrompt="1"/>
          </p:nvPr>
        </p:nvSpPr>
        <p:spPr>
          <a:xfrm>
            <a:off x="443402" y="374492"/>
            <a:ext cx="6878044" cy="783831"/>
          </a:xfrm>
          <a:prstGeom prst="rect">
            <a:avLst/>
          </a:prstGeom>
        </p:spPr>
        <p:txBody>
          <a:bodyPr/>
          <a:lstStyle>
            <a:lvl1pPr marL="0" indent="0">
              <a:buNone/>
              <a:defRPr sz="36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pic>
        <p:nvPicPr>
          <p:cNvPr id="8" name="Picture 7" descr="placeholder-horizontal.png"/>
          <p:cNvPicPr>
            <a:picLocks noChangeAspect="1"/>
          </p:cNvPicPr>
          <p:nvPr/>
        </p:nvPicPr>
        <p:blipFill>
          <a:blip r:embed="rId2" cstate="print"/>
          <a:stretch>
            <a:fillRect/>
          </a:stretch>
        </p:blipFill>
        <p:spPr>
          <a:xfrm>
            <a:off x="-608" y="1828387"/>
            <a:ext cx="9144000" cy="4044432"/>
          </a:xfrm>
          <a:prstGeom prst="rect">
            <a:avLst/>
          </a:prstGeom>
        </p:spPr>
      </p:pic>
      <p:pic>
        <p:nvPicPr>
          <p:cNvPr id="9" name="Picture 8"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2066164221"/>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5" name="Picture 4" descr="placeholder-vector.png"/>
          <p:cNvPicPr>
            <a:picLocks noChangeAspect="1"/>
          </p:cNvPicPr>
          <p:nvPr/>
        </p:nvPicPr>
        <p:blipFill>
          <a:blip r:embed="rId3" cstate="print"/>
          <a:stretch>
            <a:fillRect/>
          </a:stretch>
        </p:blipFill>
        <p:spPr>
          <a:xfrm>
            <a:off x="0" y="0"/>
            <a:ext cx="4572000" cy="6858000"/>
          </a:xfrm>
          <a:prstGeom prst="rect">
            <a:avLst/>
          </a:prstGeom>
        </p:spPr>
      </p:pic>
      <p:sp>
        <p:nvSpPr>
          <p:cNvPr id="7"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a:t>Section Title And Multiple Lines If Necessary</a:t>
            </a:r>
          </a:p>
        </p:txBody>
      </p:sp>
      <p:pic>
        <p:nvPicPr>
          <p:cNvPr id="8" name="Picture 7"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9" name="Picture 8"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2846649002"/>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chemeClr val="tx2"/>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chemeClr val="tx2"/>
                </a:solidFill>
              </a:defRPr>
            </a:lvl1pPr>
          </a:lstStyle>
          <a:p>
            <a:pPr lvl="0"/>
            <a:r>
              <a:rPr lang="en-US" dirty="0"/>
              <a:t>Click to edit text</a:t>
            </a:r>
          </a:p>
        </p:txBody>
      </p:sp>
    </p:spTree>
    <p:extLst>
      <p:ext uri="{BB962C8B-B14F-4D97-AF65-F5344CB8AC3E}">
        <p14:creationId xmlns:p14="http://schemas.microsoft.com/office/powerpoint/2010/main" val="394780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solidFill>
                  <a:srgbClr val="FF8200"/>
                </a:solidFill>
              </a:defRPr>
            </a:lvl1pPr>
            <a:lvl2pPr>
              <a:buNone/>
              <a:defRPr sz="3600"/>
            </a:lvl2pPr>
            <a:lvl3pPr>
              <a:buNone/>
              <a:defRPr sz="3600"/>
            </a:lvl3pPr>
            <a:lvl4pPr>
              <a:buNone/>
              <a:defRPr sz="3600"/>
            </a:lvl4pPr>
            <a:lvl5pPr>
              <a:buNone/>
              <a:defRPr sz="3600"/>
            </a:lvl5pPr>
          </a:lstStyle>
          <a:p>
            <a:pPr lvl="0"/>
            <a:r>
              <a:rPr lang="en-US" dirty="0"/>
              <a:t>Appendix</a:t>
            </a:r>
          </a:p>
        </p:txBody>
      </p:sp>
      <p:pic>
        <p:nvPicPr>
          <p:cNvPr id="9" name="Picture 8" descr="placeholder-vector.png"/>
          <p:cNvPicPr>
            <a:picLocks noChangeAspect="1"/>
          </p:cNvPicPr>
          <p:nvPr/>
        </p:nvPicPr>
        <p:blipFill>
          <a:blip r:embed="rId3" cstate="print"/>
          <a:stretch>
            <a:fillRect/>
          </a:stretch>
        </p:blipFill>
        <p:spPr>
          <a:xfrm>
            <a:off x="0" y="0"/>
            <a:ext cx="4572000" cy="6858000"/>
          </a:xfrm>
          <a:prstGeom prst="rect">
            <a:avLst/>
          </a:prstGeom>
        </p:spPr>
      </p:pic>
      <p:pic>
        <p:nvPicPr>
          <p:cNvPr id="6" name="Picture 5"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7" name="Picture 6"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1274967711"/>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199" y="284034"/>
            <a:ext cx="8458201" cy="307777"/>
          </a:xfrm>
        </p:spPr>
        <p:txBody>
          <a:bodyPr wrap="square" lIns="0" tIns="0" rIns="0" bIns="0">
            <a:spAutoFit/>
          </a:bodyPr>
          <a:lstStyle>
            <a:lvl1pPr>
              <a:defRPr sz="2000" b="1"/>
            </a:lvl1pPr>
          </a:lstStyle>
          <a:p>
            <a:r>
              <a:rPr lang="en-US" dirty="0"/>
              <a:t>Click to edit Master title style</a:t>
            </a:r>
          </a:p>
        </p:txBody>
      </p:sp>
      <p:sp>
        <p:nvSpPr>
          <p:cNvPr id="3" name="Rectangle 6"/>
          <p:cNvSpPr>
            <a:spLocks noGrp="1" noChangeArrowheads="1"/>
          </p:cNvSpPr>
          <p:nvPr>
            <p:ph type="sldNum" sz="quarter" idx="10"/>
          </p:nvPr>
        </p:nvSpPr>
        <p:spPr>
          <a:xfrm>
            <a:off x="8733682" y="6591384"/>
            <a:ext cx="372218" cy="230832"/>
          </a:xfrm>
          <a:ln/>
        </p:spPr>
        <p:txBody>
          <a:bodyPr wrap="square">
            <a:spAutoFit/>
          </a:bodyPr>
          <a:lstStyle>
            <a:lvl1pPr>
              <a:defRPr sz="900">
                <a:latin typeface="+mn-lt"/>
              </a:defRPr>
            </a:lvl1pPr>
          </a:lstStyle>
          <a:p>
            <a:pPr>
              <a:defRPr/>
            </a:pPr>
            <a:fld id="{00CCDBD0-082F-493D-863A-3960C5117E3D}" type="slidenum">
              <a:rPr lang="en-US" smtClean="0"/>
              <a:pPr>
                <a:defRPr/>
              </a:pPr>
              <a:t>‹#›</a:t>
            </a:fld>
            <a:endParaRPr lang="en-US" dirty="0"/>
          </a:p>
        </p:txBody>
      </p:sp>
    </p:spTree>
    <p:extLst>
      <p:ext uri="{BB962C8B-B14F-4D97-AF65-F5344CB8AC3E}">
        <p14:creationId xmlns:p14="http://schemas.microsoft.com/office/powerpoint/2010/main" val="3995747332"/>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9"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Tree>
    <p:extLst>
      <p:ext uri="{BB962C8B-B14F-4D97-AF65-F5344CB8AC3E}">
        <p14:creationId xmlns:p14="http://schemas.microsoft.com/office/powerpoint/2010/main" val="475110277"/>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620090048"/>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dirty="0"/>
              <a:t>Click icon to add picture</a:t>
            </a:r>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dirty="0"/>
              <a:t>Click icon to add picture</a:t>
            </a:r>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dirty="0"/>
              <a:t>Click icon to add picture</a:t>
            </a:r>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dirty="0"/>
              <a:t>Click icon to add picture</a:t>
            </a:r>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dirty="0"/>
              <a:t>Click icon to add picture</a:t>
            </a:r>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dirty="0"/>
              <a:t>Click icon to add picture</a:t>
            </a:r>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737483017"/>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
        <p:nvSpPr>
          <p:cNvPr id="11" name="Content Placeholder 1"/>
          <p:cNvSpPr>
            <a:spLocks noGrp="1"/>
          </p:cNvSpPr>
          <p:nvPr>
            <p:ph idx="13"/>
          </p:nvPr>
        </p:nvSpPr>
        <p:spPr>
          <a:xfrm>
            <a:off x="457198" y="1943072"/>
            <a:ext cx="8238320"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cxnSp>
        <p:nvCxnSpPr>
          <p:cNvPr id="8" name="Straight Connector 7"/>
          <p:cNvCxnSpPr/>
          <p:nvPr/>
        </p:nvCxnSpPr>
        <p:spPr>
          <a:xfrm>
            <a:off x="363679" y="1776844"/>
            <a:ext cx="8478985"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67819785"/>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28956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Content Placeholder 1"/>
          <p:cNvSpPr>
            <a:spLocks noGrp="1"/>
          </p:cNvSpPr>
          <p:nvPr>
            <p:ph idx="10"/>
          </p:nvPr>
        </p:nvSpPr>
        <p:spPr>
          <a:xfrm>
            <a:off x="457198" y="1167598"/>
            <a:ext cx="823832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cxnSp>
        <p:nvCxnSpPr>
          <p:cNvPr id="5" name="Straight Connector 4"/>
          <p:cNvCxnSpPr/>
          <p:nvPr/>
        </p:nvCxnSpPr>
        <p:spPr>
          <a:xfrm>
            <a:off x="363681" y="831272"/>
            <a:ext cx="8468592"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463057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5"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a:t>Section Title And Multiple Lines If Necessary</a:t>
            </a:r>
          </a:p>
        </p:txBody>
      </p:sp>
      <p:pic>
        <p:nvPicPr>
          <p:cNvPr id="8" name="Picture 7" descr="Illust_Section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9" name="Picture 8"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776464353"/>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solidFill>
                  <a:srgbClr val="FF8200"/>
                </a:solidFill>
              </a:defRPr>
            </a:lvl1pPr>
            <a:lvl2pPr>
              <a:buNone/>
              <a:defRPr sz="3600"/>
            </a:lvl2pPr>
            <a:lvl3pPr>
              <a:buNone/>
              <a:defRPr sz="3600"/>
            </a:lvl3pPr>
            <a:lvl4pPr>
              <a:buNone/>
              <a:defRPr sz="3600"/>
            </a:lvl4pPr>
            <a:lvl5pPr>
              <a:buNone/>
              <a:defRPr sz="3600"/>
            </a:lvl5pPr>
          </a:lstStyle>
          <a:p>
            <a:pPr lvl="0"/>
            <a:r>
              <a:rPr lang="en-US" dirty="0"/>
              <a:t>Appendix</a:t>
            </a:r>
          </a:p>
        </p:txBody>
      </p:sp>
      <p:pic>
        <p:nvPicPr>
          <p:cNvPr id="6" name="Picture 5" descr="Illust_Appendix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7" name="Picture 6"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3349715502"/>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135645962"/>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7184720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544286"/>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926178243"/>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Title Slide 5">
    <p:spTree>
      <p:nvGrpSpPr>
        <p:cNvPr id="1" name=""/>
        <p:cNvGrpSpPr/>
        <p:nvPr/>
      </p:nvGrpSpPr>
      <p:grpSpPr>
        <a:xfrm>
          <a:off x="0" y="0"/>
          <a:ext cx="0" cy="0"/>
          <a:chOff x="0" y="0"/>
          <a:chExt cx="0" cy="0"/>
        </a:xfrm>
      </p:grpSpPr>
      <p:pic>
        <p:nvPicPr>
          <p:cNvPr id="8" name="Picture 7"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9" name="Rectangle 8"/>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sp>
        <p:nvSpPr>
          <p:cNvPr id="3"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148818686"/>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Title Slide 6">
    <p:spTree>
      <p:nvGrpSpPr>
        <p:cNvPr id="1" name=""/>
        <p:cNvGrpSpPr/>
        <p:nvPr/>
      </p:nvGrpSpPr>
      <p:grpSpPr>
        <a:xfrm>
          <a:off x="0" y="0"/>
          <a:ext cx="0" cy="0"/>
          <a:chOff x="0" y="0"/>
          <a:chExt cx="0" cy="0"/>
        </a:xfrm>
      </p:grpSpPr>
      <p:pic>
        <p:nvPicPr>
          <p:cNvPr id="10" name="Picture 9" descr="Illust_Cover_2_No_Band.png"/>
          <p:cNvPicPr>
            <a:picLocks noChangeAspect="1"/>
          </p:cNvPicPr>
          <p:nvPr/>
        </p:nvPicPr>
        <p:blipFill>
          <a:blip r:embed="rId2" cstate="print"/>
          <a:stretch>
            <a:fillRect/>
          </a:stretch>
        </p:blipFill>
        <p:spPr>
          <a:xfrm>
            <a:off x="0" y="0"/>
            <a:ext cx="3200400" cy="6858000"/>
          </a:xfrm>
          <a:prstGeom prst="rect">
            <a:avLst/>
          </a:prstGeom>
        </p:spPr>
      </p:pic>
      <p:sp>
        <p:nvSpPr>
          <p:cNvPr id="11" name="Rectangle 10"/>
          <p:cNvSpPr/>
          <p:nvPr/>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pic>
        <p:nvPicPr>
          <p:cNvPr id="16" name="Picture 1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939896765"/>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pic>
        <p:nvPicPr>
          <p:cNvPr id="2" name="Picture 1"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4" name="Text Placeholder 13"/>
          <p:cNvSpPr>
            <a:spLocks noGrp="1"/>
          </p:cNvSpPr>
          <p:nvPr>
            <p:ph type="body" sz="quarter" idx="14" hasCustomPrompt="1"/>
          </p:nvPr>
        </p:nvSpPr>
        <p:spPr>
          <a:xfrm>
            <a:off x="300038" y="1282537"/>
            <a:ext cx="7484329" cy="322555"/>
          </a:xfrm>
          <a:prstGeom prst="rect">
            <a:avLst/>
          </a:prstGeom>
        </p:spPr>
        <p:txBody>
          <a:bodyPr vert="horz"/>
          <a:lstStyle>
            <a:lvl1pPr>
              <a:buNone/>
              <a:defRPr sz="1600">
                <a:solidFill>
                  <a:srgbClr val="53565A"/>
                </a:solidFill>
              </a:defRPr>
            </a:lvl1pPr>
          </a:lstStyle>
          <a:p>
            <a:pPr lvl="0"/>
            <a:r>
              <a:rPr lang="en-US" dirty="0"/>
              <a:t>Subtitle of Presentation</a:t>
            </a:r>
          </a:p>
        </p:txBody>
      </p:sp>
      <p:sp>
        <p:nvSpPr>
          <p:cNvPr id="3"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rgbClr val="53565A"/>
                </a:solidFill>
              </a:defRPr>
            </a:lvl1pPr>
          </a:lstStyle>
          <a:p>
            <a:r>
              <a:rPr lang="en-US" dirty="0"/>
              <a:t>Cover Slide Title and</a:t>
            </a:r>
            <a:br>
              <a:rPr lang="en-US" dirty="0"/>
            </a:br>
            <a:r>
              <a:rPr lang="en-US" dirty="0"/>
              <a:t>Second Line if Necessary</a:t>
            </a:r>
          </a:p>
        </p:txBody>
      </p:sp>
    </p:spTree>
    <p:extLst>
      <p:ext uri="{BB962C8B-B14F-4D97-AF65-F5344CB8AC3E}">
        <p14:creationId xmlns:p14="http://schemas.microsoft.com/office/powerpoint/2010/main" val="3234713575"/>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8" name="Picture 7"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3504697896"/>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C9020E1-6174-4B56-ABAE-9E0816058D48}" type="datetimeFigureOut">
              <a:rPr lang="en-US" smtClean="0"/>
              <a:pPr/>
              <a:t>6/21/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defRPr/>
            </a:pPr>
            <a:fld id="{6003EAAF-5BD9-4464-8A92-94FE6A92D101}" type="slidenum">
              <a:rPr lang="en-US" b="1" smtClean="0"/>
              <a:pPr>
                <a:defRPr/>
              </a:pPr>
              <a:t>‹#›</a:t>
            </a:fld>
            <a:endParaRPr lang="en-US" b="1" dirty="0"/>
          </a:p>
        </p:txBody>
      </p:sp>
      <p:pic>
        <p:nvPicPr>
          <p:cNvPr id="6" name="Picture 5" descr="Illust_Cover_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7" name="Picture 6"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8"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9"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2" name="Title 1"/>
          <p:cNvSpPr>
            <a:spLocks noGrp="1"/>
          </p:cNvSpPr>
          <p:nvPr>
            <p:ph type="title" hasCustomPrompt="1"/>
          </p:nvPr>
        </p:nvSpPr>
        <p:spPr>
          <a:xfrm>
            <a:off x="447200" y="949001"/>
            <a:ext cx="6874246" cy="761124"/>
          </a:xfrm>
        </p:spPr>
        <p:txBody>
          <a:bodyPr/>
          <a:lstStyle>
            <a:lvl1pPr>
              <a:defRPr sz="1600">
                <a:solidFill>
                  <a:srgbClr val="53565A"/>
                </a:solidFill>
              </a:defRPr>
            </a:lvl1pPr>
          </a:lstStyle>
          <a:p>
            <a:r>
              <a:rPr lang="en-US" dirty="0"/>
              <a:t>Subtitle of slide and or description of presentation</a:t>
            </a:r>
            <a:br>
              <a:rPr lang="en-US" dirty="0"/>
            </a:br>
            <a:r>
              <a:rPr lang="en-US" dirty="0"/>
              <a:t>Second line if Necessary</a:t>
            </a:r>
          </a:p>
        </p:txBody>
      </p:sp>
      <p:sp>
        <p:nvSpPr>
          <p:cNvPr id="10" name="Picture Placeholder 2"/>
          <p:cNvSpPr>
            <a:spLocks noGrp="1"/>
          </p:cNvSpPr>
          <p:nvPr>
            <p:ph type="pic" idx="1" hasCustomPrompt="1"/>
          </p:nvPr>
        </p:nvSpPr>
        <p:spPr>
          <a:xfrm>
            <a:off x="443402" y="374492"/>
            <a:ext cx="6878044" cy="783831"/>
          </a:xfrm>
          <a:prstGeom prst="rect">
            <a:avLst/>
          </a:prstGeom>
        </p:spPr>
        <p:txBody>
          <a:bodyPr/>
          <a:lstStyle>
            <a:lvl1pPr marL="0" indent="0">
              <a:buNone/>
              <a:defRPr sz="36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Tree>
    <p:extLst>
      <p:ext uri="{BB962C8B-B14F-4D97-AF65-F5344CB8AC3E}">
        <p14:creationId xmlns:p14="http://schemas.microsoft.com/office/powerpoint/2010/main" val="2059127987"/>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1" name="Picture 10"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1734470220"/>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53981"/>
            <a:ext cx="3912178" cy="518663"/>
          </a:xfrm>
          <a:prstGeom prst="rect">
            <a:avLst/>
          </a:prstGeom>
        </p:spPr>
        <p:txBody>
          <a:bodyPr/>
          <a:lstStyle>
            <a:lvl1pPr marL="0" indent="0">
              <a:buNone/>
              <a:defRPr sz="20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5" name="Picture 14"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3491173989"/>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p:nvPicPr>
        <p:blipFill>
          <a:blip r:embed="rId2" cstate="print"/>
          <a:stretch>
            <a:fillRect/>
          </a:stretch>
        </p:blipFill>
        <p:spPr>
          <a:xfrm>
            <a:off x="-12939" y="0"/>
            <a:ext cx="3202147" cy="6858000"/>
          </a:xfrm>
          <a:prstGeom prst="rect">
            <a:avLst/>
          </a:prstGeom>
        </p:spPr>
      </p:pic>
      <p:sp>
        <p:nvSpPr>
          <p:cNvPr id="8" name="Rectangle 7"/>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7"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9"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spTree>
    <p:extLst>
      <p:ext uri="{BB962C8B-B14F-4D97-AF65-F5344CB8AC3E}">
        <p14:creationId xmlns:p14="http://schemas.microsoft.com/office/powerpoint/2010/main" val="1896934861"/>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_Title Slide 6">
    <p:spTree>
      <p:nvGrpSpPr>
        <p:cNvPr id="1" name=""/>
        <p:cNvGrpSpPr/>
        <p:nvPr/>
      </p:nvGrpSpPr>
      <p:grpSpPr>
        <a:xfrm>
          <a:off x="0" y="0"/>
          <a:ext cx="0" cy="0"/>
          <a:chOff x="0" y="0"/>
          <a:chExt cx="0" cy="0"/>
        </a:xfrm>
      </p:grpSpPr>
      <p:pic>
        <p:nvPicPr>
          <p:cNvPr id="10" name="Picture 9" descr="placeholder-vector.png"/>
          <p:cNvPicPr>
            <a:picLocks noChangeAspect="1"/>
          </p:cNvPicPr>
          <p:nvPr/>
        </p:nvPicPr>
        <p:blipFill>
          <a:blip r:embed="rId2" cstate="print"/>
          <a:stretch>
            <a:fillRect/>
          </a:stretch>
        </p:blipFill>
        <p:spPr>
          <a:xfrm>
            <a:off x="-12939" y="0"/>
            <a:ext cx="3202147" cy="6858000"/>
          </a:xfrm>
          <a:prstGeom prst="rect">
            <a:avLst/>
          </a:prstGeom>
        </p:spPr>
      </p:pic>
      <p:sp>
        <p:nvSpPr>
          <p:cNvPr id="11" name="Rectangle 10"/>
          <p:cNvSpPr/>
          <p:nvPr/>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sz="1200" dirty="0">
              <a:solidFill>
                <a:prstClr val="white"/>
              </a:solidFill>
            </a:endParaRPr>
          </a:p>
        </p:txBody>
      </p:sp>
      <p:pic>
        <p:nvPicPr>
          <p:cNvPr id="16" name="Picture 1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a:spLocks/>
          </p:cNvSpPr>
          <p:nvPr/>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pPr fontAlgn="base">
              <a:spcAft>
                <a:spcPct val="0"/>
              </a:spcAft>
            </a:pPr>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9"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Tree>
    <p:extLst>
      <p:ext uri="{BB962C8B-B14F-4D97-AF65-F5344CB8AC3E}">
        <p14:creationId xmlns:p14="http://schemas.microsoft.com/office/powerpoint/2010/main" val="19110222"/>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383417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8" name="Picture 7" descr="placeholder-horizontal.png"/>
          <p:cNvPicPr>
            <a:picLocks noChangeAspect="1"/>
          </p:cNvPicPr>
          <p:nvPr/>
        </p:nvPicPr>
        <p:blipFill>
          <a:blip r:embed="rId3" cstate="print"/>
          <a:stretch>
            <a:fillRect/>
          </a:stretch>
        </p:blipFill>
        <p:spPr>
          <a:xfrm>
            <a:off x="-608" y="1768138"/>
            <a:ext cx="9144000" cy="4133088"/>
          </a:xfrm>
          <a:prstGeom prst="rect">
            <a:avLst/>
          </a:prstGeom>
        </p:spPr>
      </p:pic>
      <p:sp>
        <p:nvSpPr>
          <p:cNvPr id="11"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rgbClr val="53565A"/>
                </a:solidFill>
              </a:defRPr>
            </a:lvl1pPr>
          </a:lstStyle>
          <a:p>
            <a:r>
              <a:rPr lang="en-US" dirty="0"/>
              <a:t>Cover Slide Title and</a:t>
            </a:r>
            <a:br>
              <a:rPr lang="en-US" dirty="0"/>
            </a:br>
            <a:r>
              <a:rPr lang="en-US" dirty="0"/>
              <a:t>Second Line if Necessary</a:t>
            </a:r>
          </a:p>
        </p:txBody>
      </p:sp>
    </p:spTree>
    <p:extLst>
      <p:ext uri="{BB962C8B-B14F-4D97-AF65-F5344CB8AC3E}">
        <p14:creationId xmlns:p14="http://schemas.microsoft.com/office/powerpoint/2010/main" val="810424869"/>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2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2" name="Picture 11" descr="placeholder-horizontal.png"/>
          <p:cNvPicPr>
            <a:picLocks noChangeAspect="1"/>
          </p:cNvPicPr>
          <p:nvPr/>
        </p:nvPicPr>
        <p:blipFill>
          <a:blip r:embed="rId3" cstate="print"/>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1775010750"/>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pic>
        <p:nvPicPr>
          <p:cNvPr id="10" name="Picture 9" descr="placeholder-horizontal.png"/>
          <p:cNvPicPr>
            <a:picLocks noChangeAspect="1"/>
          </p:cNvPicPr>
          <p:nvPr/>
        </p:nvPicPr>
        <p:blipFill>
          <a:blip r:embed="rId2" cstate="print"/>
          <a:stretch>
            <a:fillRect/>
          </a:stretch>
        </p:blipFill>
        <p:spPr>
          <a:xfrm>
            <a:off x="-608" y="1828387"/>
            <a:ext cx="9144000" cy="4044432"/>
          </a:xfrm>
          <a:prstGeom prst="rect">
            <a:avLst/>
          </a:prstGeom>
        </p:spPr>
      </p:pic>
      <p:pic>
        <p:nvPicPr>
          <p:cNvPr id="12" name="Picture 11"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7" name="Title 1"/>
          <p:cNvSpPr>
            <a:spLocks noGrp="1"/>
          </p:cNvSpPr>
          <p:nvPr>
            <p:ph type="title" hasCustomPrompt="1"/>
          </p:nvPr>
        </p:nvSpPr>
        <p:spPr>
          <a:xfrm>
            <a:off x="447200" y="949001"/>
            <a:ext cx="6874246" cy="761124"/>
          </a:xfrm>
        </p:spPr>
        <p:txBody>
          <a:bodyPr/>
          <a:lstStyle>
            <a:lvl1pPr>
              <a:defRPr sz="1600">
                <a:solidFill>
                  <a:srgbClr val="53565A"/>
                </a:solidFill>
              </a:defRPr>
            </a:lvl1pPr>
          </a:lstStyle>
          <a:p>
            <a:r>
              <a:rPr lang="en-US" dirty="0"/>
              <a:t>Subtitle of slide and or description of presentation</a:t>
            </a:r>
            <a:br>
              <a:rPr lang="en-US" dirty="0"/>
            </a:br>
            <a:r>
              <a:rPr lang="en-US" dirty="0"/>
              <a:t>Second line if Necessary</a:t>
            </a:r>
          </a:p>
        </p:txBody>
      </p:sp>
      <p:sp>
        <p:nvSpPr>
          <p:cNvPr id="18" name="Picture Placeholder 2"/>
          <p:cNvSpPr>
            <a:spLocks noGrp="1"/>
          </p:cNvSpPr>
          <p:nvPr>
            <p:ph type="pic" idx="1" hasCustomPrompt="1"/>
          </p:nvPr>
        </p:nvSpPr>
        <p:spPr>
          <a:xfrm>
            <a:off x="443402" y="374492"/>
            <a:ext cx="6878044" cy="783831"/>
          </a:xfrm>
          <a:prstGeom prst="rect">
            <a:avLst/>
          </a:prstGeom>
        </p:spPr>
        <p:txBody>
          <a:bodyPr/>
          <a:lstStyle>
            <a:lvl1pPr marL="0" indent="0">
              <a:buNone/>
              <a:defRPr sz="36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Tree>
    <p:extLst>
      <p:ext uri="{BB962C8B-B14F-4D97-AF65-F5344CB8AC3E}">
        <p14:creationId xmlns:p14="http://schemas.microsoft.com/office/powerpoint/2010/main" val="82929182"/>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5" name="Picture 4" descr="placeholder-vector.png"/>
          <p:cNvPicPr>
            <a:picLocks noChangeAspect="1"/>
          </p:cNvPicPr>
          <p:nvPr/>
        </p:nvPicPr>
        <p:blipFill>
          <a:blip r:embed="rId3" cstate="print"/>
          <a:stretch>
            <a:fillRect/>
          </a:stretch>
        </p:blipFill>
        <p:spPr>
          <a:xfrm>
            <a:off x="0" y="0"/>
            <a:ext cx="4572000" cy="6858000"/>
          </a:xfrm>
          <a:prstGeom prst="rect">
            <a:avLst/>
          </a:prstGeom>
        </p:spPr>
      </p:pic>
      <p:sp>
        <p:nvSpPr>
          <p:cNvPr id="7"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a:t>Section Title And Multiple Lines If Necessary</a:t>
            </a:r>
          </a:p>
        </p:txBody>
      </p:sp>
    </p:spTree>
    <p:extLst>
      <p:ext uri="{BB962C8B-B14F-4D97-AF65-F5344CB8AC3E}">
        <p14:creationId xmlns:p14="http://schemas.microsoft.com/office/powerpoint/2010/main" val="4071546756"/>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solidFill>
                  <a:srgbClr val="FF8200"/>
                </a:solidFill>
              </a:defRPr>
            </a:lvl1pPr>
            <a:lvl2pPr>
              <a:buNone/>
              <a:defRPr sz="3600"/>
            </a:lvl2pPr>
            <a:lvl3pPr>
              <a:buNone/>
              <a:defRPr sz="3600"/>
            </a:lvl3pPr>
            <a:lvl4pPr>
              <a:buNone/>
              <a:defRPr sz="3600"/>
            </a:lvl4pPr>
            <a:lvl5pPr>
              <a:buNone/>
              <a:defRPr sz="3600"/>
            </a:lvl5pPr>
          </a:lstStyle>
          <a:p>
            <a:pPr lvl="0"/>
            <a:r>
              <a:rPr lang="en-US" dirty="0"/>
              <a:t>Appendix</a:t>
            </a:r>
          </a:p>
        </p:txBody>
      </p:sp>
      <p:pic>
        <p:nvPicPr>
          <p:cNvPr id="9" name="Picture 8" descr="placeholder-vector.png"/>
          <p:cNvPicPr>
            <a:picLocks noChangeAspect="1"/>
          </p:cNvPicPr>
          <p:nvPr/>
        </p:nvPicPr>
        <p:blipFill>
          <a:blip r:embed="rId3" cstate="print"/>
          <a:stretch>
            <a:fillRect/>
          </a:stretch>
        </p:blipFill>
        <p:spPr>
          <a:xfrm>
            <a:off x="0" y="0"/>
            <a:ext cx="4572000" cy="6858000"/>
          </a:xfrm>
          <a:prstGeom prst="rect">
            <a:avLst/>
          </a:prstGeom>
        </p:spPr>
      </p:pic>
    </p:spTree>
    <p:extLst>
      <p:ext uri="{BB962C8B-B14F-4D97-AF65-F5344CB8AC3E}">
        <p14:creationId xmlns:p14="http://schemas.microsoft.com/office/powerpoint/2010/main" val="149646235"/>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4"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4008856049"/>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1252019983"/>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9"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1"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1956778343"/>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4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
        <p:nvSpPr>
          <p:cNvPr id="11" name="Content Placeholder 1"/>
          <p:cNvSpPr>
            <a:spLocks noGrp="1"/>
          </p:cNvSpPr>
          <p:nvPr>
            <p:ph idx="13"/>
          </p:nvPr>
        </p:nvSpPr>
        <p:spPr>
          <a:xfrm>
            <a:off x="457198" y="1943072"/>
            <a:ext cx="8238320"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325574602"/>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Content Placeholder 1"/>
          <p:cNvSpPr>
            <a:spLocks noGrp="1"/>
          </p:cNvSpPr>
          <p:nvPr>
            <p:ph idx="10"/>
          </p:nvPr>
        </p:nvSpPr>
        <p:spPr>
          <a:xfrm>
            <a:off x="457198" y="1500110"/>
            <a:ext cx="823832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59836726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11" name="Picture 10" descr="SpeedAlign_Cover_1.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256745" y="242634"/>
            <a:ext cx="7425926" cy="942147"/>
          </a:xfrm>
          <a:prstGeom prst="rect">
            <a:avLst/>
          </a:prstGeom>
        </p:spPr>
        <p:txBody>
          <a:bodyPr/>
          <a:lstStyle>
            <a:lvl1pPr algn="l">
              <a:lnSpc>
                <a:spcPct val="85000"/>
              </a:lnSpc>
              <a:defRPr sz="3600" baseline="0">
                <a:solidFill>
                  <a:srgbClr val="FF8200"/>
                </a:solidFill>
              </a:defRPr>
            </a:lvl1pPr>
          </a:lstStyle>
          <a:p>
            <a:r>
              <a:rPr lang="en-US" dirty="0"/>
              <a:t>Cover Slide Title</a:t>
            </a:r>
            <a:br>
              <a:rPr lang="en-US" dirty="0"/>
            </a:br>
            <a:r>
              <a:rPr lang="en-US" dirty="0"/>
              <a:t>Second Line If Necessary</a:t>
            </a:r>
          </a:p>
        </p:txBody>
      </p:sp>
      <p:sp>
        <p:nvSpPr>
          <p:cNvPr id="3" name="Subtitle 2"/>
          <p:cNvSpPr>
            <a:spLocks noGrp="1"/>
          </p:cNvSpPr>
          <p:nvPr>
            <p:ph type="subTitle" idx="1" hasCustomPrompt="1"/>
          </p:nvPr>
        </p:nvSpPr>
        <p:spPr>
          <a:xfrm>
            <a:off x="256745" y="1185345"/>
            <a:ext cx="7425926" cy="390948"/>
          </a:xfrm>
          <a:prstGeom prst="rect">
            <a:avLst/>
          </a:prstGeom>
        </p:spPr>
        <p:txBody>
          <a:bodyPr/>
          <a:lstStyle>
            <a:lvl1pPr marL="0" indent="0" algn="l">
              <a:buNone/>
              <a:defRPr sz="160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sp>
        <p:nvSpPr>
          <p:cNvPr id="9" name="Text Placeholder 6"/>
          <p:cNvSpPr>
            <a:spLocks noGrp="1"/>
          </p:cNvSpPr>
          <p:nvPr>
            <p:ph type="body" sz="quarter" idx="10" hasCustomPrompt="1"/>
          </p:nvPr>
        </p:nvSpPr>
        <p:spPr>
          <a:xfrm>
            <a:off x="247738" y="5917657"/>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r>
              <a:rPr lang="en-US" dirty="0"/>
              <a:t>  |  Date XX_XX_XX</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4453614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5"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a:t>Section Title And Multiple Lines If Necessary</a:t>
            </a:r>
          </a:p>
        </p:txBody>
      </p:sp>
    </p:spTree>
    <p:extLst>
      <p:ext uri="{BB962C8B-B14F-4D97-AF65-F5344CB8AC3E}">
        <p14:creationId xmlns:p14="http://schemas.microsoft.com/office/powerpoint/2010/main" val="2618702801"/>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5_Section Header">
    <p:spTree>
      <p:nvGrpSpPr>
        <p:cNvPr id="1" name=""/>
        <p:cNvGrpSpPr/>
        <p:nvPr/>
      </p:nvGrpSpPr>
      <p:grpSpPr>
        <a:xfrm>
          <a:off x="0" y="0"/>
          <a:ext cx="0" cy="0"/>
          <a:chOff x="0" y="0"/>
          <a:chExt cx="0" cy="0"/>
        </a:xfrm>
      </p:grpSpPr>
      <p:pic>
        <p:nvPicPr>
          <p:cNvPr id="8" name="Picture 7" descr="Illust_Appendix_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solidFill>
                  <a:srgbClr val="FF8200"/>
                </a:solidFill>
              </a:defRPr>
            </a:lvl1pPr>
            <a:lvl2pPr>
              <a:buNone/>
              <a:defRPr sz="3600"/>
            </a:lvl2pPr>
            <a:lvl3pPr>
              <a:buNone/>
              <a:defRPr sz="3600"/>
            </a:lvl3pPr>
            <a:lvl4pPr>
              <a:buNone/>
              <a:defRPr sz="3600"/>
            </a:lvl4pPr>
            <a:lvl5pPr>
              <a:buNone/>
              <a:defRPr sz="3600"/>
            </a:lvl5pPr>
          </a:lstStyle>
          <a:p>
            <a:pPr lvl="0"/>
            <a:r>
              <a:rPr lang="en-US" dirty="0"/>
              <a:t>Appendix</a:t>
            </a:r>
          </a:p>
        </p:txBody>
      </p:sp>
    </p:spTree>
    <p:extLst>
      <p:ext uri="{BB962C8B-B14F-4D97-AF65-F5344CB8AC3E}">
        <p14:creationId xmlns:p14="http://schemas.microsoft.com/office/powerpoint/2010/main" val="446588198"/>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A6EAA5D7-D6CE-4BCA-A806-8718C7BAF6A8}" type="datetimeFigureOut">
              <a:rPr lang="en-GB" smtClean="0"/>
              <a:pPr/>
              <a:t>21/06/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4BBC5CF0-F411-4E4B-8A5E-D5F3764A3CB3}" type="slidenum">
              <a:rPr lang="en-GB" smtClean="0"/>
              <a:pPr/>
              <a:t>‹#›</a:t>
            </a:fld>
            <a:endParaRPr lang="en-GB"/>
          </a:p>
        </p:txBody>
      </p:sp>
    </p:spTree>
    <p:extLst>
      <p:ext uri="{BB962C8B-B14F-4D97-AF65-F5344CB8AC3E}">
        <p14:creationId xmlns:p14="http://schemas.microsoft.com/office/powerpoint/2010/main" val="17668958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8743961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9216047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Slide Number Placeholder 7"/>
          <p:cNvSpPr>
            <a:spLocks noGrp="1"/>
          </p:cNvSpPr>
          <p:nvPr>
            <p:ph type="sldNum" sz="quarter" idx="4"/>
          </p:nvPr>
        </p:nvSpPr>
        <p:spPr>
          <a:xfrm>
            <a:off x="8548008" y="76661"/>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prstClr val="white"/>
                </a:solidFill>
              </a:rPr>
              <a:pPr/>
              <a:t>‹#›</a:t>
            </a:fld>
            <a:endParaRPr lang="en-US" dirty="0">
              <a:solidFill>
                <a:prstClr val="white"/>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696966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Slide Number Placeholder 7"/>
          <p:cNvSpPr>
            <a:spLocks noGrp="1"/>
          </p:cNvSpPr>
          <p:nvPr>
            <p:ph type="sldNum" sz="quarter" idx="4"/>
          </p:nvPr>
        </p:nvSpPr>
        <p:spPr>
          <a:xfrm>
            <a:off x="8548008" y="76661"/>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prstClr val="white"/>
                </a:solidFill>
              </a:rPr>
              <a:pPr/>
              <a:t>‹#›</a:t>
            </a:fld>
            <a:endParaRPr lang="en-US" dirty="0">
              <a:solidFill>
                <a:prstClr val="white"/>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Tree>
    <p:extLst>
      <p:ext uri="{BB962C8B-B14F-4D97-AF65-F5344CB8AC3E}">
        <p14:creationId xmlns:p14="http://schemas.microsoft.com/office/powerpoint/2010/main" val="10490498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t>Copyright © 2014 Elsevier, Inc. All rights reserved. Confidential and proprietary</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C121F24D-FF4C-9F49-A999-D96EC45CB7E7}" type="slidenum">
              <a:rPr lang="en-US" smtClean="0"/>
              <a:pPr/>
              <a:t>‹#›</a:t>
            </a:fld>
            <a:endParaRPr lang="en-US" dirty="0"/>
          </a:p>
        </p:txBody>
      </p:sp>
    </p:spTree>
    <p:extLst>
      <p:ext uri="{BB962C8B-B14F-4D97-AF65-F5344CB8AC3E}">
        <p14:creationId xmlns:p14="http://schemas.microsoft.com/office/powerpoint/2010/main" val="3467703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6798853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10161555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Picture 6" descr="SpeedAlign_Section_1.png"/>
          <p:cNvPicPr>
            <a:picLocks noChangeAspect="1"/>
          </p:cNvPicPr>
          <p:nvPr userDrawn="1"/>
        </p:nvPicPr>
        <p:blipFill>
          <a:blip r:embed="rId2"/>
          <a:stretch>
            <a:fillRect/>
          </a:stretch>
        </p:blipFill>
        <p:spPr>
          <a:xfrm>
            <a:off x="0" y="0"/>
            <a:ext cx="9144000" cy="6858000"/>
          </a:xfrm>
          <a:prstGeom prst="rect">
            <a:avLst/>
          </a:prstGeom>
        </p:spPr>
      </p:pic>
      <p:sp>
        <p:nvSpPr>
          <p:cNvPr id="10" name="Text Placeholder 10"/>
          <p:cNvSpPr>
            <a:spLocks noGrp="1"/>
          </p:cNvSpPr>
          <p:nvPr>
            <p:ph type="body" sz="quarter" idx="12" hasCustomPrompt="1"/>
          </p:nvPr>
        </p:nvSpPr>
        <p:spPr>
          <a:xfrm>
            <a:off x="246089" y="3478878"/>
            <a:ext cx="8547368" cy="1063305"/>
          </a:xfrm>
          <a:prstGeom prst="rect">
            <a:avLst/>
          </a:prstGeom>
        </p:spPr>
        <p:txBody>
          <a:bodyPr vert="horz"/>
          <a:lstStyle>
            <a:lvl1pPr>
              <a:buNone/>
              <a:defRPr sz="1500" baseline="0">
                <a:solidFill>
                  <a:srgbClr val="FFFFFF"/>
                </a:solidFill>
              </a:defRPr>
            </a:lvl1pPr>
            <a:lvl2pPr>
              <a:buNone/>
              <a:defRPr sz="1600"/>
            </a:lvl2pPr>
            <a:lvl3pPr>
              <a:buNone/>
              <a:defRPr sz="1600"/>
            </a:lvl3pPr>
            <a:lvl4pPr>
              <a:buNone/>
              <a:defRPr sz="1600"/>
            </a:lvl4pPr>
            <a:lvl5pPr>
              <a:buNone/>
              <a:defRPr sz="1600"/>
            </a:lvl5pPr>
          </a:lstStyle>
          <a:p>
            <a:pPr lvl="0"/>
            <a:r>
              <a:rPr lang="en-US" dirty="0"/>
              <a:t>Add section intro text here</a:t>
            </a:r>
          </a:p>
        </p:txBody>
      </p:sp>
      <p:sp>
        <p:nvSpPr>
          <p:cNvPr id="11" name="Text Placeholder 12"/>
          <p:cNvSpPr>
            <a:spLocks noGrp="1"/>
          </p:cNvSpPr>
          <p:nvPr>
            <p:ph type="body" sz="quarter" idx="13" hasCustomPrompt="1"/>
          </p:nvPr>
        </p:nvSpPr>
        <p:spPr>
          <a:xfrm>
            <a:off x="254147" y="2799018"/>
            <a:ext cx="8539309" cy="638704"/>
          </a:xfrm>
          <a:prstGeom prst="rect">
            <a:avLst/>
          </a:prstGeom>
        </p:spPr>
        <p:txBody>
          <a:bodyPr vert="horz"/>
          <a:lstStyle>
            <a:lvl1pPr>
              <a:buNone/>
              <a:defRPr sz="3600">
                <a:solidFill>
                  <a:srgbClr val="FFFFFF"/>
                </a:solidFill>
              </a:defRPr>
            </a:lvl1pPr>
            <a:lvl2pPr>
              <a:buNone/>
              <a:defRPr sz="3600"/>
            </a:lvl2pPr>
            <a:lvl3pPr>
              <a:buNone/>
              <a:defRPr sz="3600"/>
            </a:lvl3pPr>
            <a:lvl4pPr>
              <a:buNone/>
              <a:defRPr sz="3600"/>
            </a:lvl4pPr>
            <a:lvl5pPr>
              <a:buNone/>
              <a:defRPr sz="3600"/>
            </a:lvl5pPr>
          </a:lstStyle>
          <a:p>
            <a:pPr lvl="0"/>
            <a:r>
              <a:rPr lang="en-US" dirty="0"/>
              <a:t>Section Title</a:t>
            </a:r>
          </a:p>
        </p:txBody>
      </p:sp>
      <p:pic>
        <p:nvPicPr>
          <p:cNvPr id="9" name="Picture 8"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Tree>
    <p:extLst>
      <p:ext uri="{BB962C8B-B14F-4D97-AF65-F5344CB8AC3E}">
        <p14:creationId xmlns:p14="http://schemas.microsoft.com/office/powerpoint/2010/main" val="26296424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7726327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pPr>
              <a:defRPr/>
            </a:pPr>
            <a:fld id="{0859ACA0-8989-264A-8B9A-44B90099C2FA}" type="datetimeFigureOut">
              <a:rPr lang="en-US" smtClean="0"/>
              <a:pPr>
                <a:defRPr/>
              </a:pPr>
              <a:t>6/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6D130EC1-D661-1042-9232-14DD115E48E3}" type="slidenum">
              <a:rPr lang="en-US" smtClean="0"/>
              <a:pPr>
                <a:defRPr/>
              </a:pPr>
              <a:t>‹#›</a:t>
            </a:fld>
            <a:endParaRPr lang="en-US"/>
          </a:p>
        </p:txBody>
      </p:sp>
    </p:spTree>
    <p:extLst>
      <p:ext uri="{BB962C8B-B14F-4D97-AF65-F5344CB8AC3E}">
        <p14:creationId xmlns:p14="http://schemas.microsoft.com/office/powerpoint/2010/main" val="723711703"/>
      </p:ext>
    </p:extLst>
  </p:cSld>
  <p:clrMapOvr>
    <a:masterClrMapping/>
  </p:clrMapOvr>
  <p:transition spd="slow">
    <p:wip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1450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0" y="705206"/>
            <a:ext cx="8238319" cy="418645"/>
          </a:xfrm>
        </p:spPr>
        <p:txBody>
          <a:bodyPr/>
          <a:lstStyle/>
          <a:p>
            <a:r>
              <a:rPr lang="en-US" dirty="0"/>
              <a:t>Click to edit Master title style</a:t>
            </a:r>
          </a:p>
        </p:txBody>
      </p:sp>
      <p:sp>
        <p:nvSpPr>
          <p:cNvPr id="4" name="Text Placeholder 22"/>
          <p:cNvSpPr>
            <a:spLocks noGrp="1"/>
          </p:cNvSpPr>
          <p:nvPr>
            <p:ph type="body" sz="quarter" idx="16" hasCustomPrompt="1"/>
          </p:nvPr>
        </p:nvSpPr>
        <p:spPr>
          <a:xfrm>
            <a:off x="198600"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4352024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14" name="Picture 13" descr="Infoflow_Cover_1.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256746" y="242635"/>
            <a:ext cx="7425927" cy="942147"/>
          </a:xfrm>
          <a:prstGeom prst="rect">
            <a:avLst/>
          </a:prstGeom>
        </p:spPr>
        <p:txBody>
          <a:bodyPr/>
          <a:lstStyle>
            <a:lvl1pPr algn="l">
              <a:lnSpc>
                <a:spcPct val="85000"/>
              </a:lnSpc>
              <a:defRPr sz="3600" baseline="0">
                <a:solidFill>
                  <a:schemeClr val="bg1"/>
                </a:solidFill>
              </a:defRPr>
            </a:lvl1pPr>
          </a:lstStyle>
          <a:p>
            <a:r>
              <a:rPr lang="en-US" dirty="0"/>
              <a:t>Cover Slide Title and Second Line If Necessary</a:t>
            </a:r>
          </a:p>
        </p:txBody>
      </p:sp>
      <p:sp>
        <p:nvSpPr>
          <p:cNvPr id="3" name="Subtitle 2"/>
          <p:cNvSpPr>
            <a:spLocks noGrp="1"/>
          </p:cNvSpPr>
          <p:nvPr>
            <p:ph type="subTitle" idx="1" hasCustomPrompt="1"/>
          </p:nvPr>
        </p:nvSpPr>
        <p:spPr>
          <a:xfrm>
            <a:off x="256746" y="1194164"/>
            <a:ext cx="7425927" cy="390948"/>
          </a:xfrm>
          <a:prstGeom prst="rect">
            <a:avLst/>
          </a:prstGeom>
        </p:spPr>
        <p:txBody>
          <a:bodyPr/>
          <a:lstStyle>
            <a:lvl1pPr marL="0" indent="0" algn="l">
              <a:buNone/>
              <a:defRPr sz="16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3" name="Picture 12"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
        <p:nvSpPr>
          <p:cNvPr id="10" name="Text Placeholder 6"/>
          <p:cNvSpPr>
            <a:spLocks noGrp="1"/>
          </p:cNvSpPr>
          <p:nvPr>
            <p:ph type="body" sz="quarter" idx="10" hasCustomPrompt="1"/>
          </p:nvPr>
        </p:nvSpPr>
        <p:spPr>
          <a:xfrm>
            <a:off x="247739" y="6122080"/>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4"/>
          <p:cNvSpPr>
            <a:spLocks noGrp="1"/>
          </p:cNvSpPr>
          <p:nvPr>
            <p:ph type="body" sz="quarter" idx="11" hasCustomPrompt="1"/>
          </p:nvPr>
        </p:nvSpPr>
        <p:spPr>
          <a:xfrm>
            <a:off x="256746" y="6325001"/>
            <a:ext cx="3913188" cy="266700"/>
          </a:xfrm>
          <a:prstGeom prst="rect">
            <a:avLst/>
          </a:prstGeom>
        </p:spPr>
        <p:txBody>
          <a:bodyPr vert="horz"/>
          <a:lstStyle>
            <a:lvl1pPr marL="0" indent="0">
              <a:buNone/>
              <a:defRPr sz="1100">
                <a:solidFill>
                  <a:srgbClr val="FFFFFF"/>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9756384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Picture 9" descr="Infoflow_Cover_1.png"/>
          <p:cNvPicPr>
            <a:picLocks noChangeAspect="1"/>
          </p:cNvPicPr>
          <p:nvPr userDrawn="1"/>
        </p:nvPicPr>
        <p:blipFill>
          <a:blip r:embed="rId2"/>
          <a:stretch>
            <a:fillRect/>
          </a:stretch>
        </p:blipFill>
        <p:spPr>
          <a:xfrm>
            <a:off x="0" y="0"/>
            <a:ext cx="9144000" cy="6858000"/>
          </a:xfrm>
          <a:prstGeom prst="rect">
            <a:avLst/>
          </a:prstGeom>
        </p:spPr>
      </p:pic>
      <p:pic>
        <p:nvPicPr>
          <p:cNvPr id="18" name="Picture 17"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
        <p:nvSpPr>
          <p:cNvPr id="14" name="Picture Placeholder 2"/>
          <p:cNvSpPr>
            <a:spLocks noGrp="1"/>
          </p:cNvSpPr>
          <p:nvPr>
            <p:ph type="pic" idx="12" hasCustomPrompt="1"/>
          </p:nvPr>
        </p:nvSpPr>
        <p:spPr>
          <a:xfrm>
            <a:off x="252604" y="5786436"/>
            <a:ext cx="3912179" cy="494473"/>
          </a:xfrm>
          <a:prstGeom prst="rect">
            <a:avLst/>
          </a:prstGeom>
        </p:spPr>
        <p:txBody>
          <a:bodyPr/>
          <a:lstStyle>
            <a:lvl1pPr marL="0" indent="0">
              <a:buNone/>
              <a:defRPr sz="17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13" name="Picture Placeholder 2"/>
          <p:cNvSpPr>
            <a:spLocks noGrp="1"/>
          </p:cNvSpPr>
          <p:nvPr>
            <p:ph type="pic" idx="11" hasCustomPrompt="1"/>
          </p:nvPr>
        </p:nvSpPr>
        <p:spPr>
          <a:xfrm>
            <a:off x="261611" y="261219"/>
            <a:ext cx="3912176" cy="558964"/>
          </a:xfrm>
          <a:prstGeom prst="rect">
            <a:avLst/>
          </a:prstGeom>
        </p:spPr>
        <p:txBody>
          <a:bodyPr/>
          <a:lstStyle>
            <a:lvl1pPr marL="0" indent="0">
              <a:buNone/>
              <a:defRPr sz="17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Wordmark here</a:t>
            </a:r>
          </a:p>
        </p:txBody>
      </p:sp>
      <p:sp>
        <p:nvSpPr>
          <p:cNvPr id="15" name="Text Placeholder 6"/>
          <p:cNvSpPr>
            <a:spLocks noGrp="1"/>
          </p:cNvSpPr>
          <p:nvPr>
            <p:ph type="body" sz="quarter" idx="10" hasCustomPrompt="1"/>
          </p:nvPr>
        </p:nvSpPr>
        <p:spPr>
          <a:xfrm>
            <a:off x="251593" y="6113261"/>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251593" y="6333820"/>
            <a:ext cx="3913188" cy="266700"/>
          </a:xfrm>
          <a:prstGeom prst="rect">
            <a:avLst/>
          </a:prstGeom>
        </p:spPr>
        <p:txBody>
          <a:bodyPr vert="horz"/>
          <a:lstStyle>
            <a:lvl1pPr marL="0" indent="0">
              <a:buNone/>
              <a:defRPr sz="1100">
                <a:solidFill>
                  <a:srgbClr val="FFFFFF"/>
                </a:solidFill>
                <a:latin typeface="Arial"/>
                <a:cs typeface="Arial"/>
              </a:defRPr>
            </a:lvl1pPr>
          </a:lstStyle>
          <a:p>
            <a:pPr lvl="0"/>
            <a:r>
              <a:rPr lang="en-US" dirty="0"/>
              <a:t>Date XX_XX_XX</a:t>
            </a:r>
          </a:p>
        </p:txBody>
      </p:sp>
      <p:sp>
        <p:nvSpPr>
          <p:cNvPr id="20" name="Title 1"/>
          <p:cNvSpPr>
            <a:spLocks noGrp="1"/>
          </p:cNvSpPr>
          <p:nvPr>
            <p:ph type="ctrTitle" hasCustomPrompt="1"/>
          </p:nvPr>
        </p:nvSpPr>
        <p:spPr>
          <a:xfrm>
            <a:off x="256746" y="598946"/>
            <a:ext cx="7425927" cy="942147"/>
          </a:xfrm>
          <a:prstGeom prst="rect">
            <a:avLst/>
          </a:prstGeom>
        </p:spPr>
        <p:txBody>
          <a:bodyPr/>
          <a:lstStyle>
            <a:lvl1pPr algn="l">
              <a:lnSpc>
                <a:spcPct val="85000"/>
              </a:lnSpc>
              <a:defRPr sz="3600" baseline="0">
                <a:solidFill>
                  <a:schemeClr val="bg1"/>
                </a:solidFill>
              </a:defRPr>
            </a:lvl1pPr>
          </a:lstStyle>
          <a:p>
            <a:r>
              <a:rPr lang="en-US" dirty="0"/>
              <a:t>Cover Slide Title and Second Line If Necessary</a:t>
            </a:r>
          </a:p>
        </p:txBody>
      </p:sp>
    </p:spTree>
    <p:extLst>
      <p:ext uri="{BB962C8B-B14F-4D97-AF65-F5344CB8AC3E}">
        <p14:creationId xmlns:p14="http://schemas.microsoft.com/office/powerpoint/2010/main" val="25433507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Slide 1">
    <p:spTree>
      <p:nvGrpSpPr>
        <p:cNvPr id="1" name=""/>
        <p:cNvGrpSpPr/>
        <p:nvPr/>
      </p:nvGrpSpPr>
      <p:grpSpPr>
        <a:xfrm>
          <a:off x="0" y="0"/>
          <a:ext cx="0" cy="0"/>
          <a:chOff x="0" y="0"/>
          <a:chExt cx="0" cy="0"/>
        </a:xfrm>
      </p:grpSpPr>
      <p:pic>
        <p:nvPicPr>
          <p:cNvPr id="12" name="Picture 11" descr="Infoflow_Cover_1.png"/>
          <p:cNvPicPr>
            <a:picLocks noChangeAspect="1"/>
          </p:cNvPicPr>
          <p:nvPr userDrawn="1"/>
        </p:nvPicPr>
        <p:blipFill>
          <a:blip r:embed="rId2"/>
          <a:stretch>
            <a:fillRect/>
          </a:stretch>
        </p:blipFill>
        <p:spPr>
          <a:xfrm>
            <a:off x="0" y="0"/>
            <a:ext cx="9144000" cy="6858000"/>
          </a:xfrm>
          <a:prstGeom prst="rect">
            <a:avLst/>
          </a:prstGeom>
        </p:spPr>
      </p:pic>
      <p:sp>
        <p:nvSpPr>
          <p:cNvPr id="9" name="Text Placeholder 6"/>
          <p:cNvSpPr>
            <a:spLocks noGrp="1"/>
          </p:cNvSpPr>
          <p:nvPr>
            <p:ph type="body" sz="quarter" idx="10" hasCustomPrompt="1"/>
          </p:nvPr>
        </p:nvSpPr>
        <p:spPr>
          <a:xfrm>
            <a:off x="247739" y="6123807"/>
            <a:ext cx="3913188" cy="302381"/>
          </a:xfrm>
          <a:prstGeom prst="rect">
            <a:avLst/>
          </a:prstGeom>
        </p:spPr>
        <p:txBody>
          <a:bodyPr/>
          <a:lstStyle>
            <a:lvl1pPr marL="0" indent="0">
              <a:buNone/>
              <a:defRPr sz="1100">
                <a:solidFill>
                  <a:srgbClr val="FFFFFF"/>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256746" y="6314363"/>
            <a:ext cx="3913188" cy="266700"/>
          </a:xfrm>
          <a:prstGeom prst="rect">
            <a:avLst/>
          </a:prstGeom>
        </p:spPr>
        <p:txBody>
          <a:bodyPr vert="horz"/>
          <a:lstStyle>
            <a:lvl1pPr marL="0" indent="0">
              <a:buNone/>
              <a:defRPr sz="1100">
                <a:solidFill>
                  <a:srgbClr val="FFFFFF"/>
                </a:solidFill>
                <a:latin typeface="Arial"/>
                <a:cs typeface="Arial"/>
              </a:defRPr>
            </a:lvl1pPr>
          </a:lstStyle>
          <a:p>
            <a:pPr lvl="0"/>
            <a:r>
              <a:rPr lang="en-US" dirty="0"/>
              <a:t>Date XX_XX_XX</a:t>
            </a:r>
          </a:p>
        </p:txBody>
      </p:sp>
      <p:sp>
        <p:nvSpPr>
          <p:cNvPr id="11" name="Picture Placeholder 2"/>
          <p:cNvSpPr>
            <a:spLocks noGrp="1"/>
          </p:cNvSpPr>
          <p:nvPr>
            <p:ph type="pic" idx="12" hasCustomPrompt="1"/>
          </p:nvPr>
        </p:nvSpPr>
        <p:spPr>
          <a:xfrm>
            <a:off x="296577" y="274113"/>
            <a:ext cx="4442375" cy="587978"/>
          </a:xfrm>
          <a:prstGeom prst="rect">
            <a:avLst/>
          </a:prstGeom>
        </p:spPr>
        <p:txBody>
          <a:bodyPr/>
          <a:lstStyle>
            <a:lvl1pPr marL="0" indent="0">
              <a:buNone/>
              <a:defRPr sz="24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Wordmark here</a:t>
            </a:r>
          </a:p>
        </p:txBody>
      </p:sp>
      <p:sp>
        <p:nvSpPr>
          <p:cNvPr id="14" name="Subtitle 2"/>
          <p:cNvSpPr>
            <a:spLocks noGrp="1"/>
          </p:cNvSpPr>
          <p:nvPr>
            <p:ph type="subTitle" idx="1" hasCustomPrompt="1"/>
          </p:nvPr>
        </p:nvSpPr>
        <p:spPr>
          <a:xfrm>
            <a:off x="257756" y="910604"/>
            <a:ext cx="7415253" cy="561235"/>
          </a:xfrm>
          <a:prstGeom prst="rect">
            <a:avLst/>
          </a:prstGeom>
        </p:spPr>
        <p:txBody>
          <a:bodyPr/>
          <a:lstStyle>
            <a:lvl1pPr marL="0" indent="0" algn="l">
              <a:buNone/>
              <a:defRPr sz="1600" baseline="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br>
              <a:rPr lang="en-US" dirty="0"/>
            </a:br>
            <a:r>
              <a:rPr lang="en-US" dirty="0"/>
              <a:t>Second Line If Necessary </a:t>
            </a:r>
          </a:p>
        </p:txBody>
      </p:sp>
      <p:pic>
        <p:nvPicPr>
          <p:cNvPr id="13" name="Picture 12" descr="Elsevier_Tree_Logo_White.png"/>
          <p:cNvPicPr>
            <a:picLocks noChangeAspect="1"/>
          </p:cNvPicPr>
          <p:nvPr userDrawn="1"/>
        </p:nvPicPr>
        <p:blipFill>
          <a:blip r:embed="rId3"/>
          <a:stretch>
            <a:fillRect/>
          </a:stretch>
        </p:blipFill>
        <p:spPr>
          <a:xfrm>
            <a:off x="8104655" y="359748"/>
            <a:ext cx="688848" cy="798576"/>
          </a:xfrm>
          <a:prstGeom prst="rect">
            <a:avLst/>
          </a:prstGeom>
        </p:spPr>
      </p:pic>
    </p:spTree>
    <p:extLst>
      <p:ext uri="{BB962C8B-B14F-4D97-AF65-F5344CB8AC3E}">
        <p14:creationId xmlns:p14="http://schemas.microsoft.com/office/powerpoint/2010/main" val="20557538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4" name="Text Placeholder 22"/>
          <p:cNvSpPr>
            <a:spLocks noGrp="1"/>
          </p:cNvSpPr>
          <p:nvPr>
            <p:ph type="body" sz="quarter" idx="16" hasCustomPrompt="1"/>
          </p:nvPr>
        </p:nvSpPr>
        <p:spPr>
          <a:xfrm>
            <a:off x="198602"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5" name="Title Placeholder 1"/>
          <p:cNvSpPr>
            <a:spLocks noGrp="1"/>
          </p:cNvSpPr>
          <p:nvPr>
            <p:ph type="title"/>
          </p:nvPr>
        </p:nvSpPr>
        <p:spPr>
          <a:xfrm>
            <a:off x="216570" y="384365"/>
            <a:ext cx="8238319" cy="418645"/>
          </a:xfrm>
          <a:prstGeom prst="rect">
            <a:avLst/>
          </a:prstGeom>
        </p:spPr>
        <p:txBody>
          <a:bodyPr vert="horz" lIns="91440" tIns="45720" rIns="91440" bIns="45720" rtlCol="0" anchor="ctr">
            <a:noAutofit/>
          </a:bodyPr>
          <a:lstStyle/>
          <a:p>
            <a:r>
              <a:rPr lang="en-US" dirty="0"/>
              <a:t>Title of Slide</a:t>
            </a:r>
          </a:p>
        </p:txBody>
      </p:sp>
    </p:spTree>
    <p:extLst>
      <p:ext uri="{BB962C8B-B14F-4D97-AF65-F5344CB8AC3E}">
        <p14:creationId xmlns:p14="http://schemas.microsoft.com/office/powerpoint/2010/main" val="18736526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5" name="Content Placeholder 1"/>
          <p:cNvSpPr>
            <a:spLocks noGrp="1"/>
          </p:cNvSpPr>
          <p:nvPr>
            <p:ph idx="1"/>
          </p:nvPr>
        </p:nvSpPr>
        <p:spPr>
          <a:xfrm>
            <a:off x="457200"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7" name="Text Placeholder 22"/>
          <p:cNvSpPr>
            <a:spLocks noGrp="1"/>
          </p:cNvSpPr>
          <p:nvPr>
            <p:ph type="body" sz="quarter" idx="16" hasCustomPrompt="1"/>
          </p:nvPr>
        </p:nvSpPr>
        <p:spPr>
          <a:xfrm>
            <a:off x="198602"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8" name="Title Placeholder 1"/>
          <p:cNvSpPr>
            <a:spLocks noGrp="1"/>
          </p:cNvSpPr>
          <p:nvPr>
            <p:ph type="title"/>
          </p:nvPr>
        </p:nvSpPr>
        <p:spPr>
          <a:xfrm>
            <a:off x="216570" y="384365"/>
            <a:ext cx="8238319" cy="418645"/>
          </a:xfrm>
          <a:prstGeom prst="rect">
            <a:avLst/>
          </a:prstGeom>
        </p:spPr>
        <p:txBody>
          <a:bodyPr vert="horz" lIns="91440" tIns="45720" rIns="91440" bIns="45720" rtlCol="0" anchor="ctr">
            <a:noAutofit/>
          </a:bodyPr>
          <a:lstStyle/>
          <a:p>
            <a:r>
              <a:rPr lang="en-US" dirty="0"/>
              <a:t>Title of Slide</a:t>
            </a:r>
          </a:p>
        </p:txBody>
      </p:sp>
    </p:spTree>
    <p:extLst>
      <p:ext uri="{BB962C8B-B14F-4D97-AF65-F5344CB8AC3E}">
        <p14:creationId xmlns:p14="http://schemas.microsoft.com/office/powerpoint/2010/main" val="358203536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200" y="1500110"/>
            <a:ext cx="4012007"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9"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6" name="Text Placeholder 22"/>
          <p:cNvSpPr>
            <a:spLocks noGrp="1"/>
          </p:cNvSpPr>
          <p:nvPr>
            <p:ph type="body" sz="quarter" idx="16" hasCustomPrompt="1"/>
          </p:nvPr>
        </p:nvSpPr>
        <p:spPr>
          <a:xfrm>
            <a:off x="198602"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9" name="Title Placeholder 1"/>
          <p:cNvSpPr>
            <a:spLocks noGrp="1"/>
          </p:cNvSpPr>
          <p:nvPr>
            <p:ph type="title"/>
          </p:nvPr>
        </p:nvSpPr>
        <p:spPr>
          <a:xfrm>
            <a:off x="216570" y="384365"/>
            <a:ext cx="8238319" cy="418645"/>
          </a:xfrm>
          <a:prstGeom prst="rect">
            <a:avLst/>
          </a:prstGeom>
        </p:spPr>
        <p:txBody>
          <a:bodyPr vert="horz" lIns="91440" tIns="45720" rIns="91440" bIns="45720" rtlCol="0" anchor="ctr">
            <a:noAutofit/>
          </a:bodyPr>
          <a:lstStyle/>
          <a:p>
            <a:r>
              <a:rPr lang="en-US" dirty="0"/>
              <a:t>Title of Slide</a:t>
            </a:r>
          </a:p>
        </p:txBody>
      </p:sp>
    </p:spTree>
    <p:extLst>
      <p:ext uri="{BB962C8B-B14F-4D97-AF65-F5344CB8AC3E}">
        <p14:creationId xmlns:p14="http://schemas.microsoft.com/office/powerpoint/2010/main" val="526266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50085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57200" y="1241715"/>
            <a:ext cx="8238319"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7" y="5794657"/>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9"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8" name="Text Placeholder 22"/>
          <p:cNvSpPr>
            <a:spLocks noGrp="1"/>
          </p:cNvSpPr>
          <p:nvPr>
            <p:ph type="body" sz="quarter" idx="16" hasCustomPrompt="1"/>
          </p:nvPr>
        </p:nvSpPr>
        <p:spPr>
          <a:xfrm>
            <a:off x="198602"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0" name="Content Placeholder 1"/>
          <p:cNvSpPr>
            <a:spLocks noGrp="1"/>
          </p:cNvSpPr>
          <p:nvPr>
            <p:ph idx="17"/>
          </p:nvPr>
        </p:nvSpPr>
        <p:spPr>
          <a:xfrm>
            <a:off x="457200"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1" name="Title Placeholder 1"/>
          <p:cNvSpPr>
            <a:spLocks noGrp="1"/>
          </p:cNvSpPr>
          <p:nvPr>
            <p:ph type="title"/>
          </p:nvPr>
        </p:nvSpPr>
        <p:spPr>
          <a:xfrm>
            <a:off x="216570" y="384365"/>
            <a:ext cx="8238319" cy="418645"/>
          </a:xfrm>
          <a:prstGeom prst="rect">
            <a:avLst/>
          </a:prstGeom>
        </p:spPr>
        <p:txBody>
          <a:bodyPr vert="horz" lIns="91440" tIns="45720" rIns="91440" bIns="45720" rtlCol="0" anchor="ctr">
            <a:noAutofit/>
          </a:bodyPr>
          <a:lstStyle/>
          <a:p>
            <a:r>
              <a:rPr lang="en-US" dirty="0"/>
              <a:t>Title of Slide</a:t>
            </a:r>
          </a:p>
        </p:txBody>
      </p:sp>
    </p:spTree>
    <p:extLst>
      <p:ext uri="{BB962C8B-B14F-4D97-AF65-F5344CB8AC3E}">
        <p14:creationId xmlns:p14="http://schemas.microsoft.com/office/powerpoint/2010/main" val="9996808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7" y="5683665"/>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7" y="1500111"/>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Text Placeholder 22"/>
          <p:cNvSpPr>
            <a:spLocks noGrp="1"/>
          </p:cNvSpPr>
          <p:nvPr>
            <p:ph type="body" sz="quarter" idx="16" hasCustomPrompt="1"/>
          </p:nvPr>
        </p:nvSpPr>
        <p:spPr>
          <a:xfrm>
            <a:off x="198602"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9" name="Title Placeholder 1"/>
          <p:cNvSpPr>
            <a:spLocks noGrp="1"/>
          </p:cNvSpPr>
          <p:nvPr>
            <p:ph type="title"/>
          </p:nvPr>
        </p:nvSpPr>
        <p:spPr>
          <a:xfrm>
            <a:off x="216570" y="384365"/>
            <a:ext cx="8238319" cy="418645"/>
          </a:xfrm>
          <a:prstGeom prst="rect">
            <a:avLst/>
          </a:prstGeom>
        </p:spPr>
        <p:txBody>
          <a:bodyPr vert="horz" lIns="91440" tIns="45720" rIns="91440" bIns="45720" rtlCol="0" anchor="ctr">
            <a:noAutofit/>
          </a:bodyPr>
          <a:lstStyle/>
          <a:p>
            <a:r>
              <a:rPr lang="en-US" dirty="0"/>
              <a:t>Title of Slide</a:t>
            </a:r>
          </a:p>
        </p:txBody>
      </p:sp>
    </p:spTree>
    <p:extLst>
      <p:ext uri="{BB962C8B-B14F-4D97-AF65-F5344CB8AC3E}">
        <p14:creationId xmlns:p14="http://schemas.microsoft.com/office/powerpoint/2010/main" val="6467448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1" y="1494886"/>
            <a:ext cx="2806700" cy="2209800"/>
          </a:xfrm>
          <a:prstGeom prst="rect">
            <a:avLst/>
          </a:prstGeom>
        </p:spPr>
        <p:txBody>
          <a:bodyPr/>
          <a:lstStyle/>
          <a:p>
            <a:endParaRPr lang="en-GB" dirty="0"/>
          </a:p>
        </p:txBody>
      </p:sp>
      <p:sp>
        <p:nvSpPr>
          <p:cNvPr id="10" name="Picture Placeholder 6"/>
          <p:cNvSpPr>
            <a:spLocks noGrp="1"/>
          </p:cNvSpPr>
          <p:nvPr>
            <p:ph type="pic" sz="quarter" idx="12"/>
          </p:nvPr>
        </p:nvSpPr>
        <p:spPr>
          <a:xfrm>
            <a:off x="6076951" y="1494886"/>
            <a:ext cx="2806700" cy="2209800"/>
          </a:xfrm>
          <a:prstGeom prst="rect">
            <a:avLst/>
          </a:prstGeom>
        </p:spPr>
        <p:txBody>
          <a:bodyPr/>
          <a:lstStyle/>
          <a:p>
            <a:endParaRPr lang="en-GB" dirty="0"/>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dirty="0"/>
          </a:p>
        </p:txBody>
      </p:sp>
      <p:sp>
        <p:nvSpPr>
          <p:cNvPr id="9" name="Picture Placeholder 8"/>
          <p:cNvSpPr>
            <a:spLocks noGrp="1"/>
          </p:cNvSpPr>
          <p:nvPr>
            <p:ph type="pic" sz="quarter" idx="14"/>
          </p:nvPr>
        </p:nvSpPr>
        <p:spPr>
          <a:xfrm>
            <a:off x="126209" y="3872965"/>
            <a:ext cx="2782092" cy="2235737"/>
          </a:xfrm>
          <a:prstGeom prst="rect">
            <a:avLst/>
          </a:prstGeom>
        </p:spPr>
        <p:txBody>
          <a:bodyPr/>
          <a:lstStyle/>
          <a:p>
            <a:endParaRPr lang="en-GB" dirty="0"/>
          </a:p>
        </p:txBody>
      </p:sp>
      <p:sp>
        <p:nvSpPr>
          <p:cNvPr id="14" name="Picture Placeholder 8"/>
          <p:cNvSpPr>
            <a:spLocks noGrp="1"/>
          </p:cNvSpPr>
          <p:nvPr>
            <p:ph type="pic" sz="quarter" idx="15"/>
          </p:nvPr>
        </p:nvSpPr>
        <p:spPr>
          <a:xfrm>
            <a:off x="3113883" y="3890422"/>
            <a:ext cx="2782092" cy="2235737"/>
          </a:xfrm>
          <a:prstGeom prst="rect">
            <a:avLst/>
          </a:prstGeom>
        </p:spPr>
        <p:txBody>
          <a:bodyPr/>
          <a:lstStyle/>
          <a:p>
            <a:endParaRPr lang="en-GB" dirty="0"/>
          </a:p>
        </p:txBody>
      </p:sp>
      <p:sp>
        <p:nvSpPr>
          <p:cNvPr id="16" name="Picture Placeholder 8"/>
          <p:cNvSpPr>
            <a:spLocks noGrp="1"/>
          </p:cNvSpPr>
          <p:nvPr>
            <p:ph type="pic" sz="quarter" idx="16"/>
          </p:nvPr>
        </p:nvSpPr>
        <p:spPr>
          <a:xfrm>
            <a:off x="6076951" y="3890422"/>
            <a:ext cx="2782092" cy="2235737"/>
          </a:xfrm>
          <a:prstGeom prst="rect">
            <a:avLst/>
          </a:prstGeom>
        </p:spPr>
        <p:txBody>
          <a:bodyPr/>
          <a:lstStyle/>
          <a:p>
            <a:endParaRPr lang="en-GB" dirty="0"/>
          </a:p>
        </p:txBody>
      </p:sp>
      <p:sp>
        <p:nvSpPr>
          <p:cNvPr id="12" name="Text Placeholder 22"/>
          <p:cNvSpPr>
            <a:spLocks noGrp="1"/>
          </p:cNvSpPr>
          <p:nvPr>
            <p:ph type="body" sz="quarter" idx="17" hasCustomPrompt="1"/>
          </p:nvPr>
        </p:nvSpPr>
        <p:spPr>
          <a:xfrm>
            <a:off x="198602" y="6511448"/>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5" name="Title Placeholder 1"/>
          <p:cNvSpPr>
            <a:spLocks noGrp="1"/>
          </p:cNvSpPr>
          <p:nvPr>
            <p:ph type="title"/>
          </p:nvPr>
        </p:nvSpPr>
        <p:spPr>
          <a:xfrm>
            <a:off x="216570" y="384365"/>
            <a:ext cx="8238319" cy="418645"/>
          </a:xfrm>
          <a:prstGeom prst="rect">
            <a:avLst/>
          </a:prstGeom>
        </p:spPr>
        <p:txBody>
          <a:bodyPr vert="horz" lIns="91440" tIns="45720" rIns="91440" bIns="45720" rtlCol="0" anchor="ctr">
            <a:noAutofit/>
          </a:bodyPr>
          <a:lstStyle/>
          <a:p>
            <a:r>
              <a:rPr lang="en-US" dirty="0"/>
              <a:t>Title of Slide</a:t>
            </a:r>
          </a:p>
        </p:txBody>
      </p:sp>
    </p:spTree>
    <p:extLst>
      <p:ext uri="{BB962C8B-B14F-4D97-AF65-F5344CB8AC3E}">
        <p14:creationId xmlns:p14="http://schemas.microsoft.com/office/powerpoint/2010/main" val="652335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2" name="Picture 11" descr="Infoflow_Appendix_1.png"/>
          <p:cNvPicPr>
            <a:picLocks noChangeAspect="1"/>
          </p:cNvPicPr>
          <p:nvPr userDrawn="1"/>
        </p:nvPicPr>
        <p:blipFill>
          <a:blip r:embed="rId2"/>
          <a:stretch>
            <a:fillRect/>
          </a:stretch>
        </p:blipFill>
        <p:spPr>
          <a:xfrm>
            <a:off x="0" y="0"/>
            <a:ext cx="9144000" cy="6858000"/>
          </a:xfrm>
          <a:prstGeom prst="rect">
            <a:avLst/>
          </a:prstGeom>
        </p:spPr>
      </p:pic>
      <p:sp>
        <p:nvSpPr>
          <p:cNvPr id="10" name="Text Placeholder 10"/>
          <p:cNvSpPr>
            <a:spLocks noGrp="1"/>
          </p:cNvSpPr>
          <p:nvPr>
            <p:ph type="body" sz="quarter" idx="12" hasCustomPrompt="1"/>
          </p:nvPr>
        </p:nvSpPr>
        <p:spPr>
          <a:xfrm>
            <a:off x="254909" y="3355413"/>
            <a:ext cx="8538595" cy="1718018"/>
          </a:xfrm>
          <a:prstGeom prst="rect">
            <a:avLst/>
          </a:prstGeom>
        </p:spPr>
        <p:txBody>
          <a:bodyPr vert="horz"/>
          <a:lstStyle>
            <a:lvl1pPr>
              <a:buNone/>
              <a:defRPr sz="1600" baseline="0">
                <a:solidFill>
                  <a:srgbClr val="FFFFFF"/>
                </a:solidFill>
              </a:defRPr>
            </a:lvl1pPr>
            <a:lvl2pPr>
              <a:buNone/>
              <a:defRPr sz="1600"/>
            </a:lvl2pPr>
            <a:lvl3pPr>
              <a:buNone/>
              <a:defRPr sz="1600"/>
            </a:lvl3pPr>
            <a:lvl4pPr>
              <a:buNone/>
              <a:defRPr sz="1600"/>
            </a:lvl4pPr>
            <a:lvl5pPr>
              <a:buNone/>
              <a:defRPr sz="1600"/>
            </a:lvl5pPr>
          </a:lstStyle>
          <a:p>
            <a:pPr lvl="0"/>
            <a:r>
              <a:rPr lang="en-US" dirty="0"/>
              <a:t>Add section intro text here</a:t>
            </a:r>
          </a:p>
        </p:txBody>
      </p:sp>
      <p:sp>
        <p:nvSpPr>
          <p:cNvPr id="11" name="Text Placeholder 12"/>
          <p:cNvSpPr>
            <a:spLocks noGrp="1"/>
          </p:cNvSpPr>
          <p:nvPr>
            <p:ph type="body" sz="quarter" idx="13" hasCustomPrompt="1"/>
          </p:nvPr>
        </p:nvSpPr>
        <p:spPr>
          <a:xfrm>
            <a:off x="262968" y="2799018"/>
            <a:ext cx="8530535" cy="638704"/>
          </a:xfrm>
          <a:prstGeom prst="rect">
            <a:avLst/>
          </a:prstGeom>
        </p:spPr>
        <p:txBody>
          <a:bodyPr vert="horz"/>
          <a:lstStyle>
            <a:lvl1pPr>
              <a:buNone/>
              <a:defRPr sz="3600">
                <a:solidFill>
                  <a:srgbClr val="FFFFFF"/>
                </a:solidFill>
              </a:defRPr>
            </a:lvl1pPr>
            <a:lvl2pPr>
              <a:buNone/>
              <a:defRPr sz="3600"/>
            </a:lvl2pPr>
            <a:lvl3pPr>
              <a:buNone/>
              <a:defRPr sz="3600"/>
            </a:lvl3pPr>
            <a:lvl4pPr>
              <a:buNone/>
              <a:defRPr sz="3600"/>
            </a:lvl4pPr>
            <a:lvl5pPr>
              <a:buNone/>
              <a:defRPr sz="3600"/>
            </a:lvl5pPr>
          </a:lstStyle>
          <a:p>
            <a:pPr lvl="0"/>
            <a:r>
              <a:rPr lang="en-US" dirty="0"/>
              <a:t>Section Title</a:t>
            </a:r>
          </a:p>
        </p:txBody>
      </p:sp>
      <p:pic>
        <p:nvPicPr>
          <p:cNvPr id="9" name="Picture 8"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1"/>
            <a:ext cx="688803" cy="798523"/>
          </a:xfrm>
          <a:prstGeom prst="rect">
            <a:avLst/>
          </a:prstGeom>
        </p:spPr>
      </p:pic>
    </p:spTree>
    <p:extLst>
      <p:ext uri="{BB962C8B-B14F-4D97-AF65-F5344CB8AC3E}">
        <p14:creationId xmlns:p14="http://schemas.microsoft.com/office/powerpoint/2010/main" val="27901043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4" name="Picture 13" descr="Infoflow_Appendix_1.png"/>
          <p:cNvPicPr>
            <a:picLocks noChangeAspect="1"/>
          </p:cNvPicPr>
          <p:nvPr userDrawn="1"/>
        </p:nvPicPr>
        <p:blipFill>
          <a:blip r:embed="rId2"/>
          <a:stretch>
            <a:fillRect/>
          </a:stretch>
        </p:blipFill>
        <p:spPr>
          <a:xfrm>
            <a:off x="0" y="0"/>
            <a:ext cx="9144000" cy="6858000"/>
          </a:xfrm>
          <a:prstGeom prst="rect">
            <a:avLst/>
          </a:prstGeom>
        </p:spPr>
      </p:pic>
      <p:sp>
        <p:nvSpPr>
          <p:cNvPr id="11" name="Text Placeholder 10"/>
          <p:cNvSpPr>
            <a:spLocks noGrp="1"/>
          </p:cNvSpPr>
          <p:nvPr>
            <p:ph type="body" sz="quarter" idx="12"/>
          </p:nvPr>
        </p:nvSpPr>
        <p:spPr>
          <a:xfrm>
            <a:off x="254910" y="3470899"/>
            <a:ext cx="8653159" cy="1718018"/>
          </a:xfrm>
          <a:prstGeom prst="rect">
            <a:avLst/>
          </a:prstGeom>
        </p:spPr>
        <p:txBody>
          <a:bodyPr vert="horz"/>
          <a:lstStyle>
            <a:lvl1pPr>
              <a:buNone/>
              <a:defRPr sz="1600">
                <a:solidFill>
                  <a:srgbClr val="FFFFFF"/>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254148" y="2795676"/>
            <a:ext cx="8653919" cy="638704"/>
          </a:xfrm>
          <a:prstGeom prst="rect">
            <a:avLst/>
          </a:prstGeom>
        </p:spPr>
        <p:txBody>
          <a:bodyPr vert="horz"/>
          <a:lstStyle>
            <a:lvl1pPr>
              <a:buNone/>
              <a:defRPr sz="3600">
                <a:solidFill>
                  <a:srgbClr val="FFFFFF"/>
                </a:solidFill>
              </a:defRPr>
            </a:lvl1pPr>
            <a:lvl2pPr>
              <a:buNone/>
              <a:defRPr sz="3600"/>
            </a:lvl2pPr>
            <a:lvl3pPr>
              <a:buNone/>
              <a:defRPr sz="3600"/>
            </a:lvl3pPr>
            <a:lvl4pPr>
              <a:buNone/>
              <a:defRPr sz="3600"/>
            </a:lvl4pPr>
            <a:lvl5pPr>
              <a:buNone/>
              <a:defRPr sz="3600"/>
            </a:lvl5pPr>
          </a:lstStyle>
          <a:p>
            <a:pPr lvl="0"/>
            <a:r>
              <a:rPr lang="en-US" dirty="0"/>
              <a:t>Appendix</a:t>
            </a:r>
          </a:p>
        </p:txBody>
      </p:sp>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1"/>
            <a:ext cx="688803" cy="798523"/>
          </a:xfrm>
          <a:prstGeom prst="rect">
            <a:avLst/>
          </a:prstGeom>
        </p:spPr>
      </p:pic>
    </p:spTree>
    <p:extLst>
      <p:ext uri="{BB962C8B-B14F-4D97-AF65-F5344CB8AC3E}">
        <p14:creationId xmlns:p14="http://schemas.microsoft.com/office/powerpoint/2010/main" val="10255629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Diagram or Organization Chart">
    <p:spTree>
      <p:nvGrpSpPr>
        <p:cNvPr id="1" name=""/>
        <p:cNvGrpSpPr/>
        <p:nvPr/>
      </p:nvGrpSpPr>
      <p:grpSpPr>
        <a:xfrm>
          <a:off x="0" y="0"/>
          <a:ext cx="0" cy="0"/>
          <a:chOff x="0" y="0"/>
          <a:chExt cx="0" cy="0"/>
        </a:xfrm>
      </p:grpSpPr>
      <p:sp>
        <p:nvSpPr>
          <p:cNvPr id="3" name="SmartArt Placeholder 2"/>
          <p:cNvSpPr>
            <a:spLocks noGrp="1"/>
          </p:cNvSpPr>
          <p:nvPr>
            <p:ph type="dgm" idx="1"/>
          </p:nvPr>
        </p:nvSpPr>
        <p:spPr>
          <a:xfrm>
            <a:off x="381000" y="1066800"/>
            <a:ext cx="8458200" cy="5257800"/>
          </a:xfrm>
          <a:prstGeom prst="rect">
            <a:avLst/>
          </a:prstGeom>
        </p:spPr>
        <p:txBody>
          <a:bodyPr rtlCol="0">
            <a:normAutofit/>
          </a:bodyPr>
          <a:lstStyle/>
          <a:p>
            <a:pPr lvl="0"/>
            <a:endParaRPr lang="en-US" noProof="0" dirty="0"/>
          </a:p>
        </p:txBody>
      </p:sp>
      <p:sp>
        <p:nvSpPr>
          <p:cNvPr id="4" name="Title Placeholder 1"/>
          <p:cNvSpPr>
            <a:spLocks noGrp="1"/>
          </p:cNvSpPr>
          <p:nvPr>
            <p:ph type="title"/>
          </p:nvPr>
        </p:nvSpPr>
        <p:spPr>
          <a:xfrm>
            <a:off x="216570" y="384365"/>
            <a:ext cx="8238319" cy="418645"/>
          </a:xfrm>
          <a:prstGeom prst="rect">
            <a:avLst/>
          </a:prstGeom>
        </p:spPr>
        <p:txBody>
          <a:bodyPr vert="horz" lIns="91440" tIns="45720" rIns="91440" bIns="45720" rtlCol="0" anchor="ctr">
            <a:noAutofit/>
          </a:bodyPr>
          <a:lstStyle/>
          <a:p>
            <a:r>
              <a:rPr lang="en-US" dirty="0"/>
              <a:t>Title of Slide</a:t>
            </a:r>
          </a:p>
        </p:txBody>
      </p:sp>
    </p:spTree>
    <p:extLst>
      <p:ext uri="{BB962C8B-B14F-4D97-AF65-F5344CB8AC3E}">
        <p14:creationId xmlns:p14="http://schemas.microsoft.com/office/powerpoint/2010/main" val="5735050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_w/ CPMRC logo, w/out page #">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34439"/>
            <a:ext cx="8229600" cy="4572000"/>
          </a:xfrm>
          <a:prstGeom prst="rect">
            <a:avLst/>
          </a:prstGeom>
        </p:spPr>
        <p:txBody>
          <a:bodyPr/>
          <a:lstStyle>
            <a:lvl1pPr>
              <a:defRPr>
                <a:latin typeface="+mn-lt"/>
                <a:cs typeface="Arial" pitchFamily="34" charset="0"/>
              </a:defRPr>
            </a:lvl1pPr>
            <a:lvl2pPr>
              <a:defRPr>
                <a:latin typeface="+mn-lt"/>
                <a:cs typeface="Arial" pitchFamily="34" charset="0"/>
              </a:defRPr>
            </a:lvl2pPr>
            <a:lvl3pPr>
              <a:defRPr>
                <a:latin typeface="+mn-lt"/>
                <a:cs typeface="Arial" pitchFamily="34" charset="0"/>
              </a:defRPr>
            </a:lvl3pPr>
            <a:lvl4pPr>
              <a:defRPr>
                <a:latin typeface="Arial" pitchFamily="34" charset="0"/>
                <a:cs typeface="Arial" pitchFamily="34" charset="0"/>
              </a:defRPr>
            </a:lvl4pPr>
            <a:lvl5pPr>
              <a:defRPr>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Placeholder 1"/>
          <p:cNvSpPr>
            <a:spLocks noGrp="1"/>
          </p:cNvSpPr>
          <p:nvPr>
            <p:ph type="title"/>
          </p:nvPr>
        </p:nvSpPr>
        <p:spPr>
          <a:xfrm>
            <a:off x="216570" y="384365"/>
            <a:ext cx="8238319" cy="418645"/>
          </a:xfrm>
          <a:prstGeom prst="rect">
            <a:avLst/>
          </a:prstGeom>
        </p:spPr>
        <p:txBody>
          <a:bodyPr vert="horz" lIns="91440" tIns="45720" rIns="91440" bIns="45720" rtlCol="0" anchor="ctr">
            <a:noAutofit/>
          </a:bodyPr>
          <a:lstStyle/>
          <a:p>
            <a:r>
              <a:rPr lang="en-US" dirty="0"/>
              <a:t>Title of Slide</a:t>
            </a:r>
          </a:p>
        </p:txBody>
      </p:sp>
    </p:spTree>
    <p:extLst>
      <p:ext uri="{BB962C8B-B14F-4D97-AF65-F5344CB8AC3E}">
        <p14:creationId xmlns:p14="http://schemas.microsoft.com/office/powerpoint/2010/main" val="264437025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7" y="5683665"/>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7" y="1500111"/>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9"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9" name="Title Placeholder 1"/>
          <p:cNvSpPr>
            <a:spLocks noGrp="1"/>
          </p:cNvSpPr>
          <p:nvPr>
            <p:ph type="title"/>
          </p:nvPr>
        </p:nvSpPr>
        <p:spPr>
          <a:xfrm>
            <a:off x="216570" y="384365"/>
            <a:ext cx="8238319" cy="418645"/>
          </a:xfrm>
          <a:prstGeom prst="rect">
            <a:avLst/>
          </a:prstGeom>
        </p:spPr>
        <p:txBody>
          <a:bodyPr vert="horz" lIns="91440" tIns="45720" rIns="91440" bIns="45720" rtlCol="0" anchor="ctr">
            <a:noAutofit/>
          </a:bodyPr>
          <a:lstStyle/>
          <a:p>
            <a:r>
              <a:rPr lang="en-US" dirty="0"/>
              <a:t>Title of Slide</a:t>
            </a:r>
          </a:p>
        </p:txBody>
      </p:sp>
    </p:spTree>
    <p:extLst>
      <p:ext uri="{BB962C8B-B14F-4D97-AF65-F5344CB8AC3E}">
        <p14:creationId xmlns:p14="http://schemas.microsoft.com/office/powerpoint/2010/main" val="30903390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0189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ver Option 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a:t>Cover Slide Title</a:t>
            </a:r>
            <a:br>
              <a:rPr lang="en-US" dirty="0"/>
            </a:br>
            <a:r>
              <a:rPr lang="en-US" dirty="0"/>
              <a:t>Second Line If Necessary</a:t>
            </a:r>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a:t>SUBTITLE OF PRESENTATION</a:t>
            </a:r>
          </a:p>
        </p:txBody>
      </p:sp>
      <p:sp>
        <p:nvSpPr>
          <p:cNvPr id="5" name="Text Placeholder 4"/>
          <p:cNvSpPr>
            <a:spLocks noGrp="1"/>
          </p:cNvSpPr>
          <p:nvPr>
            <p:ph type="body" sz="quarter" idx="14"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a:t>FirstName</a:t>
            </a:r>
            <a:r>
              <a:rPr lang="en-US" dirty="0"/>
              <a:t> </a:t>
            </a:r>
            <a:r>
              <a:rPr lang="en-US" dirty="0" err="1"/>
              <a:t>LastName</a:t>
            </a:r>
            <a:endParaRPr lang="en-US" dirty="0"/>
          </a:p>
        </p:txBody>
      </p:sp>
      <p:sp>
        <p:nvSpPr>
          <p:cNvPr id="7" name="TextBox 6"/>
          <p:cNvSpPr txBox="1"/>
          <p:nvPr/>
        </p:nvSpPr>
        <p:spPr>
          <a:xfrm>
            <a:off x="252412" y="4400662"/>
            <a:ext cx="1094014" cy="215444"/>
          </a:xfrm>
          <a:prstGeom prst="rect">
            <a:avLst/>
          </a:prstGeom>
          <a:noFill/>
        </p:spPr>
        <p:txBody>
          <a:bodyPr wrap="square" rtlCol="0">
            <a:spAutoFit/>
          </a:bodyPr>
          <a:lstStyle/>
          <a:p>
            <a:r>
              <a:rPr lang="en-US" sz="800" dirty="0">
                <a:solidFill>
                  <a:srgbClr val="75787B"/>
                </a:solidFill>
                <a:latin typeface="Arial" panose="020B0604020202020204" pitchFamily="34" charset="0"/>
                <a:cs typeface="Arial" panose="020B0604020202020204" pitchFamily="34" charset="0"/>
              </a:rPr>
              <a:t>Presented By</a:t>
            </a:r>
          </a:p>
        </p:txBody>
      </p:sp>
      <p:sp>
        <p:nvSpPr>
          <p:cNvPr id="11" name="Text Placeholder 4"/>
          <p:cNvSpPr>
            <a:spLocks noGrp="1"/>
          </p:cNvSpPr>
          <p:nvPr>
            <p:ph type="body" sz="quarter" idx="15"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a:t>XX_XX_XX</a:t>
            </a:r>
          </a:p>
        </p:txBody>
      </p:sp>
      <p:sp>
        <p:nvSpPr>
          <p:cNvPr id="12" name="TextBox 11"/>
          <p:cNvSpPr txBox="1"/>
          <p:nvPr/>
        </p:nvSpPr>
        <p:spPr>
          <a:xfrm>
            <a:off x="249691" y="4577554"/>
            <a:ext cx="1094014" cy="215444"/>
          </a:xfrm>
          <a:prstGeom prst="rect">
            <a:avLst/>
          </a:prstGeom>
          <a:noFill/>
        </p:spPr>
        <p:txBody>
          <a:bodyPr wrap="square" rtlCol="0">
            <a:spAutoFit/>
          </a:bodyPr>
          <a:lstStyle/>
          <a:p>
            <a:r>
              <a:rPr lang="en-US" sz="800" dirty="0">
                <a:solidFill>
                  <a:srgbClr val="75787B"/>
                </a:solidFill>
                <a:latin typeface="Arial" panose="020B0604020202020204" pitchFamily="34" charset="0"/>
                <a:cs typeface="Arial" panose="020B0604020202020204" pitchFamily="34" charset="0"/>
              </a:rPr>
              <a:t>Date</a:t>
            </a:r>
          </a:p>
        </p:txBody>
      </p:sp>
    </p:spTree>
    <p:extLst>
      <p:ext uri="{BB962C8B-B14F-4D97-AF65-F5344CB8AC3E}">
        <p14:creationId xmlns:p14="http://schemas.microsoft.com/office/powerpoint/2010/main" val="2507054125"/>
      </p:ext>
    </p:extLst>
  </p:cSld>
  <p:clrMapOvr>
    <a:masterClrMapping/>
  </p:clrMapOvr>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sp>
        <p:nvSpPr>
          <p:cNvPr id="5"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a:t>Section Title And Multiple Lines If Necessary</a:t>
            </a:r>
          </a:p>
        </p:txBody>
      </p:sp>
      <p:pic>
        <p:nvPicPr>
          <p:cNvPr id="6" name="Picture 2" descr="C:\Users\IversonS\Desktop\Elsevier Education\Education Branding\Illustrations\Elsevier_World_Health_aw.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0" y="0"/>
            <a:ext cx="4779264" cy="6870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16453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ver Option 2">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a:t>Cover Slide Title</a:t>
            </a:r>
            <a:br>
              <a:rPr lang="en-US" dirty="0"/>
            </a:br>
            <a:r>
              <a:rPr lang="en-US" dirty="0"/>
              <a:t>Second Line If Necessary</a:t>
            </a:r>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a:t>SUBTITLE OF PRESENTATION</a:t>
            </a:r>
          </a:p>
        </p:txBody>
      </p:sp>
      <p:sp>
        <p:nvSpPr>
          <p:cNvPr id="4" name="Picture Placeholder 3"/>
          <p:cNvSpPr>
            <a:spLocks noGrp="1"/>
          </p:cNvSpPr>
          <p:nvPr>
            <p:ph type="pic" sz="quarter" idx="16" hasCustomPrompt="1"/>
          </p:nvPr>
        </p:nvSpPr>
        <p:spPr>
          <a:xfrm>
            <a:off x="6834188" y="642938"/>
            <a:ext cx="1093787" cy="301625"/>
          </a:xfrm>
          <a:prstGeom prst="rect">
            <a:avLst/>
          </a:prstGeom>
        </p:spPr>
        <p:txBody>
          <a:bodyPr anchor="ctr">
            <a:noAutofit/>
          </a:bodyPr>
          <a:lstStyle>
            <a:lvl1pPr marL="0" indent="0">
              <a:buNone/>
              <a:defRPr sz="900">
                <a:latin typeface="Arial" panose="020B0604020202020204" pitchFamily="34" charset="0"/>
                <a:cs typeface="Arial" panose="020B0604020202020204" pitchFamily="34" charset="0"/>
              </a:defRPr>
            </a:lvl1pPr>
          </a:lstStyle>
          <a:p>
            <a:r>
              <a:rPr lang="en-US" dirty="0"/>
              <a:t>Click to Insert Logo</a:t>
            </a:r>
            <a:br>
              <a:rPr lang="en-US" dirty="0"/>
            </a:br>
            <a:r>
              <a:rPr lang="en-US" dirty="0"/>
              <a:t>(Adjust as needed)</a:t>
            </a:r>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a:t>FirstName</a:t>
            </a:r>
            <a:r>
              <a:rPr lang="en-US" dirty="0"/>
              <a:t> </a:t>
            </a:r>
            <a:r>
              <a:rPr lang="en-US" dirty="0" err="1"/>
              <a:t>LastName</a:t>
            </a:r>
            <a:endParaRPr lang="en-US" dirty="0"/>
          </a:p>
        </p:txBody>
      </p:sp>
      <p:sp>
        <p:nvSpPr>
          <p:cNvPr id="11" name="TextBox 10"/>
          <p:cNvSpPr txBox="1"/>
          <p:nvPr/>
        </p:nvSpPr>
        <p:spPr>
          <a:xfrm>
            <a:off x="717776" y="5951877"/>
            <a:ext cx="1094014" cy="215444"/>
          </a:xfrm>
          <a:prstGeom prst="rect">
            <a:avLst/>
          </a:prstGeom>
          <a:noFill/>
        </p:spPr>
        <p:txBody>
          <a:bodyPr wrap="square" rtlCol="0">
            <a:spAutoFit/>
          </a:bodyPr>
          <a:lstStyle/>
          <a:p>
            <a:r>
              <a:rPr lang="en-US" sz="800" dirty="0">
                <a:solidFill>
                  <a:srgbClr val="75787B"/>
                </a:solidFill>
                <a:latin typeface="Arial" panose="020B0604020202020204" pitchFamily="34" charset="0"/>
                <a:cs typeface="Arial" panose="020B0604020202020204" pitchFamily="34" charset="0"/>
              </a:rPr>
              <a:t>Presented By</a:t>
            </a: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a:t>XX_XX_XX</a:t>
            </a:r>
          </a:p>
        </p:txBody>
      </p:sp>
      <p:sp>
        <p:nvSpPr>
          <p:cNvPr id="13" name="TextBox 12"/>
          <p:cNvSpPr txBox="1"/>
          <p:nvPr/>
        </p:nvSpPr>
        <p:spPr>
          <a:xfrm>
            <a:off x="715055" y="6128769"/>
            <a:ext cx="1094014" cy="215444"/>
          </a:xfrm>
          <a:prstGeom prst="rect">
            <a:avLst/>
          </a:prstGeom>
          <a:noFill/>
        </p:spPr>
        <p:txBody>
          <a:bodyPr wrap="square" rtlCol="0">
            <a:spAutoFit/>
          </a:bodyPr>
          <a:lstStyle/>
          <a:p>
            <a:r>
              <a:rPr lang="en-US" sz="800" dirty="0">
                <a:solidFill>
                  <a:srgbClr val="75787B"/>
                </a:solidFill>
                <a:latin typeface="Arial" panose="020B0604020202020204" pitchFamily="34" charset="0"/>
                <a:cs typeface="Arial" panose="020B0604020202020204" pitchFamily="34" charset="0"/>
              </a:rPr>
              <a:t>Date</a:t>
            </a:r>
          </a:p>
        </p:txBody>
      </p:sp>
    </p:spTree>
    <p:extLst>
      <p:ext uri="{BB962C8B-B14F-4D97-AF65-F5344CB8AC3E}">
        <p14:creationId xmlns:p14="http://schemas.microsoft.com/office/powerpoint/2010/main" val="3943442977"/>
      </p:ext>
    </p:extLst>
  </p:cSld>
  <p:clrMapOvr>
    <a:masterClrMapping/>
  </p:clrMapOvr>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over Option 3">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715055" y="310026"/>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a:t>Cover Slide Title</a:t>
            </a:r>
            <a:br>
              <a:rPr lang="en-US" dirty="0"/>
            </a:br>
            <a:r>
              <a:rPr lang="en-US" dirty="0"/>
              <a:t>Second Line If Necessary</a:t>
            </a:r>
          </a:p>
        </p:txBody>
      </p:sp>
      <p:sp>
        <p:nvSpPr>
          <p:cNvPr id="9" name="Text Placeholder 8"/>
          <p:cNvSpPr>
            <a:spLocks noGrp="1"/>
          </p:cNvSpPr>
          <p:nvPr>
            <p:ph type="body" sz="quarter" idx="13" hasCustomPrompt="1"/>
          </p:nvPr>
        </p:nvSpPr>
        <p:spPr>
          <a:xfrm>
            <a:off x="722539" y="1065217"/>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a:t>SUBTITLE OF PRESENTATION</a:t>
            </a:r>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a:t>FirstName</a:t>
            </a:r>
            <a:r>
              <a:rPr lang="en-US" dirty="0"/>
              <a:t> </a:t>
            </a:r>
            <a:r>
              <a:rPr lang="en-US" dirty="0" err="1"/>
              <a:t>LastName</a:t>
            </a:r>
            <a:endParaRPr lang="en-US" dirty="0"/>
          </a:p>
        </p:txBody>
      </p:sp>
      <p:sp>
        <p:nvSpPr>
          <p:cNvPr id="11" name="TextBox 10"/>
          <p:cNvSpPr txBox="1"/>
          <p:nvPr/>
        </p:nvSpPr>
        <p:spPr>
          <a:xfrm>
            <a:off x="717776" y="5951877"/>
            <a:ext cx="1094014" cy="215444"/>
          </a:xfrm>
          <a:prstGeom prst="rect">
            <a:avLst/>
          </a:prstGeom>
          <a:noFill/>
        </p:spPr>
        <p:txBody>
          <a:bodyPr wrap="square" rtlCol="0">
            <a:spAutoFit/>
          </a:bodyPr>
          <a:lstStyle/>
          <a:p>
            <a:r>
              <a:rPr lang="en-US" sz="800" dirty="0">
                <a:solidFill>
                  <a:srgbClr val="75787B"/>
                </a:solidFill>
                <a:latin typeface="Arial" panose="020B0604020202020204" pitchFamily="34" charset="0"/>
                <a:cs typeface="Arial" panose="020B0604020202020204" pitchFamily="34" charset="0"/>
              </a:rPr>
              <a:t>Presented By</a:t>
            </a: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a:t>XX_XX_XX</a:t>
            </a:r>
          </a:p>
        </p:txBody>
      </p:sp>
      <p:sp>
        <p:nvSpPr>
          <p:cNvPr id="13" name="TextBox 12"/>
          <p:cNvSpPr txBox="1"/>
          <p:nvPr/>
        </p:nvSpPr>
        <p:spPr>
          <a:xfrm>
            <a:off x="715055" y="6128769"/>
            <a:ext cx="1094014" cy="215444"/>
          </a:xfrm>
          <a:prstGeom prst="rect">
            <a:avLst/>
          </a:prstGeom>
          <a:noFill/>
        </p:spPr>
        <p:txBody>
          <a:bodyPr wrap="square" rtlCol="0">
            <a:spAutoFit/>
          </a:bodyPr>
          <a:lstStyle/>
          <a:p>
            <a:r>
              <a:rPr lang="en-US" sz="800" dirty="0">
                <a:solidFill>
                  <a:srgbClr val="75787B"/>
                </a:solidFill>
                <a:latin typeface="Arial" panose="020B0604020202020204" pitchFamily="34" charset="0"/>
                <a:cs typeface="Arial" panose="020B0604020202020204" pitchFamily="34" charset="0"/>
              </a:rPr>
              <a:t>Date</a:t>
            </a:r>
          </a:p>
        </p:txBody>
      </p:sp>
    </p:spTree>
    <p:extLst>
      <p:ext uri="{BB962C8B-B14F-4D97-AF65-F5344CB8AC3E}">
        <p14:creationId xmlns:p14="http://schemas.microsoft.com/office/powerpoint/2010/main" val="606076204"/>
      </p:ext>
    </p:extLst>
  </p:cSld>
  <p:clrMapOvr>
    <a:masterClrMapping/>
  </p:clrMapOvr>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over Option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378" y="283"/>
            <a:ext cx="9143242" cy="6857432"/>
          </a:xfrm>
          <a:prstGeom prst="rect">
            <a:avLst/>
          </a:prstGeom>
        </p:spPr>
      </p:pic>
      <p:sp>
        <p:nvSpPr>
          <p:cNvPr id="14" name="Title 1"/>
          <p:cNvSpPr txBox="1">
            <a:spLocks/>
          </p:cNvSpPr>
          <p:nvPr/>
        </p:nvSpPr>
        <p:spPr>
          <a:xfrm>
            <a:off x="244928" y="2910351"/>
            <a:ext cx="7772400" cy="72276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600" b="1" kern="120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a:t>Cover Slide Title</a:t>
            </a:r>
            <a:br>
              <a:rPr lang="en-US" dirty="0"/>
            </a:br>
            <a:r>
              <a:rPr lang="en-US" dirty="0"/>
              <a:t>Second Line If Necessary</a:t>
            </a:r>
          </a:p>
        </p:txBody>
      </p:sp>
      <p:sp>
        <p:nvSpPr>
          <p:cNvPr id="15" name="Text Placeholder 8"/>
          <p:cNvSpPr>
            <a:spLocks noGrp="1"/>
          </p:cNvSpPr>
          <p:nvPr>
            <p:ph type="body" sz="quarter" idx="16"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a:t>SUBTITLE OF PRESENTATION</a:t>
            </a:r>
          </a:p>
        </p:txBody>
      </p:sp>
      <p:sp>
        <p:nvSpPr>
          <p:cNvPr id="16" name="Text Placeholder 4"/>
          <p:cNvSpPr>
            <a:spLocks noGrp="1"/>
          </p:cNvSpPr>
          <p:nvPr>
            <p:ph type="body" sz="quarter" idx="17"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err="1"/>
              <a:t>FirstName</a:t>
            </a:r>
            <a:r>
              <a:rPr lang="en-US" dirty="0"/>
              <a:t> </a:t>
            </a:r>
            <a:r>
              <a:rPr lang="en-US" dirty="0" err="1"/>
              <a:t>LastName</a:t>
            </a:r>
            <a:endParaRPr lang="en-US" dirty="0"/>
          </a:p>
        </p:txBody>
      </p:sp>
      <p:sp>
        <p:nvSpPr>
          <p:cNvPr id="17" name="TextBox 16"/>
          <p:cNvSpPr txBox="1"/>
          <p:nvPr/>
        </p:nvSpPr>
        <p:spPr>
          <a:xfrm>
            <a:off x="252412" y="4400662"/>
            <a:ext cx="1094014" cy="215444"/>
          </a:xfrm>
          <a:prstGeom prst="rect">
            <a:avLst/>
          </a:prstGeom>
          <a:noFill/>
        </p:spPr>
        <p:txBody>
          <a:bodyPr wrap="square" rtlCol="0">
            <a:spAutoFit/>
          </a:bodyPr>
          <a:lstStyle/>
          <a:p>
            <a:r>
              <a:rPr lang="en-US" sz="800" dirty="0">
                <a:solidFill>
                  <a:schemeClr val="bg1"/>
                </a:solidFill>
                <a:latin typeface="Arial" panose="020B0604020202020204" pitchFamily="34" charset="0"/>
                <a:cs typeface="Arial" panose="020B0604020202020204" pitchFamily="34" charset="0"/>
              </a:rPr>
              <a:t>Presented By</a:t>
            </a:r>
          </a:p>
        </p:txBody>
      </p:sp>
      <p:sp>
        <p:nvSpPr>
          <p:cNvPr id="18" name="Text Placeholder 4"/>
          <p:cNvSpPr>
            <a:spLocks noGrp="1"/>
          </p:cNvSpPr>
          <p:nvPr>
            <p:ph type="body" sz="quarter" idx="18"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a:t>XX_XX_XX</a:t>
            </a:r>
          </a:p>
        </p:txBody>
      </p:sp>
      <p:sp>
        <p:nvSpPr>
          <p:cNvPr id="19" name="TextBox 18"/>
          <p:cNvSpPr txBox="1"/>
          <p:nvPr/>
        </p:nvSpPr>
        <p:spPr>
          <a:xfrm>
            <a:off x="249691" y="4577554"/>
            <a:ext cx="1094014" cy="215444"/>
          </a:xfrm>
          <a:prstGeom prst="rect">
            <a:avLst/>
          </a:prstGeom>
          <a:noFill/>
        </p:spPr>
        <p:txBody>
          <a:bodyPr wrap="square" rtlCol="0">
            <a:spAutoFit/>
          </a:bodyPr>
          <a:lstStyle/>
          <a:p>
            <a:r>
              <a:rPr lang="en-US" sz="800" dirty="0">
                <a:solidFill>
                  <a:schemeClr val="bg1"/>
                </a:solidFill>
                <a:latin typeface="Arial" panose="020B0604020202020204" pitchFamily="34" charset="0"/>
                <a:cs typeface="Arial" panose="020B0604020202020204" pitchFamily="34" charset="0"/>
              </a:rPr>
              <a:t>Date</a:t>
            </a:r>
          </a:p>
        </p:txBody>
      </p:sp>
    </p:spTree>
    <p:extLst>
      <p:ext uri="{BB962C8B-B14F-4D97-AF65-F5344CB8AC3E}">
        <p14:creationId xmlns:p14="http://schemas.microsoft.com/office/powerpoint/2010/main" val="3226875426"/>
      </p:ext>
    </p:extLst>
  </p:cSld>
  <p:clrMapOvr>
    <a:masterClrMapping/>
  </p:clrMapOvr>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Break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715055" y="1728080"/>
            <a:ext cx="7772400" cy="503491"/>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a:t>Section Title</a:t>
            </a:r>
          </a:p>
        </p:txBody>
      </p:sp>
      <p:sp>
        <p:nvSpPr>
          <p:cNvPr id="6" name="Content Placeholder 5"/>
          <p:cNvSpPr>
            <a:spLocks noGrp="1"/>
          </p:cNvSpPr>
          <p:nvPr>
            <p:ph sz="quarter" idx="16" hasCustomPrompt="1"/>
          </p:nvPr>
        </p:nvSpPr>
        <p:spPr>
          <a:xfrm>
            <a:off x="714375" y="2318657"/>
            <a:ext cx="4567918" cy="2343150"/>
          </a:xfrm>
        </p:spPr>
        <p:txBody>
          <a:bodyPr>
            <a:normAutofit/>
          </a:bodyPr>
          <a:lstStyle>
            <a:lvl1pPr marL="0" indent="0">
              <a:buNone/>
              <a:defRPr sz="2000" b="0" baseline="0">
                <a:solidFill>
                  <a:schemeClr val="bg1"/>
                </a:solidFill>
              </a:defRPr>
            </a:lvl1pPr>
          </a:lstStyle>
          <a:p>
            <a:pPr lvl="0"/>
            <a:r>
              <a:rPr lang="en-US" dirty="0"/>
              <a:t>Add Section title text here</a:t>
            </a:r>
          </a:p>
        </p:txBody>
      </p:sp>
    </p:spTree>
    <p:extLst>
      <p:ext uri="{BB962C8B-B14F-4D97-AF65-F5344CB8AC3E}">
        <p14:creationId xmlns:p14="http://schemas.microsoft.com/office/powerpoint/2010/main" val="2847810916"/>
      </p:ext>
    </p:extLst>
  </p:cSld>
  <p:clrMapOvr>
    <a:masterClrMapping/>
  </p:clrMapOvr>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ntent: Text &amp;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10404"/>
            <a:ext cx="3502478" cy="4798560"/>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76661"/>
            <a:ext cx="457200" cy="327933"/>
          </a:xfrm>
          <a:prstGeom prst="rect">
            <a:avLst/>
          </a:prstGeom>
        </p:spPr>
        <p:txBody>
          <a:bodyPr vert="horz" lIns="91440" tIns="45720" rIns="91440" bIns="45720" rtlCol="0" anchor="ctr"/>
          <a:lstStyle>
            <a:lvl1pPr algn="r">
              <a:defRPr sz="700">
                <a:solidFill>
                  <a:schemeClr val="bg1"/>
                </a:solidFill>
              </a:defRPr>
            </a:lvl1pPr>
          </a:lstStyle>
          <a:p>
            <a:fld id="{0A0261F9-485B-4EA1-9636-8EC9FABB98F7}" type="slidenum">
              <a:rPr lang="en-US" smtClean="0"/>
              <a:t>‹#›</a:t>
            </a:fld>
            <a:endParaRPr lang="en-US"/>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4" name="Picture Placeholder 3"/>
          <p:cNvSpPr>
            <a:spLocks noGrp="1"/>
          </p:cNvSpPr>
          <p:nvPr>
            <p:ph type="pic" sz="quarter" idx="11"/>
          </p:nvPr>
        </p:nvSpPr>
        <p:spPr>
          <a:xfrm>
            <a:off x="4759325" y="1610634"/>
            <a:ext cx="4384675" cy="4798316"/>
          </a:xfrm>
        </p:spPr>
        <p:txBody>
          <a:bodyPr/>
          <a:lstStyle/>
          <a:p>
            <a:r>
              <a:rPr lang="en-US"/>
              <a:t>Click icon to add picture</a:t>
            </a:r>
            <a:endParaRPr lang="en-US" dirty="0"/>
          </a:p>
        </p:txBody>
      </p:sp>
    </p:spTree>
    <p:extLst>
      <p:ext uri="{BB962C8B-B14F-4D97-AF65-F5344CB8AC3E}">
        <p14:creationId xmlns:p14="http://schemas.microsoft.com/office/powerpoint/2010/main" val="40722488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ntent: Three Photos">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p:txBody>
      </p:sp>
      <p:sp>
        <p:nvSpPr>
          <p:cNvPr id="12" name="Slide Number Placeholder 7"/>
          <p:cNvSpPr>
            <a:spLocks noGrp="1"/>
          </p:cNvSpPr>
          <p:nvPr>
            <p:ph type="sldNum" sz="quarter" idx="4"/>
          </p:nvPr>
        </p:nvSpPr>
        <p:spPr>
          <a:xfrm>
            <a:off x="8548008" y="76661"/>
            <a:ext cx="457200" cy="327933"/>
          </a:xfrm>
          <a:prstGeom prst="rect">
            <a:avLst/>
          </a:prstGeom>
        </p:spPr>
        <p:txBody>
          <a:bodyPr vert="horz" lIns="91440" tIns="45720" rIns="91440" bIns="45720" rtlCol="0" anchor="ctr"/>
          <a:lstStyle>
            <a:lvl1pPr algn="r">
              <a:defRPr sz="700">
                <a:solidFill>
                  <a:schemeClr val="bg1"/>
                </a:solidFill>
              </a:defRPr>
            </a:lvl1pPr>
          </a:lstStyle>
          <a:p>
            <a:fld id="{0A0261F9-485B-4EA1-9636-8EC9FABB98F7}" type="slidenum">
              <a:rPr lang="en-US" smtClean="0"/>
              <a:t>‹#›</a:t>
            </a:fld>
            <a:endParaRPr lang="en-US"/>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4" name="Picture Placeholder 3"/>
          <p:cNvSpPr>
            <a:spLocks noGrp="1"/>
          </p:cNvSpPr>
          <p:nvPr>
            <p:ph type="pic" sz="quarter" idx="11"/>
          </p:nvPr>
        </p:nvSpPr>
        <p:spPr>
          <a:xfrm>
            <a:off x="1093790" y="1604739"/>
            <a:ext cx="2166479" cy="1799770"/>
          </a:xfrm>
        </p:spPr>
        <p:txBody>
          <a:bodyPr/>
          <a:lstStyle/>
          <a:p>
            <a:r>
              <a:rPr lang="en-US"/>
              <a:t>Click icon to add picture</a:t>
            </a:r>
            <a:endParaRPr lang="en-US" dirty="0"/>
          </a:p>
        </p:txBody>
      </p:sp>
      <p:sp>
        <p:nvSpPr>
          <p:cNvPr id="7" name="Picture Placeholder 3"/>
          <p:cNvSpPr>
            <a:spLocks noGrp="1"/>
          </p:cNvSpPr>
          <p:nvPr>
            <p:ph type="pic" sz="quarter" idx="12"/>
          </p:nvPr>
        </p:nvSpPr>
        <p:spPr>
          <a:xfrm>
            <a:off x="3450546" y="1604739"/>
            <a:ext cx="2166479" cy="1799770"/>
          </a:xfrm>
        </p:spPr>
        <p:txBody>
          <a:bodyPr/>
          <a:lstStyle/>
          <a:p>
            <a:r>
              <a:rPr lang="en-US"/>
              <a:t>Click icon to add picture</a:t>
            </a:r>
            <a:endParaRPr lang="en-US" dirty="0"/>
          </a:p>
        </p:txBody>
      </p:sp>
      <p:sp>
        <p:nvSpPr>
          <p:cNvPr id="8" name="Picture Placeholder 3"/>
          <p:cNvSpPr>
            <a:spLocks noGrp="1"/>
          </p:cNvSpPr>
          <p:nvPr>
            <p:ph type="pic" sz="quarter" idx="13"/>
          </p:nvPr>
        </p:nvSpPr>
        <p:spPr>
          <a:xfrm>
            <a:off x="5793699" y="1604738"/>
            <a:ext cx="2166479" cy="1799770"/>
          </a:xfrm>
        </p:spPr>
        <p:txBody>
          <a:bodyPr/>
          <a:lstStyle/>
          <a:p>
            <a:r>
              <a:rPr lang="en-US"/>
              <a:t>Click icon to add picture</a:t>
            </a:r>
            <a:endParaRPr lang="en-US" dirty="0"/>
          </a:p>
        </p:txBody>
      </p:sp>
      <p:sp>
        <p:nvSpPr>
          <p:cNvPr id="9" name="Content Placeholder 2"/>
          <p:cNvSpPr>
            <a:spLocks noGrp="1"/>
          </p:cNvSpPr>
          <p:nvPr>
            <p:ph idx="14"/>
          </p:nvPr>
        </p:nvSpPr>
        <p:spPr>
          <a:xfrm>
            <a:off x="3450544"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p:txBody>
      </p:sp>
      <p:sp>
        <p:nvSpPr>
          <p:cNvPr id="10" name="Content Placeholder 2"/>
          <p:cNvSpPr>
            <a:spLocks noGrp="1"/>
          </p:cNvSpPr>
          <p:nvPr>
            <p:ph idx="15"/>
          </p:nvPr>
        </p:nvSpPr>
        <p:spPr>
          <a:xfrm>
            <a:off x="5793697"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p:txBody>
      </p:sp>
    </p:spTree>
    <p:extLst>
      <p:ext uri="{BB962C8B-B14F-4D97-AF65-F5344CB8AC3E}">
        <p14:creationId xmlns:p14="http://schemas.microsoft.com/office/powerpoint/2010/main" val="10231757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76661"/>
            <a:ext cx="457200" cy="327933"/>
          </a:xfrm>
          <a:prstGeom prst="rect">
            <a:avLst/>
          </a:prstGeom>
        </p:spPr>
        <p:txBody>
          <a:bodyPr vert="horz" lIns="91440" tIns="45720" rIns="91440" bIns="45720" rtlCol="0" anchor="ctr"/>
          <a:lstStyle>
            <a:lvl1pPr algn="r">
              <a:defRPr sz="700">
                <a:solidFill>
                  <a:schemeClr val="bg1"/>
                </a:solidFill>
              </a:defRPr>
            </a:lvl1pPr>
          </a:lstStyle>
          <a:p>
            <a:fld id="{0A0261F9-485B-4EA1-9636-8EC9FABB98F7}" type="slidenum">
              <a:rPr lang="en-US" smtClean="0"/>
              <a:t>‹#›</a:t>
            </a:fld>
            <a:endParaRPr lang="en-US"/>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18052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76661"/>
            <a:ext cx="457200" cy="327933"/>
          </a:xfrm>
          <a:prstGeom prst="rect">
            <a:avLst/>
          </a:prstGeom>
        </p:spPr>
        <p:txBody>
          <a:bodyPr vert="horz" lIns="91440" tIns="45720" rIns="91440" bIns="45720" rtlCol="0" anchor="ctr"/>
          <a:lstStyle>
            <a:lvl1pPr algn="r">
              <a:defRPr sz="700">
                <a:solidFill>
                  <a:schemeClr val="bg1"/>
                </a:solidFill>
              </a:defRPr>
            </a:lvl1pPr>
          </a:lstStyle>
          <a:p>
            <a:fld id="{0A0261F9-485B-4EA1-9636-8EC9FABB98F7}" type="slidenum">
              <a:rPr lang="en-US" smtClean="0"/>
              <a:t>‹#›</a:t>
            </a:fld>
            <a:endParaRPr lang="en-US"/>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Tree>
    <p:extLst>
      <p:ext uri="{BB962C8B-B14F-4D97-AF65-F5344CB8AC3E}">
        <p14:creationId xmlns:p14="http://schemas.microsoft.com/office/powerpoint/2010/main" val="86311104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ntent: Author Quo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93788" y="1804309"/>
            <a:ext cx="5543776" cy="3224891"/>
          </a:xfrm>
          <a:prstGeom prst="rect">
            <a:avLst/>
          </a:prstGeom>
        </p:spPr>
        <p:txBody>
          <a:bodyPr>
            <a:normAutofit/>
          </a:bodyPr>
          <a:lstStyle>
            <a:lvl1pPr marL="0" indent="0">
              <a:buFontTx/>
              <a:buNone/>
              <a:defRPr sz="2600" b="0" i="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p:txBody>
      </p:sp>
      <p:sp>
        <p:nvSpPr>
          <p:cNvPr id="12" name="Slide Number Placeholder 7"/>
          <p:cNvSpPr>
            <a:spLocks noGrp="1"/>
          </p:cNvSpPr>
          <p:nvPr>
            <p:ph type="sldNum" sz="quarter" idx="4"/>
          </p:nvPr>
        </p:nvSpPr>
        <p:spPr>
          <a:xfrm>
            <a:off x="8548008" y="76661"/>
            <a:ext cx="457200" cy="327933"/>
          </a:xfrm>
          <a:prstGeom prst="rect">
            <a:avLst/>
          </a:prstGeom>
        </p:spPr>
        <p:txBody>
          <a:bodyPr vert="horz" lIns="91440" tIns="45720" rIns="91440" bIns="45720" rtlCol="0" anchor="ctr"/>
          <a:lstStyle>
            <a:lvl1pPr algn="r">
              <a:defRPr sz="700">
                <a:solidFill>
                  <a:schemeClr val="bg1"/>
                </a:solidFill>
              </a:defRPr>
            </a:lvl1pPr>
          </a:lstStyle>
          <a:p>
            <a:fld id="{0A0261F9-485B-4EA1-9636-8EC9FABB98F7}" type="slidenum">
              <a:rPr lang="en-US" smtClean="0"/>
              <a:t>‹#›</a:t>
            </a:fld>
            <a:endParaRPr lang="en-US"/>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6" name="Text Placeholder 13"/>
          <p:cNvSpPr>
            <a:spLocks noGrp="1"/>
          </p:cNvSpPr>
          <p:nvPr>
            <p:ph type="body" sz="quarter" idx="11" hasCustomPrompt="1"/>
          </p:nvPr>
        </p:nvSpPr>
        <p:spPr>
          <a:xfrm>
            <a:off x="1093788" y="1240517"/>
            <a:ext cx="7429500" cy="285750"/>
          </a:xfrm>
        </p:spPr>
        <p:txBody>
          <a:bodyPr>
            <a:noAutofit/>
          </a:bodyPr>
          <a:lstStyle>
            <a:lvl1pPr marL="0" indent="0">
              <a:buNone/>
              <a:defRPr sz="1400" b="0" baseline="0">
                <a:solidFill>
                  <a:srgbClr val="007398"/>
                </a:solidFill>
                <a:latin typeface="Arial" panose="020B0604020202020204" pitchFamily="34" charset="0"/>
                <a:cs typeface="Arial" panose="020B0604020202020204" pitchFamily="34" charset="0"/>
              </a:defRPr>
            </a:lvl1pPr>
          </a:lstStyle>
          <a:p>
            <a:pPr lvl="0"/>
            <a:r>
              <a:rPr lang="en-US" dirty="0"/>
              <a:t>Subtitle of Slide</a:t>
            </a:r>
          </a:p>
        </p:txBody>
      </p:sp>
      <p:sp>
        <p:nvSpPr>
          <p:cNvPr id="7" name="Text Placeholder 13"/>
          <p:cNvSpPr>
            <a:spLocks noGrp="1"/>
          </p:cNvSpPr>
          <p:nvPr>
            <p:ph type="body" sz="quarter" idx="12" hasCustomPrompt="1"/>
          </p:nvPr>
        </p:nvSpPr>
        <p:spPr>
          <a:xfrm>
            <a:off x="1093788" y="5132159"/>
            <a:ext cx="7429500" cy="285750"/>
          </a:xfrm>
        </p:spPr>
        <p:txBody>
          <a:bodyPr>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US" dirty="0"/>
              <a:t>Author Name</a:t>
            </a:r>
          </a:p>
        </p:txBody>
      </p:sp>
      <p:sp>
        <p:nvSpPr>
          <p:cNvPr id="8" name="Text Placeholder 13"/>
          <p:cNvSpPr>
            <a:spLocks noGrp="1"/>
          </p:cNvSpPr>
          <p:nvPr>
            <p:ph type="body" sz="quarter" idx="13"/>
          </p:nvPr>
        </p:nvSpPr>
        <p:spPr>
          <a:xfrm>
            <a:off x="1093788" y="5352143"/>
            <a:ext cx="7429500" cy="285750"/>
          </a:xfrm>
        </p:spPr>
        <p:txBody>
          <a:bodyPr>
            <a:noAutofit/>
          </a:bodyPr>
          <a:lstStyle>
            <a:lvl1pPr marL="0" indent="0">
              <a:buNone/>
              <a:defRPr sz="1200" b="0" baseline="0">
                <a:solidFill>
                  <a:srgbClr val="75787B"/>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6612308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p:txBody>
      </p:sp>
      <p:sp>
        <p:nvSpPr>
          <p:cNvPr id="12" name="Slide Number Placeholder 7"/>
          <p:cNvSpPr>
            <a:spLocks noGrp="1"/>
          </p:cNvSpPr>
          <p:nvPr>
            <p:ph type="sldNum" sz="quarter" idx="4"/>
          </p:nvPr>
        </p:nvSpPr>
        <p:spPr>
          <a:xfrm>
            <a:off x="8548008" y="76661"/>
            <a:ext cx="457200" cy="327933"/>
          </a:xfrm>
          <a:prstGeom prst="rect">
            <a:avLst/>
          </a:prstGeom>
        </p:spPr>
        <p:txBody>
          <a:bodyPr vert="horz" lIns="91440" tIns="45720" rIns="91440" bIns="45720" rtlCol="0" anchor="ctr"/>
          <a:lstStyle>
            <a:lvl1pPr algn="r">
              <a:defRPr sz="700">
                <a:solidFill>
                  <a:schemeClr val="bg1"/>
                </a:solidFill>
              </a:defRPr>
            </a:lvl1pPr>
          </a:lstStyle>
          <a:p>
            <a:fld id="{0A0261F9-485B-4EA1-9636-8EC9FABB98F7}" type="slidenum">
              <a:rPr lang="en-US" smtClean="0"/>
              <a:t>‹#›</a:t>
            </a:fld>
            <a:endParaRPr lang="en-US"/>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r>
              <a:rPr lang="en-US"/>
              <a:t>Click icon to add picture</a:t>
            </a:r>
            <a:endParaRPr lang="en-US" dirty="0"/>
          </a:p>
        </p:txBody>
      </p:sp>
    </p:spTree>
    <p:extLst>
      <p:ext uri="{BB962C8B-B14F-4D97-AF65-F5344CB8AC3E}">
        <p14:creationId xmlns:p14="http://schemas.microsoft.com/office/powerpoint/2010/main" val="29545435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1.jpeg"/><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theme" Target="../theme/theme10.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1.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5" Type="http://schemas.openxmlformats.org/officeDocument/2006/relationships/slideLayout" Target="../slideLayouts/slideLayout208.xml"/><Relationship Id="rId10" Type="http://schemas.openxmlformats.org/officeDocument/2006/relationships/image" Target="../media/image1.jpeg"/><Relationship Id="rId4" Type="http://schemas.openxmlformats.org/officeDocument/2006/relationships/slideLayout" Target="../slideLayouts/slideLayout207.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image" Target="../media/image28.jpeg"/><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theme" Target="../theme/theme12.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theme" Target="../theme/theme13.x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2" Type="http://schemas.openxmlformats.org/officeDocument/2006/relationships/slideLayout" Target="../slideLayouts/slideLayout22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0" Type="http://schemas.openxmlformats.org/officeDocument/2006/relationships/slideLayout" Target="../slideLayouts/slideLayout237.xml"/><Relationship Id="rId4" Type="http://schemas.openxmlformats.org/officeDocument/2006/relationships/slideLayout" Target="../slideLayouts/slideLayout231.xml"/><Relationship Id="rId9" Type="http://schemas.openxmlformats.org/officeDocument/2006/relationships/slideLayout" Target="../slideLayouts/slideLayout23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3" Type="http://schemas.openxmlformats.org/officeDocument/2006/relationships/slideLayout" Target="../slideLayouts/slideLayout242.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2" Type="http://schemas.openxmlformats.org/officeDocument/2006/relationships/slideLayout" Target="../slideLayouts/slideLayout241.xml"/><Relationship Id="rId16" Type="http://schemas.openxmlformats.org/officeDocument/2006/relationships/image" Target="../media/image27.png"/><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5" Type="http://schemas.openxmlformats.org/officeDocument/2006/relationships/image" Target="../media/image38.png"/><Relationship Id="rId10" Type="http://schemas.openxmlformats.org/officeDocument/2006/relationships/slideLayout" Target="../slideLayouts/slideLayout249.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theme" Target="../theme/theme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63" Type="http://schemas.openxmlformats.org/officeDocument/2006/relationships/image" Target="../media/image11.emf"/><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62"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61" Type="http://schemas.openxmlformats.org/officeDocument/2006/relationships/tags" Target="../tags/tag1.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vmlDrawing" Target="../drawings/vmlDrawing1.v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slideLayout" Target="../slideLayouts/slideLayout69.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3.xml"/><Relationship Id="rId1"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image" Target="../media/image1.jpeg"/><Relationship Id="rId2" Type="http://schemas.openxmlformats.org/officeDocument/2006/relationships/slideLayout" Target="../slideLayouts/slideLayout75.xml"/><Relationship Id="rId16" Type="http://schemas.openxmlformats.org/officeDocument/2006/relationships/theme" Target="../theme/theme4.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image" Target="../media/image20.png"/><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heme" Target="../theme/theme5.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image" Target="../media/image1.jpeg"/><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theme" Target="../theme/theme6.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5" Type="http://schemas.openxmlformats.org/officeDocument/2006/relationships/slideLayout" Target="../slideLayouts/slideLayout126.xml"/><Relationship Id="rId4" Type="http://schemas.openxmlformats.org/officeDocument/2006/relationships/slideLayout" Target="../slideLayouts/slideLayout125.xml"/><Relationship Id="rId9" Type="http://schemas.openxmlformats.org/officeDocument/2006/relationships/image" Target="../media/image28.jpe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slideLayout" Target="../slideLayouts/slideLayout175.xml"/><Relationship Id="rId50" Type="http://schemas.openxmlformats.org/officeDocument/2006/relationships/slideLayout" Target="../slideLayouts/slideLayout178.xml"/><Relationship Id="rId55" Type="http://schemas.openxmlformats.org/officeDocument/2006/relationships/vmlDrawing" Target="../drawings/vmlDrawing2.v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slideLayout" Target="../slideLayouts/slideLayout174.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41" Type="http://schemas.openxmlformats.org/officeDocument/2006/relationships/slideLayout" Target="../slideLayouts/slideLayout169.xml"/><Relationship Id="rId54" Type="http://schemas.openxmlformats.org/officeDocument/2006/relationships/theme" Target="../theme/theme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3" Type="http://schemas.openxmlformats.org/officeDocument/2006/relationships/slideLayout" Target="../slideLayouts/slideLayout181.xml"/><Relationship Id="rId58" Type="http://schemas.openxmlformats.org/officeDocument/2006/relationships/image" Target="../media/image11.emf"/><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slideLayout" Target="../slideLayouts/slideLayout177.xml"/><Relationship Id="rId57" Type="http://schemas.openxmlformats.org/officeDocument/2006/relationships/oleObject" Target="../embeddings/oleObject2.bin"/><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52" Type="http://schemas.openxmlformats.org/officeDocument/2006/relationships/slideLayout" Target="../slideLayouts/slideLayout180.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slideLayout" Target="../slideLayouts/slideLayout176.xml"/><Relationship Id="rId56" Type="http://schemas.openxmlformats.org/officeDocument/2006/relationships/tags" Target="../tags/tag2.xml"/><Relationship Id="rId8" Type="http://schemas.openxmlformats.org/officeDocument/2006/relationships/slideLayout" Target="../slideLayouts/slideLayout136.xml"/><Relationship Id="rId51" Type="http://schemas.openxmlformats.org/officeDocument/2006/relationships/slideLayout" Target="../slideLayouts/slideLayout179.xml"/><Relationship Id="rId3" Type="http://schemas.openxmlformats.org/officeDocument/2006/relationships/slideLayout" Target="../slideLayouts/slideLayout13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image" Target="../media/image1.jpeg"/><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theme" Target="../theme/theme9.xml"/><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p:nvPicPr>
        <p:blipFill>
          <a:blip r:embed="rId15"/>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9395826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8" r:id="rId7"/>
    <p:sldLayoutId id="2147483719" r:id="rId8"/>
    <p:sldLayoutId id="2147483725" r:id="rId9"/>
    <p:sldLayoutId id="2147483730" r:id="rId10"/>
    <p:sldLayoutId id="2147483807" r:id="rId11"/>
    <p:sldLayoutId id="2147483808" r:id="rId12"/>
    <p:sldLayoutId id="2147484002" r:id="rId13"/>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2"/>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2"/>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p:nvPicPr>
        <p:blipFill>
          <a:blip r:embed="rId13"/>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354520575"/>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2"/>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2"/>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0"/>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8" name="TextBox 7"/>
          <p:cNvSpPr txBox="1"/>
          <p:nvPr userDrawn="1"/>
        </p:nvSpPr>
        <p:spPr>
          <a:xfrm>
            <a:off x="8306750" y="70007"/>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a:solidFill>
                <a:prstClr val="white"/>
              </a:solidFill>
              <a:cs typeface="Arial" pitchFamily="34" charset="0"/>
            </a:endParaRPr>
          </a:p>
        </p:txBody>
      </p:sp>
    </p:spTree>
    <p:extLst>
      <p:ext uri="{BB962C8B-B14F-4D97-AF65-F5344CB8AC3E}">
        <p14:creationId xmlns:p14="http://schemas.microsoft.com/office/powerpoint/2010/main" val="3471423419"/>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3" r:id="rId8"/>
  </p:sldLayoutIdLs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416069272"/>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8" name="TextBox 7"/>
          <p:cNvSpPr txBox="1"/>
          <p:nvPr/>
        </p:nvSpPr>
        <p:spPr>
          <a:xfrm>
            <a:off x="8306750" y="70007"/>
            <a:ext cx="592667" cy="200055"/>
          </a:xfrm>
          <a:prstGeom prst="rect">
            <a:avLst/>
          </a:prstGeom>
          <a:noFill/>
        </p:spPr>
        <p:txBody>
          <a:bodyPr wrap="square" rtlCol="0">
            <a:spAutoFit/>
          </a:bodyPr>
          <a:lstStyle/>
          <a:p>
            <a:pPr algn="r" defTabSz="457200"/>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defTabSz="457200"/>
              <a:t>‹#›</a:t>
            </a:fld>
            <a:endParaRPr lang="en-US" sz="700" b="1" dirty="0" err="1">
              <a:solidFill>
                <a:prstClr val="white"/>
              </a:solidFill>
              <a:cs typeface="Arial" pitchFamily="34" charset="0"/>
            </a:endParaRPr>
          </a:p>
        </p:txBody>
      </p:sp>
      <p:sp>
        <p:nvSpPr>
          <p:cNvPr id="2" name="Rectangle 1"/>
          <p:cNvSpPr/>
          <p:nvPr userDrawn="1"/>
        </p:nvSpPr>
        <p:spPr>
          <a:xfrm>
            <a:off x="0" y="0"/>
            <a:ext cx="9144000" cy="357857"/>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Tree>
    <p:extLst>
      <p:ext uri="{BB962C8B-B14F-4D97-AF65-F5344CB8AC3E}">
        <p14:creationId xmlns:p14="http://schemas.microsoft.com/office/powerpoint/2010/main" val="8879771"/>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Ls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0"/>
            <a:ext cx="9144000" cy="394138"/>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8" name="TextBox 7"/>
          <p:cNvSpPr txBox="1"/>
          <p:nvPr userDrawn="1"/>
        </p:nvSpPr>
        <p:spPr>
          <a:xfrm>
            <a:off x="8306750" y="70007"/>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a:solidFill>
                <a:prstClr val="white"/>
              </a:solidFill>
              <a:cs typeface="Arial" pitchFamily="34" charset="0"/>
            </a:endParaRPr>
          </a:p>
        </p:txBody>
      </p:sp>
      <p:pic>
        <p:nvPicPr>
          <p:cNvPr id="2050" name="Picture 2" descr="\\Elsphidatp04va\coatesj\My Pictures\ELS_Wordmark_1C_White_RGB.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362615" y="81159"/>
            <a:ext cx="1497713" cy="23182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7519359" y="6511345"/>
            <a:ext cx="1314090" cy="218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0742242"/>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Ls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1" name="Date Placeholder 6"/>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rgbClr val="53565A"/>
                </a:solidFill>
              </a:defRPr>
            </a:lvl1pPr>
          </a:lstStyle>
          <a:p>
            <a:pPr defTabSz="914400" fontAlgn="base">
              <a:spcBef>
                <a:spcPct val="0"/>
              </a:spcBef>
              <a:spcAft>
                <a:spcPct val="0"/>
              </a:spcAft>
            </a:pPr>
            <a:fld id="{BC9020E1-6174-4B56-ABAE-9E0816058D48}" type="datetimeFigureOut">
              <a:rPr lang="en-US" smtClean="0">
                <a:latin typeface="Arial Narrow" pitchFamily="34" charset="0"/>
              </a:rPr>
              <a:pPr defTabSz="914400" fontAlgn="base">
                <a:spcBef>
                  <a:spcPct val="0"/>
                </a:spcBef>
                <a:spcAft>
                  <a:spcPct val="0"/>
                </a:spcAft>
              </a:pPr>
              <a:t>6/21/2018</a:t>
            </a:fld>
            <a:endParaRPr lang="en-US" dirty="0">
              <a:latin typeface="Arial Narrow" pitchFamily="34" charset="0"/>
            </a:endParaRPr>
          </a:p>
        </p:txBody>
      </p:sp>
      <p:sp>
        <p:nvSpPr>
          <p:cNvPr id="12" name="Footer Placeholder 8"/>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rgbClr val="53565A"/>
                </a:solidFill>
              </a:defRPr>
            </a:lvl1pPr>
          </a:lstStyle>
          <a:p>
            <a:pPr defTabSz="914400" fontAlgn="base">
              <a:spcBef>
                <a:spcPct val="0"/>
              </a:spcBef>
              <a:spcAft>
                <a:spcPct val="0"/>
              </a:spcAft>
            </a:pPr>
            <a:endParaRPr lang="en-US" dirty="0">
              <a:latin typeface="Arial Narrow" pitchFamily="34" charset="0"/>
            </a:endParaRPr>
          </a:p>
        </p:txBody>
      </p:sp>
      <p:sp>
        <p:nvSpPr>
          <p:cNvPr id="13" name="Slide Number Placeholder 9"/>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rgbClr val="53565A"/>
                </a:solidFill>
              </a:defRPr>
            </a:lvl1pPr>
          </a:lstStyle>
          <a:p>
            <a:pPr defTabSz="914400" fontAlgn="base">
              <a:spcBef>
                <a:spcPct val="0"/>
              </a:spcBef>
              <a:spcAft>
                <a:spcPct val="0"/>
              </a:spcAft>
              <a:defRPr/>
            </a:pPr>
            <a:fld id="{6003EAAF-5BD9-4464-8A92-94FE6A92D101}" type="slidenum">
              <a:rPr lang="en-US" b="1" smtClean="0">
                <a:latin typeface="Arial Narrow" pitchFamily="34" charset="0"/>
              </a:rPr>
              <a:pPr defTabSz="914400" fontAlgn="base">
                <a:spcBef>
                  <a:spcPct val="0"/>
                </a:spcBef>
                <a:spcAft>
                  <a:spcPct val="0"/>
                </a:spcAft>
                <a:defRPr/>
              </a:pPr>
              <a:t>‹#›</a:t>
            </a:fld>
            <a:endParaRPr lang="en-US" b="1" dirty="0">
              <a:latin typeface="Arial Narrow" pitchFamily="34" charset="0"/>
            </a:endParaRPr>
          </a:p>
        </p:txBody>
      </p:sp>
      <p:sp>
        <p:nvSpPr>
          <p:cNvPr id="14" name="Text Placeholder 13"/>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7" name="Object 6" hidden="1"/>
          <p:cNvGraphicFramePr>
            <a:graphicFrameLocks noChangeAspect="1"/>
          </p:cNvGraphicFramePr>
          <p:nvPr userDrawn="1">
            <p:custDataLst>
              <p:tags r:id="rId61"/>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8" name="think-cell Slide" r:id="rId62" imgW="360" imgH="360" progId="TCLayout.ActiveDocument.1">
                  <p:embed/>
                </p:oleObj>
              </mc:Choice>
              <mc:Fallback>
                <p:oleObj name="think-cell Slide" r:id="rId62" imgW="360" imgH="360" progId="TCLayout.ActiveDocument.1">
                  <p:embed/>
                  <p:pic>
                    <p:nvPicPr>
                      <p:cNvPr id="0" name=""/>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81088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54" r:id="rId23"/>
    <p:sldLayoutId id="2147483755" r:id="rId24"/>
    <p:sldLayoutId id="2147483756" r:id="rId25"/>
    <p:sldLayoutId id="2147483757" r:id="rId26"/>
    <p:sldLayoutId id="2147483758" r:id="rId27"/>
    <p:sldLayoutId id="2147483759" r:id="rId28"/>
    <p:sldLayoutId id="2147483760" r:id="rId29"/>
    <p:sldLayoutId id="2147483761" r:id="rId30"/>
    <p:sldLayoutId id="2147483762" r:id="rId31"/>
    <p:sldLayoutId id="2147483763" r:id="rId32"/>
    <p:sldLayoutId id="2147483764" r:id="rId33"/>
    <p:sldLayoutId id="2147483765" r:id="rId34"/>
    <p:sldLayoutId id="2147483766" r:id="rId35"/>
    <p:sldLayoutId id="2147483767" r:id="rId36"/>
    <p:sldLayoutId id="2147483768" r:id="rId37"/>
    <p:sldLayoutId id="2147483769" r:id="rId38"/>
    <p:sldLayoutId id="2147483770" r:id="rId39"/>
    <p:sldLayoutId id="2147483771" r:id="rId40"/>
    <p:sldLayoutId id="2147483772" r:id="rId41"/>
    <p:sldLayoutId id="2147483773" r:id="rId42"/>
    <p:sldLayoutId id="2147483774" r:id="rId43"/>
    <p:sldLayoutId id="2147483775" r:id="rId44"/>
    <p:sldLayoutId id="2147483778" r:id="rId45"/>
    <p:sldLayoutId id="2147483779" r:id="rId46"/>
    <p:sldLayoutId id="2147483780" r:id="rId47"/>
    <p:sldLayoutId id="2147483781" r:id="rId48"/>
    <p:sldLayoutId id="2147483782" r:id="rId49"/>
    <p:sldLayoutId id="2147483783" r:id="rId50"/>
    <p:sldLayoutId id="2147483784" r:id="rId51"/>
    <p:sldLayoutId id="2147483786" r:id="rId52"/>
    <p:sldLayoutId id="2147483787" r:id="rId53"/>
    <p:sldLayoutId id="2147483788" r:id="rId54"/>
    <p:sldLayoutId id="2147483789" r:id="rId55"/>
    <p:sldLayoutId id="2147483790" r:id="rId56"/>
    <p:sldLayoutId id="2147483791" r:id="rId57"/>
    <p:sldLayoutId id="2147483796" r:id="rId58"/>
  </p:sldLayoutIdLst>
  <p:transition>
    <p:fade/>
  </p:transition>
  <p:hf hdr="0" ftr="0" dt="0"/>
  <p:txStyles>
    <p:titleStyle>
      <a:lvl1pPr algn="l" defTabSz="457200" rtl="0" eaLnBrk="1" latinLnBrk="0" hangingPunct="1">
        <a:spcBef>
          <a:spcPct val="0"/>
        </a:spcBef>
        <a:buNone/>
        <a:defRPr sz="2400" b="0" kern="1200">
          <a:solidFill>
            <a:schemeClr val="accent1"/>
          </a:solidFill>
          <a:latin typeface="Arial"/>
          <a:ea typeface="+mj-ea"/>
          <a:cs typeface="Arial"/>
        </a:defRPr>
      </a:lvl1pPr>
    </p:titleStyle>
    <p:bodyStyle>
      <a:lvl1pPr marL="342900" indent="-256032" algn="l" defTabSz="457200" rtl="0" eaLnBrk="1" latinLnBrk="0" hangingPunct="1">
        <a:spcBef>
          <a:spcPts val="480"/>
        </a:spcBef>
        <a:buFont typeface="Arial"/>
        <a:buChar char="•"/>
        <a:defRPr sz="2000" kern="1200">
          <a:solidFill>
            <a:srgbClr val="53565A"/>
          </a:solidFill>
          <a:latin typeface="+mn-lt"/>
          <a:ea typeface="+mn-ea"/>
          <a:cs typeface="+mn-cs"/>
        </a:defRPr>
      </a:lvl1pPr>
      <a:lvl2pPr marL="742950" indent="-285750" algn="l" defTabSz="457200" rtl="0" eaLnBrk="1" latinLnBrk="0" hangingPunct="1">
        <a:spcBef>
          <a:spcPct val="20000"/>
        </a:spcBef>
        <a:buSzPct val="80000"/>
        <a:buFont typeface="Arial"/>
        <a:buChar char="–"/>
        <a:defRPr sz="1800" kern="1200">
          <a:solidFill>
            <a:srgbClr val="53565A"/>
          </a:solidFill>
          <a:latin typeface="+mn-lt"/>
          <a:ea typeface="+mn-ea"/>
          <a:cs typeface="+mn-cs"/>
        </a:defRPr>
      </a:lvl2pPr>
      <a:lvl3pPr marL="11430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5pPr>
      <a:lvl6pPr marL="25146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6pPr>
      <a:lvl7pPr marL="29718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7pPr>
      <a:lvl8pPr marL="34290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8pPr>
      <a:lvl9pPr marL="38862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764910"/>
      </p:ext>
    </p:extLst>
  </p:cSld>
  <p:clrMap bg1="lt1" tx1="dk1" bg2="lt2" tx2="dk2" accent1="accent1" accent2="accent2" accent3="accent3" accent4="accent4" accent5="accent5" accent6="accent6" hlink="hlink" folHlink="folHlink"/>
  <p:sldLayoutIdLst>
    <p:sldLayoutId id="2147483812" r:id="rId1"/>
    <p:sldLayoutId id="2147483813" r:id="rId2"/>
  </p:sldLayoutIdLst>
  <p:txStyles>
    <p:titleStyle>
      <a:lvl1pPr algn="ctr" defTabSz="642915" rtl="0" eaLnBrk="1" latinLnBrk="0" hangingPunct="1">
        <a:spcBef>
          <a:spcPct val="0"/>
        </a:spcBef>
        <a:buNone/>
        <a:defRPr sz="3094" kern="1200">
          <a:solidFill>
            <a:schemeClr val="tx1"/>
          </a:solidFill>
          <a:latin typeface="+mj-lt"/>
          <a:ea typeface="+mj-ea"/>
          <a:cs typeface="+mj-cs"/>
        </a:defRPr>
      </a:lvl1pPr>
    </p:titleStyle>
    <p:bodyStyle>
      <a:lvl1pPr marL="241093" indent="-241093" algn="l" defTabSz="642915" rtl="0" eaLnBrk="1" latinLnBrk="0" hangingPunct="1">
        <a:spcBef>
          <a:spcPct val="20000"/>
        </a:spcBef>
        <a:buFont typeface="Arial" pitchFamily="34" charset="0"/>
        <a:buChar char="•"/>
        <a:defRPr sz="2250" kern="1200">
          <a:solidFill>
            <a:schemeClr val="tx1"/>
          </a:solidFill>
          <a:latin typeface="+mn-lt"/>
          <a:ea typeface="+mn-ea"/>
          <a:cs typeface="+mn-cs"/>
        </a:defRPr>
      </a:lvl1pPr>
      <a:lvl2pPr marL="522368" indent="-200911" algn="l" defTabSz="642915" rtl="0" eaLnBrk="1" latinLnBrk="0" hangingPunct="1">
        <a:spcBef>
          <a:spcPct val="20000"/>
        </a:spcBef>
        <a:buFont typeface="Arial" pitchFamily="34" charset="0"/>
        <a:buChar char="–"/>
        <a:defRPr sz="1969" kern="1200">
          <a:solidFill>
            <a:schemeClr val="tx1"/>
          </a:solidFill>
          <a:latin typeface="+mn-lt"/>
          <a:ea typeface="+mn-ea"/>
          <a:cs typeface="+mn-cs"/>
        </a:defRPr>
      </a:lvl2pPr>
      <a:lvl3pPr marL="803643" indent="-160729" algn="l" defTabSz="642915" rtl="0" eaLnBrk="1" latinLnBrk="0" hangingPunct="1">
        <a:spcBef>
          <a:spcPct val="20000"/>
        </a:spcBef>
        <a:buFont typeface="Arial" pitchFamily="34" charset="0"/>
        <a:buChar char="•"/>
        <a:defRPr sz="1687" kern="1200">
          <a:solidFill>
            <a:schemeClr val="tx1"/>
          </a:solidFill>
          <a:latin typeface="+mn-lt"/>
          <a:ea typeface="+mn-ea"/>
          <a:cs typeface="+mn-cs"/>
        </a:defRPr>
      </a:lvl3pPr>
      <a:lvl4pPr marL="1125101" indent="-160729" algn="l" defTabSz="642915" rtl="0" eaLnBrk="1" latinLnBrk="0" hangingPunct="1">
        <a:spcBef>
          <a:spcPct val="20000"/>
        </a:spcBef>
        <a:buFont typeface="Arial" pitchFamily="34" charset="0"/>
        <a:buChar char="–"/>
        <a:defRPr sz="1406" kern="1200">
          <a:solidFill>
            <a:schemeClr val="tx1"/>
          </a:solidFill>
          <a:latin typeface="+mn-lt"/>
          <a:ea typeface="+mn-ea"/>
          <a:cs typeface="+mn-cs"/>
        </a:defRPr>
      </a:lvl4pPr>
      <a:lvl5pPr marL="1446558" indent="-160729" algn="l" defTabSz="642915" rtl="0" eaLnBrk="1" latinLnBrk="0" hangingPunct="1">
        <a:spcBef>
          <a:spcPct val="20000"/>
        </a:spcBef>
        <a:buFont typeface="Arial" pitchFamily="34" charset="0"/>
        <a:buChar char="»"/>
        <a:defRPr sz="1406" kern="1200">
          <a:solidFill>
            <a:schemeClr val="tx1"/>
          </a:solidFill>
          <a:latin typeface="+mn-lt"/>
          <a:ea typeface="+mn-ea"/>
          <a:cs typeface="+mn-cs"/>
        </a:defRPr>
      </a:lvl5pPr>
      <a:lvl6pPr marL="1768015" indent="-160729" algn="l" defTabSz="642915" rtl="0" eaLnBrk="1" latinLnBrk="0" hangingPunct="1">
        <a:spcBef>
          <a:spcPct val="20000"/>
        </a:spcBef>
        <a:buFont typeface="Arial" pitchFamily="34" charset="0"/>
        <a:buChar char="•"/>
        <a:defRPr sz="1406" kern="1200">
          <a:solidFill>
            <a:schemeClr val="tx1"/>
          </a:solidFill>
          <a:latin typeface="+mn-lt"/>
          <a:ea typeface="+mn-ea"/>
          <a:cs typeface="+mn-cs"/>
        </a:defRPr>
      </a:lvl6pPr>
      <a:lvl7pPr marL="2089473" indent="-160729" algn="l" defTabSz="642915" rtl="0" eaLnBrk="1" latinLnBrk="0" hangingPunct="1">
        <a:spcBef>
          <a:spcPct val="20000"/>
        </a:spcBef>
        <a:buFont typeface="Arial" pitchFamily="34" charset="0"/>
        <a:buChar char="•"/>
        <a:defRPr sz="1406" kern="1200">
          <a:solidFill>
            <a:schemeClr val="tx1"/>
          </a:solidFill>
          <a:latin typeface="+mn-lt"/>
          <a:ea typeface="+mn-ea"/>
          <a:cs typeface="+mn-cs"/>
        </a:defRPr>
      </a:lvl7pPr>
      <a:lvl8pPr marL="2410930" indent="-160729" algn="l" defTabSz="642915" rtl="0" eaLnBrk="1" latinLnBrk="0" hangingPunct="1">
        <a:spcBef>
          <a:spcPct val="20000"/>
        </a:spcBef>
        <a:buFont typeface="Arial" pitchFamily="34" charset="0"/>
        <a:buChar char="•"/>
        <a:defRPr sz="1406" kern="1200">
          <a:solidFill>
            <a:schemeClr val="tx1"/>
          </a:solidFill>
          <a:latin typeface="+mn-lt"/>
          <a:ea typeface="+mn-ea"/>
          <a:cs typeface="+mn-cs"/>
        </a:defRPr>
      </a:lvl8pPr>
      <a:lvl9pPr marL="2732387" indent="-160729" algn="l" defTabSz="642915" rtl="0" eaLnBrk="1" latinLnBrk="0" hangingPunct="1">
        <a:spcBef>
          <a:spcPct val="20000"/>
        </a:spcBef>
        <a:buFont typeface="Arial" pitchFamily="34" charset="0"/>
        <a:buChar char="•"/>
        <a:defRPr sz="1406" kern="1200">
          <a:solidFill>
            <a:schemeClr val="tx1"/>
          </a:solidFill>
          <a:latin typeface="+mn-lt"/>
          <a:ea typeface="+mn-ea"/>
          <a:cs typeface="+mn-cs"/>
        </a:defRPr>
      </a:lvl9pPr>
    </p:bodyStyle>
    <p:otherStyle>
      <a:defPPr>
        <a:defRPr lang="en-US"/>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7"/>
          <a:stretch>
            <a:fillRect/>
          </a:stretch>
        </p:blipFill>
        <p:spPr>
          <a:xfrm>
            <a:off x="0" y="0"/>
            <a:ext cx="9144000" cy="375646"/>
          </a:xfrm>
          <a:prstGeom prst="rect">
            <a:avLst/>
          </a:prstGeom>
        </p:spPr>
      </p:pic>
      <p:sp>
        <p:nvSpPr>
          <p:cNvPr id="14" name="Text Placeholder 8"/>
          <p:cNvSpPr>
            <a:spLocks noGrp="1"/>
          </p:cNvSpPr>
          <p:nvPr>
            <p:ph type="body" idx="1"/>
          </p:nvPr>
        </p:nvSpPr>
        <p:spPr>
          <a:xfrm>
            <a:off x="457200" y="1500110"/>
            <a:ext cx="8238319"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8" name="TextBox 7"/>
          <p:cNvSpPr txBox="1"/>
          <p:nvPr userDrawn="1"/>
        </p:nvSpPr>
        <p:spPr>
          <a:xfrm>
            <a:off x="8306752" y="70010"/>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a:solidFill>
                <a:prstClr val="white"/>
              </a:solidFill>
              <a:cs typeface="Arial" pitchFamily="34" charset="0"/>
            </a:endParaRPr>
          </a:p>
        </p:txBody>
      </p:sp>
      <p:sp>
        <p:nvSpPr>
          <p:cNvPr id="6" name="Title Placeholder 1"/>
          <p:cNvSpPr>
            <a:spLocks noGrp="1"/>
          </p:cNvSpPr>
          <p:nvPr>
            <p:ph type="title"/>
          </p:nvPr>
        </p:nvSpPr>
        <p:spPr>
          <a:xfrm>
            <a:off x="216570" y="384365"/>
            <a:ext cx="8238319" cy="418645"/>
          </a:xfrm>
          <a:prstGeom prst="rect">
            <a:avLst/>
          </a:prstGeom>
        </p:spPr>
        <p:txBody>
          <a:bodyPr vert="horz" lIns="91440" tIns="45720" rIns="91440" bIns="45720" rtlCol="0" anchor="ctr">
            <a:noAutofit/>
          </a:bodyPr>
          <a:lstStyle/>
          <a:p>
            <a:r>
              <a:rPr lang="en-US" dirty="0"/>
              <a:t>Title of Slide</a:t>
            </a:r>
          </a:p>
        </p:txBody>
      </p:sp>
    </p:spTree>
    <p:extLst>
      <p:ext uri="{BB962C8B-B14F-4D97-AF65-F5344CB8AC3E}">
        <p14:creationId xmlns:p14="http://schemas.microsoft.com/office/powerpoint/2010/main" val="585554889"/>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Lst>
  <p:hf sldNum="0"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94016" y="920300"/>
            <a:ext cx="7453992" cy="418645"/>
          </a:xfrm>
          <a:prstGeom prst="rect">
            <a:avLst/>
          </a:prstGeom>
        </p:spPr>
        <p:txBody>
          <a:bodyPr vert="horz" lIns="91440" tIns="45720" rIns="91440" bIns="45720" rtlCol="0" anchor="ctr">
            <a:normAutofit/>
          </a:bodyPr>
          <a:lstStyle/>
          <a:p>
            <a:r>
              <a:rPr lang="en-US"/>
              <a:t>Click to edit Master title style</a:t>
            </a:r>
            <a:endParaRPr lang="en-US" dirty="0"/>
          </a:p>
        </p:txBody>
      </p:sp>
      <p:pic>
        <p:nvPicPr>
          <p:cNvPr id="7" name="Picture 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56" y="0"/>
            <a:ext cx="9143244" cy="347443"/>
          </a:xfrm>
          <a:prstGeom prst="rect">
            <a:avLst/>
          </a:prstGeom>
        </p:spPr>
      </p:pic>
      <p:sp>
        <p:nvSpPr>
          <p:cNvPr id="8" name="Slide Number Placeholder 7"/>
          <p:cNvSpPr>
            <a:spLocks noGrp="1"/>
          </p:cNvSpPr>
          <p:nvPr>
            <p:ph type="sldNum" sz="quarter" idx="4"/>
          </p:nvPr>
        </p:nvSpPr>
        <p:spPr>
          <a:xfrm>
            <a:off x="8548008" y="60333"/>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0A0261F9-485B-4EA1-9636-8EC9FABB98F7}" type="slidenum">
              <a:rPr lang="en-US" smtClean="0"/>
              <a:t>‹#›</a:t>
            </a:fld>
            <a:endParaRPr lang="en-US"/>
          </a:p>
        </p:txBody>
      </p:sp>
      <p:sp>
        <p:nvSpPr>
          <p:cNvPr id="9" name="Text Placeholder 8"/>
          <p:cNvSpPr>
            <a:spLocks noGrp="1"/>
          </p:cNvSpPr>
          <p:nvPr>
            <p:ph type="body" idx="1"/>
          </p:nvPr>
        </p:nvSpPr>
        <p:spPr>
          <a:xfrm>
            <a:off x="1094016" y="1776639"/>
            <a:ext cx="7453992"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10" name="TextBox 9"/>
          <p:cNvSpPr txBox="1"/>
          <p:nvPr/>
        </p:nvSpPr>
        <p:spPr>
          <a:xfrm>
            <a:off x="6800852" y="149229"/>
            <a:ext cx="1771650" cy="200055"/>
          </a:xfrm>
          <a:prstGeom prst="rect">
            <a:avLst/>
          </a:prstGeom>
          <a:noFill/>
        </p:spPr>
        <p:txBody>
          <a:bodyPr wrap="square" rtlCol="0">
            <a:spAutoFit/>
          </a:bodyPr>
          <a:lstStyle/>
          <a:p>
            <a:pPr algn="r"/>
            <a:r>
              <a:rPr lang="en-US" sz="700" dirty="0">
                <a:solidFill>
                  <a:schemeClr val="bg1"/>
                </a:solidFill>
                <a:latin typeface="Arial" panose="020B0604020202020204" pitchFamily="34" charset="0"/>
                <a:cs typeface="Arial" panose="020B0604020202020204" pitchFamily="34" charset="0"/>
              </a:rPr>
              <a:t>TITLE</a:t>
            </a:r>
            <a:r>
              <a:rPr lang="en-US" sz="700" baseline="0" dirty="0">
                <a:solidFill>
                  <a:schemeClr val="bg1"/>
                </a:solidFill>
                <a:latin typeface="Arial" panose="020B0604020202020204" pitchFamily="34" charset="0"/>
                <a:cs typeface="Arial" panose="020B0604020202020204" pitchFamily="34" charset="0"/>
              </a:rPr>
              <a:t> OF PRESENTATION</a:t>
            </a:r>
            <a:endParaRPr lang="en-US" sz="700" dirty="0">
              <a:solidFill>
                <a:schemeClr val="bg1"/>
              </a:solidFill>
              <a:latin typeface="Arial" panose="020B0604020202020204" pitchFamily="34" charset="0"/>
              <a:cs typeface="Arial" panose="020B0604020202020204" pitchFamily="34" charset="0"/>
            </a:endParaRPr>
          </a:p>
        </p:txBody>
      </p:sp>
      <p:sp>
        <p:nvSpPr>
          <p:cNvPr id="11" name="TextBox 10"/>
          <p:cNvSpPr txBox="1"/>
          <p:nvPr/>
        </p:nvSpPr>
        <p:spPr>
          <a:xfrm>
            <a:off x="8531679" y="147388"/>
            <a:ext cx="269421" cy="200055"/>
          </a:xfrm>
          <a:prstGeom prst="rect">
            <a:avLst/>
          </a:prstGeom>
          <a:noFill/>
        </p:spPr>
        <p:txBody>
          <a:bodyPr wrap="square" rtlCol="0">
            <a:spAutoFit/>
          </a:bodyPr>
          <a:lstStyle/>
          <a:p>
            <a:r>
              <a:rPr lang="en-US" sz="700" baseline="0" dirty="0">
                <a:solidFill>
                  <a:schemeClr val="bg1"/>
                </a:solidFill>
                <a:latin typeface="Lucida Sans Unicode" panose="020B0602030504020204" pitchFamily="34" charset="0"/>
                <a:cs typeface="Lucida Sans Unicode" panose="020B0602030504020204" pitchFamily="34" charset="0"/>
              </a:rPr>
              <a:t> |</a:t>
            </a:r>
            <a:endParaRPr lang="en-US" sz="700" dirty="0">
              <a:solidFill>
                <a:schemeClr val="bg1"/>
              </a:solidFill>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3596431157"/>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p:nvPicPr>
        <p:blipFill>
          <a:blip r:embed="rId12"/>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2941538906"/>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3" r:id="rId8"/>
    <p:sldLayoutId id="2147483884" r:id="rId9"/>
    <p:sldLayoutId id="2147483885" r:id="rId10"/>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2"/>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2"/>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400114977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2"/>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2"/>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p>
            <a:r>
              <a:rPr lang="en-US" dirty="0"/>
              <a:t>Title of Slide</a:t>
            </a:r>
          </a:p>
        </p:txBody>
      </p:sp>
      <p:sp>
        <p:nvSpPr>
          <p:cNvPr id="11" name="Date Placeholder 6"/>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rgbClr val="53565A"/>
                </a:solidFill>
              </a:defRPr>
            </a:lvl1pPr>
          </a:lstStyle>
          <a:p>
            <a:pPr fontAlgn="base">
              <a:spcBef>
                <a:spcPct val="0"/>
              </a:spcBef>
              <a:spcAft>
                <a:spcPct val="0"/>
              </a:spcAft>
            </a:pPr>
            <a:fld id="{BC9020E1-6174-4B56-ABAE-9E0816058D48}" type="datetimeFigureOut">
              <a:rPr lang="en-US" smtClean="0">
                <a:latin typeface="Arial Narrow" pitchFamily="34" charset="0"/>
              </a:rPr>
              <a:pPr fontAlgn="base">
                <a:spcBef>
                  <a:spcPct val="0"/>
                </a:spcBef>
                <a:spcAft>
                  <a:spcPct val="0"/>
                </a:spcAft>
              </a:pPr>
              <a:t>6/21/2018</a:t>
            </a:fld>
            <a:endParaRPr lang="en-US" dirty="0">
              <a:latin typeface="Arial Narrow" pitchFamily="34" charset="0"/>
            </a:endParaRPr>
          </a:p>
        </p:txBody>
      </p:sp>
      <p:sp>
        <p:nvSpPr>
          <p:cNvPr id="12" name="Footer Placeholder 8"/>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rgbClr val="53565A"/>
                </a:solidFill>
              </a:defRPr>
            </a:lvl1pPr>
          </a:lstStyle>
          <a:p>
            <a:pPr fontAlgn="base">
              <a:spcBef>
                <a:spcPct val="0"/>
              </a:spcBef>
              <a:spcAft>
                <a:spcPct val="0"/>
              </a:spcAft>
            </a:pPr>
            <a:endParaRPr lang="en-US" dirty="0">
              <a:latin typeface="Arial Narrow" pitchFamily="34" charset="0"/>
            </a:endParaRPr>
          </a:p>
        </p:txBody>
      </p:sp>
      <p:sp>
        <p:nvSpPr>
          <p:cNvPr id="13" name="Slide Number Placeholder 9"/>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rgbClr val="53565A"/>
                </a:solidFill>
              </a:defRPr>
            </a:lvl1pPr>
          </a:lstStyle>
          <a:p>
            <a:pPr fontAlgn="base">
              <a:spcBef>
                <a:spcPct val="0"/>
              </a:spcBef>
              <a:spcAft>
                <a:spcPct val="0"/>
              </a:spcAft>
              <a:defRPr/>
            </a:pPr>
            <a:fld id="{6003EAAF-5BD9-4464-8A92-94FE6A92D101}" type="slidenum">
              <a:rPr lang="en-US" b="1" smtClean="0">
                <a:latin typeface="Arial Narrow" pitchFamily="34" charset="0"/>
              </a:rPr>
              <a:pPr fontAlgn="base">
                <a:spcBef>
                  <a:spcPct val="0"/>
                </a:spcBef>
                <a:spcAft>
                  <a:spcPct val="0"/>
                </a:spcAft>
                <a:defRPr/>
              </a:pPr>
              <a:t>‹#›</a:t>
            </a:fld>
            <a:endParaRPr lang="en-US" b="1" dirty="0">
              <a:latin typeface="Arial Narrow" pitchFamily="34" charset="0"/>
            </a:endParaRPr>
          </a:p>
        </p:txBody>
      </p:sp>
      <p:sp>
        <p:nvSpPr>
          <p:cNvPr id="14" name="Text Placeholder 13"/>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7" name="Object 6" hidden="1"/>
          <p:cNvGraphicFramePr>
            <a:graphicFrameLocks noChangeAspect="1"/>
          </p:cNvGraphicFramePr>
          <p:nvPr userDrawn="1">
            <p:custDataLst>
              <p:tags r:id="rId56"/>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7428" name="think-cell Slide" r:id="rId57" imgW="360" imgH="360" progId="TCLayout.ActiveDocument.1">
                  <p:embed/>
                </p:oleObj>
              </mc:Choice>
              <mc:Fallback>
                <p:oleObj name="think-cell Slide" r:id="rId57" imgW="360" imgH="360" progId="TCLayout.ActiveDocument.1">
                  <p:embed/>
                  <p:pic>
                    <p:nvPicPr>
                      <p:cNvPr id="7" name="Object 6"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24978036"/>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36" r:id="rId23"/>
    <p:sldLayoutId id="2147483937" r:id="rId24"/>
    <p:sldLayoutId id="2147483938" r:id="rId25"/>
    <p:sldLayoutId id="2147483939" r:id="rId26"/>
    <p:sldLayoutId id="2147483940" r:id="rId27"/>
    <p:sldLayoutId id="2147483941" r:id="rId28"/>
    <p:sldLayoutId id="2147483942" r:id="rId29"/>
    <p:sldLayoutId id="2147483943" r:id="rId30"/>
    <p:sldLayoutId id="2147483944" r:id="rId31"/>
    <p:sldLayoutId id="2147483945" r:id="rId32"/>
    <p:sldLayoutId id="2147483946" r:id="rId33"/>
    <p:sldLayoutId id="2147483947" r:id="rId34"/>
    <p:sldLayoutId id="2147483948" r:id="rId35"/>
    <p:sldLayoutId id="2147483949" r:id="rId36"/>
    <p:sldLayoutId id="2147483950" r:id="rId37"/>
    <p:sldLayoutId id="2147483951" r:id="rId38"/>
    <p:sldLayoutId id="2147483952" r:id="rId39"/>
    <p:sldLayoutId id="2147483953" r:id="rId40"/>
    <p:sldLayoutId id="2147483954" r:id="rId41"/>
    <p:sldLayoutId id="2147483955" r:id="rId42"/>
    <p:sldLayoutId id="2147483956" r:id="rId43"/>
    <p:sldLayoutId id="2147483957" r:id="rId44"/>
    <p:sldLayoutId id="2147483958" r:id="rId45"/>
    <p:sldLayoutId id="2147483959" r:id="rId46"/>
    <p:sldLayoutId id="2147483960" r:id="rId47"/>
    <p:sldLayoutId id="2147483961" r:id="rId48"/>
    <p:sldLayoutId id="2147483962" r:id="rId49"/>
    <p:sldLayoutId id="2147483963" r:id="rId50"/>
    <p:sldLayoutId id="2147483964" r:id="rId51"/>
    <p:sldLayoutId id="2147483965" r:id="rId52"/>
    <p:sldLayoutId id="2147483966" r:id="rId53"/>
  </p:sldLayoutIdLst>
  <p:transition>
    <p:fade/>
  </p:transition>
  <p:hf hdr="0" ftr="0" dt="0"/>
  <p:txStyles>
    <p:titleStyle>
      <a:lvl1pPr algn="l" defTabSz="342900" rtl="0" eaLnBrk="1" latinLnBrk="0" hangingPunct="1">
        <a:spcBef>
          <a:spcPct val="0"/>
        </a:spcBef>
        <a:buNone/>
        <a:defRPr sz="1800" b="0" kern="1200">
          <a:solidFill>
            <a:schemeClr val="accent1"/>
          </a:solidFill>
          <a:latin typeface="Arial"/>
          <a:ea typeface="+mj-ea"/>
          <a:cs typeface="Arial"/>
        </a:defRPr>
      </a:lvl1pPr>
    </p:titleStyle>
    <p:bodyStyle>
      <a:lvl1pPr marL="257175" indent="-192024" algn="l" defTabSz="342900" rtl="0" eaLnBrk="1" latinLnBrk="0" hangingPunct="1">
        <a:spcBef>
          <a:spcPts val="360"/>
        </a:spcBef>
        <a:buFont typeface="Arial"/>
        <a:buChar char="•"/>
        <a:defRPr sz="1500" kern="1200">
          <a:solidFill>
            <a:srgbClr val="53565A"/>
          </a:solidFill>
          <a:latin typeface="+mn-lt"/>
          <a:ea typeface="+mn-ea"/>
          <a:cs typeface="+mn-cs"/>
        </a:defRPr>
      </a:lvl1pPr>
      <a:lvl2pPr marL="557213" indent="-214313" algn="l" defTabSz="342900" rtl="0" eaLnBrk="1" latinLnBrk="0" hangingPunct="1">
        <a:spcBef>
          <a:spcPct val="20000"/>
        </a:spcBef>
        <a:buSzPct val="80000"/>
        <a:buFont typeface="Arial"/>
        <a:buChar char="–"/>
        <a:defRPr sz="1350" kern="1200">
          <a:solidFill>
            <a:srgbClr val="53565A"/>
          </a:solidFill>
          <a:latin typeface="+mn-lt"/>
          <a:ea typeface="+mn-ea"/>
          <a:cs typeface="+mn-cs"/>
        </a:defRPr>
      </a:lvl2pPr>
      <a:lvl3pPr marL="857250" indent="-171450" algn="l" defTabSz="342900" rtl="0" eaLnBrk="1" latinLnBrk="0" hangingPunct="1">
        <a:spcBef>
          <a:spcPct val="20000"/>
        </a:spcBef>
        <a:buSzPct val="90000"/>
        <a:buFont typeface="Courier New"/>
        <a:buChar char="o"/>
        <a:defRPr sz="1200" kern="1200">
          <a:solidFill>
            <a:srgbClr val="53565A"/>
          </a:solidFill>
          <a:latin typeface="+mn-lt"/>
          <a:ea typeface="+mn-ea"/>
          <a:cs typeface="+mn-cs"/>
        </a:defRPr>
      </a:lvl3pPr>
      <a:lvl4pPr marL="1200150" indent="-171450" algn="l" defTabSz="342900" rtl="0" eaLnBrk="1" latinLnBrk="0" hangingPunct="1">
        <a:spcBef>
          <a:spcPct val="20000"/>
        </a:spcBef>
        <a:buSzPct val="90000"/>
        <a:buFont typeface="Courier New"/>
        <a:buChar char="o"/>
        <a:defRPr sz="1200" kern="1200">
          <a:solidFill>
            <a:srgbClr val="53565A"/>
          </a:solidFill>
          <a:latin typeface="+mn-lt"/>
          <a:ea typeface="+mn-ea"/>
          <a:cs typeface="+mn-cs"/>
        </a:defRPr>
      </a:lvl4pPr>
      <a:lvl5pPr marL="1543050" indent="-171450" algn="l" defTabSz="342900" rtl="0" eaLnBrk="1" latinLnBrk="0" hangingPunct="1">
        <a:spcBef>
          <a:spcPct val="20000"/>
        </a:spcBef>
        <a:buSzPct val="90000"/>
        <a:buFont typeface="Courier New"/>
        <a:buChar char="o"/>
        <a:defRPr sz="1200" kern="1200">
          <a:solidFill>
            <a:srgbClr val="53565A"/>
          </a:solidFill>
          <a:latin typeface="+mn-lt"/>
          <a:ea typeface="+mn-ea"/>
          <a:cs typeface="+mn-cs"/>
        </a:defRPr>
      </a:lvl5pPr>
      <a:lvl6pPr marL="1885950" indent="-171450" algn="l" defTabSz="342900" rtl="0" eaLnBrk="1" latinLnBrk="0" hangingPunct="1">
        <a:spcBef>
          <a:spcPct val="20000"/>
        </a:spcBef>
        <a:buSzPct val="90000"/>
        <a:buFont typeface="Courier New"/>
        <a:buChar char="o"/>
        <a:defRPr sz="1200" kern="1200" baseline="0">
          <a:solidFill>
            <a:srgbClr val="53565A"/>
          </a:solidFill>
          <a:latin typeface="+mn-lt"/>
          <a:ea typeface="+mn-ea"/>
          <a:cs typeface="+mn-cs"/>
        </a:defRPr>
      </a:lvl6pPr>
      <a:lvl7pPr marL="2228850" indent="-171450" algn="l" defTabSz="342900" rtl="0" eaLnBrk="1" latinLnBrk="0" hangingPunct="1">
        <a:spcBef>
          <a:spcPct val="20000"/>
        </a:spcBef>
        <a:buSzPct val="90000"/>
        <a:buFont typeface="Courier New"/>
        <a:buChar char="o"/>
        <a:defRPr sz="1200" kern="1200" baseline="0">
          <a:solidFill>
            <a:srgbClr val="53565A"/>
          </a:solidFill>
          <a:latin typeface="+mn-lt"/>
          <a:ea typeface="+mn-ea"/>
          <a:cs typeface="+mn-cs"/>
        </a:defRPr>
      </a:lvl7pPr>
      <a:lvl8pPr marL="2571750" indent="-171450" algn="l" defTabSz="342900" rtl="0" eaLnBrk="1" latinLnBrk="0" hangingPunct="1">
        <a:spcBef>
          <a:spcPct val="20000"/>
        </a:spcBef>
        <a:buSzPct val="90000"/>
        <a:buFont typeface="Courier New"/>
        <a:buChar char="o"/>
        <a:defRPr sz="1200" kern="1200" baseline="0">
          <a:solidFill>
            <a:srgbClr val="53565A"/>
          </a:solidFill>
          <a:latin typeface="+mn-lt"/>
          <a:ea typeface="+mn-ea"/>
          <a:cs typeface="+mn-cs"/>
        </a:defRPr>
      </a:lvl8pPr>
      <a:lvl9pPr marL="2914650" indent="-171450" algn="l" defTabSz="342900" rtl="0" eaLnBrk="1" latinLnBrk="0" hangingPunct="1">
        <a:spcBef>
          <a:spcPct val="20000"/>
        </a:spcBef>
        <a:buSzPct val="90000"/>
        <a:buFont typeface="Courier New"/>
        <a:buChar char="o"/>
        <a:defRPr sz="1200" kern="1200" baseline="0">
          <a:solidFill>
            <a:srgbClr val="53565A"/>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p:nvPicPr>
        <p:blipFill>
          <a:blip r:embed="rId13"/>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103717552"/>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81" r:id="rId11"/>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2"/>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2"/>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xml"/><Relationship Id="rId1" Type="http://schemas.openxmlformats.org/officeDocument/2006/relationships/slideLayout" Target="../slideLayouts/slideLayout88.xml"/><Relationship Id="rId4" Type="http://schemas.openxmlformats.org/officeDocument/2006/relationships/image" Target="../media/image42.png"/></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xml"/><Relationship Id="rId1" Type="http://schemas.openxmlformats.org/officeDocument/2006/relationships/slideLayout" Target="../slideLayouts/slideLayout216.xml"/></Relationships>
</file>

<file path=ppt/slides/_rels/slide11.xml.rels><?xml version="1.0" encoding="UTF-8" standalone="yes"?>
<Relationships xmlns="http://schemas.openxmlformats.org/package/2006/relationships"><Relationship Id="rId3" Type="http://schemas.openxmlformats.org/officeDocument/2006/relationships/hyperlink" Target="http://journals.lww.com/journalpatientsafety/toc/2013/09000" TargetMode="External"/><Relationship Id="rId2" Type="http://schemas.openxmlformats.org/officeDocument/2006/relationships/notesSlide" Target="../notesSlides/notesSlide5.xml"/><Relationship Id="rId1" Type="http://schemas.openxmlformats.org/officeDocument/2006/relationships/slideLayout" Target="../slideLayouts/slideLayout234.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6.xml"/><Relationship Id="rId1" Type="http://schemas.openxmlformats.org/officeDocument/2006/relationships/slideLayout" Target="../slideLayouts/slideLayout205.xml"/><Relationship Id="rId5" Type="http://schemas.openxmlformats.org/officeDocument/2006/relationships/image" Target="../media/image75.png"/><Relationship Id="rId4" Type="http://schemas.openxmlformats.org/officeDocument/2006/relationships/image" Target="../media/image7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9.xml"/><Relationship Id="rId1" Type="http://schemas.openxmlformats.org/officeDocument/2006/relationships/slideLayout" Target="../slideLayouts/slideLayout127.xml"/></Relationships>
</file>

<file path=ppt/slides/_rels/slide1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xml"/><Relationship Id="rId1" Type="http://schemas.openxmlformats.org/officeDocument/2006/relationships/slideLayout" Target="../slideLayouts/slideLayout205.xml"/></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xml"/><Relationship Id="rId1" Type="http://schemas.openxmlformats.org/officeDocument/2006/relationships/slideLayout" Target="../slideLayouts/slideLayout250.xml"/></Relationships>
</file>

<file path=ppt/slides/_rels/slide1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211.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43.jpeg"/><Relationship Id="rId21" Type="http://schemas.openxmlformats.org/officeDocument/2006/relationships/image" Target="../media/image61.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png"/><Relationship Id="rId25" Type="http://schemas.openxmlformats.org/officeDocument/2006/relationships/image" Target="../media/image65.png"/><Relationship Id="rId2" Type="http://schemas.openxmlformats.org/officeDocument/2006/relationships/notesSlide" Target="../notesSlides/notesSlide2.xml"/><Relationship Id="rId16" Type="http://schemas.openxmlformats.org/officeDocument/2006/relationships/image" Target="../media/image56.png"/><Relationship Id="rId20" Type="http://schemas.openxmlformats.org/officeDocument/2006/relationships/image" Target="../media/image60.png"/><Relationship Id="rId1" Type="http://schemas.openxmlformats.org/officeDocument/2006/relationships/slideLayout" Target="../slideLayouts/slideLayout110.xml"/><Relationship Id="rId6" Type="http://schemas.openxmlformats.org/officeDocument/2006/relationships/image" Target="../media/image46.png"/><Relationship Id="rId11" Type="http://schemas.openxmlformats.org/officeDocument/2006/relationships/image" Target="../media/image51.png"/><Relationship Id="rId24" Type="http://schemas.openxmlformats.org/officeDocument/2006/relationships/image" Target="../media/image64.png"/><Relationship Id="rId5" Type="http://schemas.openxmlformats.org/officeDocument/2006/relationships/image" Target="../media/image45.png"/><Relationship Id="rId15" Type="http://schemas.openxmlformats.org/officeDocument/2006/relationships/image" Target="../media/image55.png"/><Relationship Id="rId23" Type="http://schemas.openxmlformats.org/officeDocument/2006/relationships/image" Target="../media/image63.png"/><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 Id="rId22" Type="http://schemas.openxmlformats.org/officeDocument/2006/relationships/image" Target="../media/image6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2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80.xml"/></Relationships>
</file>

<file path=ppt/slides/_rels/slide23.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Layout" Target="../slideLayouts/slideLayout72.xml"/></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81.jpg"/><Relationship Id="rId1" Type="http://schemas.openxmlformats.org/officeDocument/2006/relationships/slideLayout" Target="../slideLayouts/slideLayout72.xml"/></Relationships>
</file>

<file path=ppt/slides/_rels/slide26.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14.xml"/><Relationship Id="rId1" Type="http://schemas.openxmlformats.org/officeDocument/2006/relationships/slideLayout" Target="../slideLayouts/slideLayout72.xml"/><Relationship Id="rId4" Type="http://schemas.openxmlformats.org/officeDocument/2006/relationships/image" Target="../media/image80.png"/></Relationships>
</file>

<file path=ppt/slides/_rels/slide27.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15.xml"/><Relationship Id="rId1" Type="http://schemas.openxmlformats.org/officeDocument/2006/relationships/slideLayout" Target="../slideLayouts/slideLayout72.xml"/><Relationship Id="rId5" Type="http://schemas.openxmlformats.org/officeDocument/2006/relationships/image" Target="../media/image82.png"/><Relationship Id="rId4" Type="http://schemas.openxmlformats.org/officeDocument/2006/relationships/image" Target="../media/image80.png"/></Relationships>
</file>

<file path=ppt/slides/_rels/slide28.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16.xml"/><Relationship Id="rId1" Type="http://schemas.openxmlformats.org/officeDocument/2006/relationships/slideLayout" Target="../slideLayouts/slideLayout72.xml"/><Relationship Id="rId5" Type="http://schemas.openxmlformats.org/officeDocument/2006/relationships/image" Target="../media/image82.png"/><Relationship Id="rId4" Type="http://schemas.openxmlformats.org/officeDocument/2006/relationships/image" Target="../media/image80.png"/></Relationships>
</file>

<file path=ppt/slides/_rels/slide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7.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03.xml"/></Relationships>
</file>

<file path=ppt/slides/_rels/slide38.xml.rels><?xml version="1.0" encoding="UTF-8" standalone="yes"?>
<Relationships xmlns="http://schemas.openxmlformats.org/package/2006/relationships"><Relationship Id="rId2" Type="http://schemas.openxmlformats.org/officeDocument/2006/relationships/image" Target="../media/image87.jp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21.xml"/></Relationships>
</file>

<file path=ppt/slides/_rels/slide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Layout" Target="../slideLayouts/slideLayout121.xml"/></Relationships>
</file>

<file path=ppt/slides/_rels/slide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xml"/><Relationship Id="rId1" Type="http://schemas.openxmlformats.org/officeDocument/2006/relationships/slideLayout" Target="../slideLayouts/slideLayout21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7" name="Rectangle 6"/>
          <p:cNvSpPr/>
          <p:nvPr/>
        </p:nvSpPr>
        <p:spPr>
          <a:xfrm>
            <a:off x="2359152" y="2962656"/>
            <a:ext cx="4231002" cy="987552"/>
          </a:xfrm>
          <a:prstGeom prst="rect">
            <a:avLst/>
          </a:prstGeom>
          <a:solidFill>
            <a:srgbClr val="FF8200">
              <a:alpha val="8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60796" y="3117703"/>
            <a:ext cx="4027714" cy="649890"/>
          </a:xfrm>
          <a:prstGeom prst="rect">
            <a:avLst/>
          </a:prstGeom>
        </p:spPr>
      </p:pic>
      <p:sp>
        <p:nvSpPr>
          <p:cNvPr id="12" name="Rectangle 11"/>
          <p:cNvSpPr/>
          <p:nvPr/>
        </p:nvSpPr>
        <p:spPr>
          <a:xfrm>
            <a:off x="2143062" y="2780040"/>
            <a:ext cx="4626227" cy="1327935"/>
          </a:xfrm>
          <a:prstGeom prst="rect">
            <a:avLst/>
          </a:prstGeom>
          <a:noFill/>
          <a:ln w="3175">
            <a:solidFill>
              <a:schemeClr val="bg1">
                <a:alpha val="2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TextBox 2"/>
          <p:cNvSpPr txBox="1"/>
          <p:nvPr/>
        </p:nvSpPr>
        <p:spPr>
          <a:xfrm>
            <a:off x="211552" y="6172200"/>
            <a:ext cx="80621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Robert Nieves, </a:t>
            </a: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Juris Doctor, MBA, MPA, BSN, RN,</a:t>
            </a: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VP Health Informatics</a:t>
            </a:r>
          </a:p>
        </p:txBody>
      </p:sp>
      <p:sp>
        <p:nvSpPr>
          <p:cNvPr id="8" name="Subtitle 2">
            <a:extLst>
              <a:ext uri="{FF2B5EF4-FFF2-40B4-BE49-F238E27FC236}">
                <a16:creationId xmlns:a16="http://schemas.microsoft.com/office/drawing/2014/main" id="{C4CC52AB-0DE9-4803-B182-6F3F11593D4D}"/>
              </a:ext>
            </a:extLst>
          </p:cNvPr>
          <p:cNvSpPr txBox="1">
            <a:spLocks/>
          </p:cNvSpPr>
          <p:nvPr/>
        </p:nvSpPr>
        <p:spPr>
          <a:xfrm>
            <a:off x="685800" y="4104852"/>
            <a:ext cx="7425926" cy="390948"/>
          </a:xfrm>
          <a:prstGeom prst="rect">
            <a:avLst/>
          </a:prstGeom>
        </p:spPr>
        <p:txBody>
          <a:bodyPr>
            <a:noAutofit/>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86868" lvl="0" indent="0">
              <a:buNone/>
            </a:pPr>
            <a:r>
              <a:rPr lang="es-ES" sz="3600" dirty="0" err="1">
                <a:solidFill>
                  <a:schemeClr val="bg1"/>
                </a:solidFill>
              </a:rPr>
              <a:t>From</a:t>
            </a:r>
            <a:r>
              <a:rPr lang="es-ES" sz="3600" dirty="0">
                <a:solidFill>
                  <a:schemeClr val="bg1"/>
                </a:solidFill>
              </a:rPr>
              <a:t> </a:t>
            </a:r>
            <a:r>
              <a:rPr lang="es-ES" sz="3600" dirty="0" err="1">
                <a:solidFill>
                  <a:schemeClr val="bg1"/>
                </a:solidFill>
              </a:rPr>
              <a:t>Theory</a:t>
            </a:r>
            <a:r>
              <a:rPr lang="es-ES" sz="3600" dirty="0">
                <a:solidFill>
                  <a:schemeClr val="bg1"/>
                </a:solidFill>
              </a:rPr>
              <a:t> </a:t>
            </a:r>
            <a:r>
              <a:rPr lang="es-ES" sz="3600" dirty="0" err="1">
                <a:solidFill>
                  <a:schemeClr val="bg1"/>
                </a:solidFill>
              </a:rPr>
              <a:t>to</a:t>
            </a:r>
            <a:r>
              <a:rPr lang="es-ES" sz="3600" dirty="0">
                <a:solidFill>
                  <a:schemeClr val="bg1"/>
                </a:solidFill>
              </a:rPr>
              <a:t> </a:t>
            </a:r>
            <a:r>
              <a:rPr lang="es-ES" sz="3600" dirty="0" err="1">
                <a:solidFill>
                  <a:schemeClr val="bg1"/>
                </a:solidFill>
              </a:rPr>
              <a:t>Practice</a:t>
            </a:r>
            <a:r>
              <a:rPr lang="es-ES" sz="3600" dirty="0">
                <a:solidFill>
                  <a:schemeClr val="bg1"/>
                </a:solidFill>
              </a:rPr>
              <a:t>: </a:t>
            </a:r>
            <a:r>
              <a:rPr lang="es-ES" sz="3600" dirty="0" err="1">
                <a:solidFill>
                  <a:schemeClr val="bg1"/>
                </a:solidFill>
              </a:rPr>
              <a:t>How</a:t>
            </a:r>
            <a:r>
              <a:rPr lang="es-ES" sz="3600" dirty="0">
                <a:solidFill>
                  <a:schemeClr val="bg1"/>
                </a:solidFill>
              </a:rPr>
              <a:t> </a:t>
            </a:r>
            <a:r>
              <a:rPr lang="es-ES" sz="3600" dirty="0" err="1">
                <a:solidFill>
                  <a:schemeClr val="bg1"/>
                </a:solidFill>
              </a:rPr>
              <a:t>to</a:t>
            </a:r>
            <a:r>
              <a:rPr lang="es-ES" sz="3600" dirty="0">
                <a:solidFill>
                  <a:schemeClr val="bg1"/>
                </a:solidFill>
              </a:rPr>
              <a:t> </a:t>
            </a:r>
            <a:r>
              <a:rPr lang="es-ES" sz="3600" dirty="0" err="1">
                <a:solidFill>
                  <a:schemeClr val="bg1"/>
                </a:solidFill>
              </a:rPr>
              <a:t>achieve</a:t>
            </a:r>
            <a:r>
              <a:rPr lang="es-ES" sz="3600" dirty="0">
                <a:solidFill>
                  <a:schemeClr val="bg1"/>
                </a:solidFill>
              </a:rPr>
              <a:t> a digital </a:t>
            </a:r>
            <a:r>
              <a:rPr lang="es-ES" sz="3600" dirty="0" err="1">
                <a:solidFill>
                  <a:schemeClr val="bg1"/>
                </a:solidFill>
              </a:rPr>
              <a:t>Interdisciplinary</a:t>
            </a:r>
            <a:r>
              <a:rPr lang="es-ES" sz="3600" dirty="0">
                <a:solidFill>
                  <a:schemeClr val="bg1"/>
                </a:solidFill>
              </a:rPr>
              <a:t> </a:t>
            </a:r>
            <a:r>
              <a:rPr lang="es-ES" sz="3600" dirty="0" err="1">
                <a:solidFill>
                  <a:schemeClr val="bg1"/>
                </a:solidFill>
              </a:rPr>
              <a:t>Model</a:t>
            </a:r>
            <a:r>
              <a:rPr lang="es-ES" sz="3600" dirty="0">
                <a:solidFill>
                  <a:schemeClr val="bg1"/>
                </a:solidFill>
              </a:rPr>
              <a:t> </a:t>
            </a:r>
            <a:r>
              <a:rPr lang="es-ES" sz="3600" dirty="0" err="1">
                <a:solidFill>
                  <a:schemeClr val="bg1"/>
                </a:solidFill>
              </a:rPr>
              <a:t>of</a:t>
            </a:r>
            <a:r>
              <a:rPr lang="es-ES" sz="3600" dirty="0">
                <a:solidFill>
                  <a:schemeClr val="bg1"/>
                </a:solidFill>
              </a:rPr>
              <a:t> </a:t>
            </a:r>
            <a:r>
              <a:rPr lang="es-ES" sz="3600" dirty="0" err="1">
                <a:solidFill>
                  <a:schemeClr val="bg1"/>
                </a:solidFill>
              </a:rPr>
              <a:t>Care</a:t>
            </a:r>
            <a:endParaRPr kumimoji="0" lang="en-US" sz="3600" b="0" i="0" u="none" strike="noStrike" kern="120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39729455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36EE65AC-1465-43AA-9817-835195BBBFF2}"/>
              </a:ext>
            </a:extLst>
          </p:cNvPr>
          <p:cNvPicPr>
            <a:picLocks noChangeAspect="1"/>
          </p:cNvPicPr>
          <p:nvPr/>
        </p:nvPicPr>
        <p:blipFill>
          <a:blip r:embed="rId3"/>
          <a:stretch>
            <a:fillRect/>
          </a:stretch>
        </p:blipFill>
        <p:spPr>
          <a:xfrm>
            <a:off x="144496" y="2286000"/>
            <a:ext cx="3589304" cy="1828800"/>
          </a:xfrm>
          <a:prstGeom prst="rect">
            <a:avLst/>
          </a:prstGeom>
        </p:spPr>
      </p:pic>
      <p:sp>
        <p:nvSpPr>
          <p:cNvPr id="13" name="Rectangle 12">
            <a:extLst>
              <a:ext uri="{FF2B5EF4-FFF2-40B4-BE49-F238E27FC236}">
                <a16:creationId xmlns:a16="http://schemas.microsoft.com/office/drawing/2014/main" id="{FADD9189-0287-42D6-AA95-AA8BEE034C2D}"/>
              </a:ext>
            </a:extLst>
          </p:cNvPr>
          <p:cNvSpPr/>
          <p:nvPr/>
        </p:nvSpPr>
        <p:spPr>
          <a:xfrm>
            <a:off x="3886200" y="1752600"/>
            <a:ext cx="5113304" cy="3785652"/>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53565A"/>
                </a:solidFill>
                <a:effectLst/>
                <a:uLnTx/>
                <a:uFillTx/>
                <a:latin typeface="Arial"/>
                <a:ea typeface="+mn-ea"/>
                <a:cs typeface="+mn-cs"/>
              </a:rPr>
              <a:t>18% of hospital admissions are associated with adverse events and about </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53565A"/>
                </a:solidFill>
                <a:effectLst/>
                <a:uLnTx/>
                <a:uFillTx/>
                <a:latin typeface="Arial"/>
                <a:ea typeface="+mn-ea"/>
                <a:cs typeface="+mn-cs"/>
              </a:rPr>
              <a:t>3% of hospital admissions are associated with an adverse event that is severe enough to cause death or permanent disability. </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53565A"/>
                </a:solidFill>
                <a:effectLst/>
                <a:uLnTx/>
                <a:uFillTx/>
                <a:latin typeface="Arial"/>
                <a:ea typeface="+mn-ea"/>
                <a:cs typeface="+mn-cs"/>
              </a:rPr>
              <a:t>83% of recorded adverse events are judged to be preventable.</a:t>
            </a:r>
          </a:p>
        </p:txBody>
      </p:sp>
      <p:sp>
        <p:nvSpPr>
          <p:cNvPr id="17" name="Rectangle 16">
            <a:extLst>
              <a:ext uri="{FF2B5EF4-FFF2-40B4-BE49-F238E27FC236}">
                <a16:creationId xmlns:a16="http://schemas.microsoft.com/office/drawing/2014/main" id="{57A3925F-45D9-4C4F-B05A-3CCCAAF3E5B9}"/>
              </a:ext>
            </a:extLst>
          </p:cNvPr>
          <p:cNvSpPr/>
          <p:nvPr/>
        </p:nvSpPr>
        <p:spPr>
          <a:xfrm>
            <a:off x="138576" y="467380"/>
            <a:ext cx="5500224"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53565A"/>
                </a:solidFill>
                <a:effectLst/>
                <a:uLnTx/>
                <a:uFillTx/>
                <a:latin typeface="Arial"/>
                <a:ea typeface="+mn-ea"/>
                <a:cs typeface="+mn-cs"/>
              </a:rPr>
              <a:t>Eastern Mediterranean Region</a:t>
            </a:r>
          </a:p>
        </p:txBody>
      </p:sp>
    </p:spTree>
    <p:extLst>
      <p:ext uri="{BB962C8B-B14F-4D97-AF65-F5344CB8AC3E}">
        <p14:creationId xmlns:p14="http://schemas.microsoft.com/office/powerpoint/2010/main" val="2909926631"/>
      </p:ext>
    </p:extLst>
  </p:cSld>
  <p:clrMapOvr>
    <a:masterClrMapping/>
  </p:clrMapOvr>
  <p:transition spd="slow">
    <p:fade thruBlk="1"/>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normAutofit/>
          </a:bodyPr>
          <a:lstStyle/>
          <a:p>
            <a:r>
              <a:rPr lang="en-US" dirty="0"/>
              <a:t>The cause of </a:t>
            </a:r>
            <a:r>
              <a:rPr lang="en-US" b="1" dirty="0"/>
              <a:t>Preventable Adverse Events </a:t>
            </a:r>
            <a:r>
              <a:rPr lang="en-US" dirty="0"/>
              <a:t>in hospitals may be separated into these categories:</a:t>
            </a:r>
          </a:p>
          <a:p>
            <a:pPr lvl="1">
              <a:buFont typeface="Wingdings" panose="05000000000000000000" pitchFamily="2" charset="2"/>
              <a:buChar char="§"/>
            </a:pPr>
            <a:r>
              <a:rPr lang="en-US" dirty="0"/>
              <a:t>Errors of commission</a:t>
            </a:r>
          </a:p>
          <a:p>
            <a:pPr lvl="1">
              <a:buFont typeface="Wingdings" panose="05000000000000000000" pitchFamily="2" charset="2"/>
              <a:buChar char="§"/>
            </a:pPr>
            <a:r>
              <a:rPr lang="en-US" dirty="0"/>
              <a:t>Errors of omission</a:t>
            </a:r>
          </a:p>
          <a:p>
            <a:pPr lvl="1">
              <a:buFont typeface="Wingdings" panose="05000000000000000000" pitchFamily="2" charset="2"/>
              <a:buChar char="§"/>
            </a:pPr>
            <a:r>
              <a:rPr lang="en-US" dirty="0"/>
              <a:t>Errors of communication</a:t>
            </a:r>
          </a:p>
          <a:p>
            <a:pPr lvl="1">
              <a:buFont typeface="Wingdings" panose="05000000000000000000" pitchFamily="2" charset="2"/>
              <a:buChar char="§"/>
            </a:pPr>
            <a:r>
              <a:rPr lang="en-US" dirty="0"/>
              <a:t>Errors of context</a:t>
            </a:r>
          </a:p>
          <a:p>
            <a:pPr lvl="1">
              <a:buFont typeface="Wingdings" panose="05000000000000000000" pitchFamily="2" charset="2"/>
              <a:buChar char="§"/>
            </a:pPr>
            <a:r>
              <a:rPr lang="en-US" dirty="0"/>
              <a:t>Diagnostic errors</a:t>
            </a:r>
          </a:p>
          <a:p>
            <a:pPr marL="86868" indent="0">
              <a:buNone/>
            </a:pPr>
            <a:endParaRPr lang="en-US" dirty="0"/>
          </a:p>
          <a:p>
            <a:pPr marL="86868" indent="0">
              <a:buNone/>
            </a:pPr>
            <a:endParaRPr lang="en-US" dirty="0"/>
          </a:p>
          <a:p>
            <a:pPr marL="86868" indent="0">
              <a:buNone/>
            </a:pPr>
            <a:endParaRPr lang="en-US" dirty="0"/>
          </a:p>
          <a:p>
            <a:pPr marL="86868" indent="0">
              <a:buNone/>
            </a:pPr>
            <a:endParaRPr lang="en-US" dirty="0"/>
          </a:p>
          <a:p>
            <a:pPr marL="86868" indent="0">
              <a:buNone/>
            </a:pPr>
            <a:endParaRPr lang="en-US" dirty="0"/>
          </a:p>
          <a:p>
            <a:pPr marL="86868" indent="0">
              <a:buNone/>
            </a:pPr>
            <a:r>
              <a:rPr lang="en-US" sz="1100" b="1" dirty="0"/>
              <a:t>James, John T. PhD, A New, Evidence-based Estimate of Patient Harms Associated with Hospital Care, </a:t>
            </a:r>
            <a:r>
              <a:rPr lang="en-US" sz="1100" dirty="0"/>
              <a:t>Journal of Patient Safety: </a:t>
            </a:r>
            <a:r>
              <a:rPr lang="en-US" sz="1100" dirty="0">
                <a:hlinkClick r:id="rId3"/>
              </a:rPr>
              <a:t>September 2013 - Volume 9 - Issue 3 - p 122–128</a:t>
            </a:r>
            <a:endParaRPr lang="en-US" sz="1100" dirty="0"/>
          </a:p>
          <a:p>
            <a:endParaRPr lang="en-US" dirty="0"/>
          </a:p>
        </p:txBody>
      </p:sp>
      <p:sp>
        <p:nvSpPr>
          <p:cNvPr id="3" name="Title 2"/>
          <p:cNvSpPr>
            <a:spLocks noGrp="1"/>
          </p:cNvSpPr>
          <p:nvPr>
            <p:ph type="title"/>
          </p:nvPr>
        </p:nvSpPr>
        <p:spPr/>
        <p:txBody>
          <a:bodyPr/>
          <a:lstStyle/>
          <a:p>
            <a:r>
              <a:rPr lang="en-US" sz="2400" dirty="0">
                <a:latin typeface="Arial Bold" panose="020B0704020202020204" pitchFamily="34" charset="0"/>
                <a:cs typeface="Arial Bold" panose="020B0704020202020204" pitchFamily="34" charset="0"/>
              </a:rPr>
              <a:t>What we know…</a:t>
            </a:r>
            <a:endParaRPr lang="en-US" sz="2400" b="1" dirty="0">
              <a:solidFill>
                <a:srgbClr val="0070C0"/>
              </a:solidFill>
              <a:latin typeface="Arial Bold" panose="020B0704020202020204" pitchFamily="34" charset="0"/>
              <a:cs typeface="Arial Bold" panose="020B0704020202020204" pitchFamily="34" charset="0"/>
            </a:endParaRPr>
          </a:p>
        </p:txBody>
      </p:sp>
    </p:spTree>
    <p:extLst>
      <p:ext uri="{BB962C8B-B14F-4D97-AF65-F5344CB8AC3E}">
        <p14:creationId xmlns:p14="http://schemas.microsoft.com/office/powerpoint/2010/main" val="219117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1" y="358295"/>
            <a:ext cx="4499428" cy="3015001"/>
          </a:xfrm>
          <a:prstGeom prst="rect">
            <a:avLst/>
          </a:prstGeom>
          <a:effectLst>
            <a:softEdge rad="127000"/>
          </a:effectLst>
        </p:spPr>
      </p:pic>
      <p:sp>
        <p:nvSpPr>
          <p:cNvPr id="14" name="TextBox 13"/>
          <p:cNvSpPr txBox="1"/>
          <p:nvPr/>
        </p:nvSpPr>
        <p:spPr>
          <a:xfrm>
            <a:off x="5638800" y="4319732"/>
            <a:ext cx="3353968" cy="461665"/>
          </a:xfrm>
          <a:prstGeom prst="rect">
            <a:avLst/>
          </a:prstGeom>
          <a:solidFill>
            <a:srgbClr val="00990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Lantus Insulin 8 units</a:t>
            </a:r>
          </a:p>
        </p:txBody>
      </p:sp>
      <p:sp>
        <p:nvSpPr>
          <p:cNvPr id="8" name="TextBox 7"/>
          <p:cNvSpPr txBox="1"/>
          <p:nvPr/>
        </p:nvSpPr>
        <p:spPr>
          <a:xfrm>
            <a:off x="4741993" y="1856951"/>
            <a:ext cx="4258552" cy="1569660"/>
          </a:xfrm>
          <a:prstGeom prst="rect">
            <a:avLst/>
          </a:prstGeom>
          <a:solidFill>
            <a:schemeClr val="bg1"/>
          </a:solidFill>
          <a:ln>
            <a:solidFill>
              <a:schemeClr val="bg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FF8200"/>
                </a:solidFill>
                <a:effectLst/>
                <a:uLnTx/>
                <a:uFillTx/>
                <a:latin typeface="Calibri" panose="020F0502020204030204" pitchFamily="34" charset="0"/>
                <a:ea typeface="+mn-ea"/>
                <a:cs typeface="Calibri" panose="020F0502020204030204" pitchFamily="34" charset="0"/>
              </a:rPr>
              <a:t>Errors of Commission</a:t>
            </a:r>
          </a:p>
        </p:txBody>
      </p:sp>
      <p:pic>
        <p:nvPicPr>
          <p:cNvPr id="11" name="Picture 10">
            <a:extLst>
              <a:ext uri="{FF2B5EF4-FFF2-40B4-BE49-F238E27FC236}">
                <a16:creationId xmlns:a16="http://schemas.microsoft.com/office/drawing/2014/main" id="{B071DC99-4888-4599-BE31-07DCB5355533}"/>
              </a:ext>
            </a:extLst>
          </p:cNvPr>
          <p:cNvPicPr>
            <a:picLocks noChangeAspect="1"/>
          </p:cNvPicPr>
          <p:nvPr/>
        </p:nvPicPr>
        <p:blipFill>
          <a:blip r:embed="rId4"/>
          <a:stretch>
            <a:fillRect/>
          </a:stretch>
        </p:blipFill>
        <p:spPr>
          <a:xfrm>
            <a:off x="101278" y="4319732"/>
            <a:ext cx="5385122" cy="1074977"/>
          </a:xfrm>
          <a:prstGeom prst="rect">
            <a:avLst/>
          </a:prstGeom>
        </p:spPr>
      </p:pic>
      <p:pic>
        <p:nvPicPr>
          <p:cNvPr id="12" name="Picture 11">
            <a:extLst>
              <a:ext uri="{FF2B5EF4-FFF2-40B4-BE49-F238E27FC236}">
                <a16:creationId xmlns:a16="http://schemas.microsoft.com/office/drawing/2014/main" id="{64B89513-7502-4DA1-B4B8-90F30038C2E8}"/>
              </a:ext>
            </a:extLst>
          </p:cNvPr>
          <p:cNvPicPr>
            <a:picLocks noChangeAspect="1"/>
          </p:cNvPicPr>
          <p:nvPr/>
        </p:nvPicPr>
        <p:blipFill>
          <a:blip r:embed="rId5"/>
          <a:stretch>
            <a:fillRect/>
          </a:stretch>
        </p:blipFill>
        <p:spPr>
          <a:xfrm>
            <a:off x="101278" y="6525150"/>
            <a:ext cx="3579182" cy="281362"/>
          </a:xfrm>
          <a:prstGeom prst="rect">
            <a:avLst/>
          </a:prstGeom>
        </p:spPr>
      </p:pic>
      <p:sp>
        <p:nvSpPr>
          <p:cNvPr id="15" name="TextBox 14">
            <a:extLst>
              <a:ext uri="{FF2B5EF4-FFF2-40B4-BE49-F238E27FC236}">
                <a16:creationId xmlns:a16="http://schemas.microsoft.com/office/drawing/2014/main" id="{F0D6F3F1-1F39-45AE-9EEF-CD5B940C5D69}"/>
              </a:ext>
            </a:extLst>
          </p:cNvPr>
          <p:cNvSpPr txBox="1"/>
          <p:nvPr/>
        </p:nvSpPr>
        <p:spPr>
          <a:xfrm>
            <a:off x="5638800" y="4933044"/>
            <a:ext cx="3353968" cy="461665"/>
          </a:xfrm>
          <a:prstGeom prst="rect">
            <a:avLst/>
          </a:prstGeom>
          <a:solidFill>
            <a:srgbClr val="FF000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Lantus Insulin 80 units</a:t>
            </a:r>
          </a:p>
        </p:txBody>
      </p:sp>
      <p:cxnSp>
        <p:nvCxnSpPr>
          <p:cNvPr id="16" name="Straight Connector 15">
            <a:extLst>
              <a:ext uri="{FF2B5EF4-FFF2-40B4-BE49-F238E27FC236}">
                <a16:creationId xmlns:a16="http://schemas.microsoft.com/office/drawing/2014/main" id="{4318BC56-367D-45BB-B151-182117002460}"/>
              </a:ext>
            </a:extLst>
          </p:cNvPr>
          <p:cNvCxnSpPr>
            <a:cxnSpLocks/>
          </p:cNvCxnSpPr>
          <p:nvPr/>
        </p:nvCxnSpPr>
        <p:spPr>
          <a:xfrm>
            <a:off x="101278" y="5017241"/>
            <a:ext cx="5385122" cy="0"/>
          </a:xfrm>
          <a:prstGeom prst="line">
            <a:avLst/>
          </a:prstGeom>
          <a:ln w="60325">
            <a:solidFill>
              <a:srgbClr val="FF66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86155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0C0"/>
                </a:solidFill>
              </a:rPr>
              <a:t>What we know…</a:t>
            </a:r>
          </a:p>
        </p:txBody>
      </p:sp>
      <p:sp>
        <p:nvSpPr>
          <p:cNvPr id="3" name="Content Placeholder 2"/>
          <p:cNvSpPr>
            <a:spLocks noGrp="1"/>
          </p:cNvSpPr>
          <p:nvPr>
            <p:ph idx="1"/>
          </p:nvPr>
        </p:nvSpPr>
        <p:spPr>
          <a:xfrm>
            <a:off x="457200" y="1500111"/>
            <a:ext cx="8238318" cy="2299380"/>
          </a:xfrm>
        </p:spPr>
        <p:txBody>
          <a:bodyPr>
            <a:normAutofit fontScale="85000" lnSpcReduction="20000"/>
          </a:bodyPr>
          <a:lstStyle/>
          <a:p>
            <a:pPr marL="86868" indent="0">
              <a:buNone/>
            </a:pPr>
            <a:r>
              <a:rPr lang="en-US" sz="2800" b="1" dirty="0">
                <a:solidFill>
                  <a:schemeClr val="tx2">
                    <a:lumMod val="50000"/>
                  </a:schemeClr>
                </a:solidFill>
              </a:rPr>
              <a:t>Error of Omission: </a:t>
            </a:r>
            <a:r>
              <a:rPr lang="en-US" sz="2800" dirty="0">
                <a:solidFill>
                  <a:schemeClr val="tx2">
                    <a:lumMod val="50000"/>
                  </a:schemeClr>
                </a:solidFill>
              </a:rPr>
              <a:t>is </a:t>
            </a:r>
            <a:r>
              <a:rPr lang="en-US" sz="2800" b="1" dirty="0">
                <a:solidFill>
                  <a:srgbClr val="0070C0"/>
                </a:solidFill>
              </a:rPr>
              <a:t>forgetting</a:t>
            </a:r>
            <a:r>
              <a:rPr lang="en-US" sz="2800" dirty="0">
                <a:solidFill>
                  <a:schemeClr val="tx2">
                    <a:lumMod val="50000"/>
                  </a:schemeClr>
                </a:solidFill>
              </a:rPr>
              <a:t> to do something like a task or intervention</a:t>
            </a:r>
          </a:p>
          <a:p>
            <a:pPr marL="86868" indent="0">
              <a:buNone/>
            </a:pPr>
            <a:endParaRPr lang="en-US" sz="2800" dirty="0">
              <a:solidFill>
                <a:schemeClr val="tx2">
                  <a:lumMod val="50000"/>
                </a:schemeClr>
              </a:solidFill>
            </a:endParaRPr>
          </a:p>
          <a:p>
            <a:r>
              <a:rPr lang="en-US" sz="2000" dirty="0">
                <a:solidFill>
                  <a:schemeClr val="tx2">
                    <a:lumMod val="50000"/>
                  </a:schemeClr>
                </a:solidFill>
              </a:rPr>
              <a:t>These lead to injuries arising from the patient’s underlying disease that </a:t>
            </a:r>
            <a:r>
              <a:rPr lang="en-US" sz="2000" b="1" u="sng" dirty="0">
                <a:solidFill>
                  <a:srgbClr val="0070C0"/>
                </a:solidFill>
              </a:rPr>
              <a:t>could have been prevented by optimal care</a:t>
            </a:r>
            <a:r>
              <a:rPr lang="en-US" sz="2000" dirty="0">
                <a:solidFill>
                  <a:schemeClr val="tx2">
                    <a:lumMod val="50000"/>
                  </a:schemeClr>
                </a:solidFill>
              </a:rPr>
              <a:t>.</a:t>
            </a:r>
          </a:p>
          <a:p>
            <a:pPr marL="86868" indent="0">
              <a:buNone/>
            </a:pPr>
            <a:endParaRPr lang="en-US" dirty="0">
              <a:solidFill>
                <a:schemeClr val="accent6"/>
              </a:solidFill>
            </a:endParaRPr>
          </a:p>
          <a:p>
            <a:r>
              <a:rPr lang="en-US" dirty="0"/>
              <a:t>According to AHRQ, omissions are more difficult to recognize but represent a larger problem</a:t>
            </a:r>
          </a:p>
          <a:p>
            <a:pPr marL="86868" indent="0">
              <a:buNone/>
            </a:pPr>
            <a:endParaRPr lang="en-US" dirty="0"/>
          </a:p>
        </p:txBody>
      </p:sp>
      <p:sp>
        <p:nvSpPr>
          <p:cNvPr id="5" name="Rectangle 4"/>
          <p:cNvSpPr/>
          <p:nvPr/>
        </p:nvSpPr>
        <p:spPr>
          <a:xfrm>
            <a:off x="533400" y="6258580"/>
            <a:ext cx="8534400"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3565A"/>
                </a:solidFill>
                <a:effectLst/>
                <a:uLnTx/>
                <a:uFillTx/>
                <a:latin typeface="Arial"/>
                <a:ea typeface="+mn-ea"/>
                <a:cs typeface="+mn-cs"/>
              </a:rPr>
              <a:t>Beatrice J. </a:t>
            </a:r>
            <a:r>
              <a:rPr kumimoji="0" lang="en-US" sz="1000" b="0" i="0" u="none" strike="noStrike" kern="1200" cap="none" spc="0" normalizeH="0" baseline="0" noProof="0" dirty="0" err="1">
                <a:ln>
                  <a:noFill/>
                </a:ln>
                <a:solidFill>
                  <a:srgbClr val="53565A"/>
                </a:solidFill>
                <a:effectLst/>
                <a:uLnTx/>
                <a:uFillTx/>
                <a:latin typeface="Arial"/>
                <a:ea typeface="+mn-ea"/>
                <a:cs typeface="+mn-cs"/>
              </a:rPr>
              <a:t>Kalisch</a:t>
            </a:r>
            <a:r>
              <a:rPr kumimoji="0" lang="en-US" sz="1000" b="0" i="0" u="none" strike="noStrike" kern="1200" cap="none" spc="0" normalizeH="0" baseline="0" noProof="0" dirty="0">
                <a:ln>
                  <a:noFill/>
                </a:ln>
                <a:solidFill>
                  <a:srgbClr val="53565A"/>
                </a:solidFill>
                <a:effectLst/>
                <a:uLnTx/>
                <a:uFillTx/>
                <a:latin typeface="Arial"/>
                <a:ea typeface="+mn-ea"/>
                <a:cs typeface="+mn-cs"/>
              </a:rPr>
              <a:t>, Gay </a:t>
            </a:r>
            <a:r>
              <a:rPr kumimoji="0" lang="en-US" sz="1000" b="0" i="0" u="none" strike="noStrike" kern="1200" cap="none" spc="0" normalizeH="0" baseline="0" noProof="0" dirty="0" err="1">
                <a:ln>
                  <a:noFill/>
                </a:ln>
                <a:solidFill>
                  <a:srgbClr val="53565A"/>
                </a:solidFill>
                <a:effectLst/>
                <a:uLnTx/>
                <a:uFillTx/>
                <a:latin typeface="Arial"/>
                <a:ea typeface="+mn-ea"/>
                <a:cs typeface="+mn-cs"/>
              </a:rPr>
              <a:t>Landstrom</a:t>
            </a:r>
            <a:r>
              <a:rPr kumimoji="0" lang="en-US" sz="1000" b="0" i="0" u="none" strike="noStrike" kern="1200" cap="none" spc="0" normalizeH="0" baseline="0" noProof="0" dirty="0">
                <a:ln>
                  <a:noFill/>
                </a:ln>
                <a:solidFill>
                  <a:srgbClr val="53565A"/>
                </a:solidFill>
                <a:effectLst/>
                <a:uLnTx/>
                <a:uFillTx/>
                <a:latin typeface="Arial"/>
                <a:ea typeface="+mn-ea"/>
                <a:cs typeface="+mn-cs"/>
              </a:rPr>
              <a:t>, </a:t>
            </a:r>
            <a:r>
              <a:rPr kumimoji="0" lang="en-US" sz="1000" b="0" i="0" u="none" strike="noStrike" kern="1200" cap="none" spc="0" normalizeH="0" baseline="0" noProof="0" dirty="0" err="1">
                <a:ln>
                  <a:noFill/>
                </a:ln>
                <a:solidFill>
                  <a:srgbClr val="53565A"/>
                </a:solidFill>
                <a:effectLst/>
                <a:uLnTx/>
                <a:uFillTx/>
                <a:latin typeface="Arial"/>
                <a:ea typeface="+mn-ea"/>
                <a:cs typeface="+mn-cs"/>
              </a:rPr>
              <a:t>Reg</a:t>
            </a:r>
            <a:r>
              <a:rPr kumimoji="0" lang="en-US" sz="1000" b="0" i="0" u="none" strike="noStrike" kern="1200" cap="none" spc="0" normalizeH="0" baseline="0" noProof="0" dirty="0">
                <a:ln>
                  <a:noFill/>
                </a:ln>
                <a:solidFill>
                  <a:srgbClr val="53565A"/>
                </a:solidFill>
                <a:effectLst/>
                <a:uLnTx/>
                <a:uFillTx/>
                <a:latin typeface="Arial"/>
                <a:ea typeface="+mn-ea"/>
                <a:cs typeface="+mn-cs"/>
              </a:rPr>
              <a:t> Arthur Williams, Missed nursing care: Errors of omission, Nursing Outlook, Volume 57, Issue 1, January–February 2009, Pages 3-9</a:t>
            </a:r>
          </a:p>
        </p:txBody>
      </p:sp>
      <p:graphicFrame>
        <p:nvGraphicFramePr>
          <p:cNvPr id="7" name="Table 6"/>
          <p:cNvGraphicFramePr>
            <a:graphicFrameLocks noGrp="1"/>
          </p:cNvGraphicFramePr>
          <p:nvPr>
            <p:extLst/>
          </p:nvPr>
        </p:nvGraphicFramePr>
        <p:xfrm>
          <a:off x="1524000" y="3886200"/>
          <a:ext cx="6096000" cy="221996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tblGrid>
              <a:tr h="122535">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1" u="sng" dirty="0">
                          <a:solidFill>
                            <a:schemeClr val="bg1"/>
                          </a:solidFill>
                        </a:rPr>
                        <a:t>Nine</a:t>
                      </a:r>
                      <a:r>
                        <a:rPr lang="en-US" dirty="0">
                          <a:solidFill>
                            <a:schemeClr val="bg1"/>
                          </a:solidFill>
                        </a:rPr>
                        <a:t> documentation elements regularly missed: </a:t>
                      </a:r>
                    </a:p>
                  </a:txBody>
                  <a:tcPr/>
                </a:tc>
                <a:tc hMerge="1">
                  <a:txBody>
                    <a:bodyPr/>
                    <a:lstStyle/>
                    <a:p>
                      <a:endParaRPr lang="en-US" dirty="0"/>
                    </a:p>
                  </a:txBody>
                  <a:tcPr/>
                </a:tc>
                <a:extLst>
                  <a:ext uri="{0D108BD9-81ED-4DB2-BD59-A6C34878D82A}">
                    <a16:rowId xmlns:a16="http://schemas.microsoft.com/office/drawing/2014/main" val="10000"/>
                  </a:ext>
                </a:extLst>
              </a:tr>
              <a:tr h="370840">
                <a:tc>
                  <a:txBody>
                    <a:bodyPr/>
                    <a:lstStyle/>
                    <a:p>
                      <a:pPr lvl="0"/>
                      <a:r>
                        <a:rPr lang="en-US" b="0" dirty="0">
                          <a:solidFill>
                            <a:schemeClr val="tx2"/>
                          </a:solidFill>
                        </a:rPr>
                        <a:t>Ambulation</a:t>
                      </a:r>
                    </a:p>
                  </a:txBody>
                  <a:tcPr/>
                </a:tc>
                <a:tc>
                  <a:txBody>
                    <a:bodyPr/>
                    <a:lstStyle/>
                    <a:p>
                      <a:pPr lvl="0"/>
                      <a:r>
                        <a:rPr lang="en-US" b="0" dirty="0">
                          <a:solidFill>
                            <a:schemeClr val="tx2">
                              <a:lumMod val="75000"/>
                            </a:schemeClr>
                          </a:solidFill>
                        </a:rPr>
                        <a:t>Emotional</a:t>
                      </a:r>
                      <a:r>
                        <a:rPr lang="en-US" b="0" baseline="0" dirty="0">
                          <a:solidFill>
                            <a:schemeClr val="tx2">
                              <a:lumMod val="75000"/>
                            </a:schemeClr>
                          </a:solidFill>
                        </a:rPr>
                        <a:t> Support</a:t>
                      </a:r>
                      <a:endParaRPr lang="en-US" b="0" dirty="0">
                        <a:solidFill>
                          <a:schemeClr val="tx2">
                            <a:lumMod val="75000"/>
                          </a:schemeClr>
                        </a:solidFill>
                      </a:endParaRPr>
                    </a:p>
                  </a:txBody>
                  <a:tcPr/>
                </a:tc>
                <a:extLst>
                  <a:ext uri="{0D108BD9-81ED-4DB2-BD59-A6C34878D82A}">
                    <a16:rowId xmlns:a16="http://schemas.microsoft.com/office/drawing/2014/main" val="10001"/>
                  </a:ext>
                </a:extLst>
              </a:tr>
              <a:tr h="370840">
                <a:tc>
                  <a:txBody>
                    <a:bodyPr/>
                    <a:lstStyle/>
                    <a:p>
                      <a:pPr lvl="0"/>
                      <a:r>
                        <a:rPr lang="en-US" b="0" dirty="0">
                          <a:solidFill>
                            <a:schemeClr val="tx2"/>
                          </a:solidFill>
                        </a:rPr>
                        <a:t>Turning</a:t>
                      </a:r>
                    </a:p>
                  </a:txBody>
                  <a:tcPr/>
                </a:tc>
                <a:tc>
                  <a:txBody>
                    <a:bodyPr/>
                    <a:lstStyle/>
                    <a:p>
                      <a:pPr lvl="0"/>
                      <a:r>
                        <a:rPr lang="en-US" dirty="0">
                          <a:solidFill>
                            <a:schemeClr val="tx2"/>
                          </a:solidFill>
                        </a:rPr>
                        <a:t>Hygiene</a:t>
                      </a:r>
                    </a:p>
                  </a:txBody>
                  <a:tcPr/>
                </a:tc>
                <a:extLst>
                  <a:ext uri="{0D108BD9-81ED-4DB2-BD59-A6C34878D82A}">
                    <a16:rowId xmlns:a16="http://schemas.microsoft.com/office/drawing/2014/main" val="10002"/>
                  </a:ext>
                </a:extLst>
              </a:tr>
              <a:tr h="370840">
                <a:tc>
                  <a:txBody>
                    <a:bodyPr/>
                    <a:lstStyle/>
                    <a:p>
                      <a:pPr lvl="0"/>
                      <a:r>
                        <a:rPr lang="en-US" dirty="0">
                          <a:solidFill>
                            <a:schemeClr val="tx2"/>
                          </a:solidFill>
                        </a:rPr>
                        <a:t>Delayed or missed feedings</a:t>
                      </a:r>
                    </a:p>
                  </a:txBody>
                  <a:tcPr/>
                </a:tc>
                <a:tc>
                  <a:txBody>
                    <a:bodyPr/>
                    <a:lstStyle/>
                    <a:p>
                      <a:pPr lvl="0"/>
                      <a:r>
                        <a:rPr lang="en-US" dirty="0">
                          <a:solidFill>
                            <a:schemeClr val="tx2"/>
                          </a:solidFill>
                        </a:rPr>
                        <a:t>Intake &amp; Output</a:t>
                      </a:r>
                    </a:p>
                  </a:txBody>
                  <a:tcPr/>
                </a:tc>
                <a:extLst>
                  <a:ext uri="{0D108BD9-81ED-4DB2-BD59-A6C34878D82A}">
                    <a16:rowId xmlns:a16="http://schemas.microsoft.com/office/drawing/2014/main" val="10003"/>
                  </a:ext>
                </a:extLst>
              </a:tr>
              <a:tr h="370840">
                <a:tc>
                  <a:txBody>
                    <a:bodyPr/>
                    <a:lstStyle/>
                    <a:p>
                      <a:pPr lvl="0"/>
                      <a:r>
                        <a:rPr lang="en-US" b="0" dirty="0">
                          <a:solidFill>
                            <a:schemeClr val="tx2"/>
                          </a:solidFill>
                        </a:rPr>
                        <a:t>Patient</a:t>
                      </a:r>
                      <a:r>
                        <a:rPr lang="en-US" b="0" baseline="0" dirty="0">
                          <a:solidFill>
                            <a:schemeClr val="tx2"/>
                          </a:solidFill>
                        </a:rPr>
                        <a:t> Teaching</a:t>
                      </a:r>
                      <a:endParaRPr lang="en-US" b="0" dirty="0">
                        <a:solidFill>
                          <a:schemeClr val="tx2"/>
                        </a:solidFill>
                      </a:endParaRPr>
                    </a:p>
                  </a:txBody>
                  <a:tcPr/>
                </a:tc>
                <a:tc>
                  <a:txBody>
                    <a:bodyPr/>
                    <a:lstStyle/>
                    <a:p>
                      <a:pPr lvl="0"/>
                      <a:r>
                        <a:rPr lang="en-US" b="0" dirty="0">
                          <a:solidFill>
                            <a:schemeClr val="tx2"/>
                          </a:solidFill>
                        </a:rPr>
                        <a:t>Surveillance</a:t>
                      </a:r>
                    </a:p>
                  </a:txBody>
                  <a:tcPr/>
                </a:tc>
                <a:extLst>
                  <a:ext uri="{0D108BD9-81ED-4DB2-BD59-A6C34878D82A}">
                    <a16:rowId xmlns:a16="http://schemas.microsoft.com/office/drawing/2014/main" val="10004"/>
                  </a:ext>
                </a:extLst>
              </a:tr>
              <a:tr h="370840">
                <a:tc>
                  <a:txBody>
                    <a:bodyPr/>
                    <a:lstStyle/>
                    <a:p>
                      <a:pPr lvl="0"/>
                      <a:r>
                        <a:rPr lang="en-US" b="0" dirty="0">
                          <a:solidFill>
                            <a:schemeClr val="tx2"/>
                          </a:solidFill>
                        </a:rPr>
                        <a:t>Discharge</a:t>
                      </a:r>
                      <a:r>
                        <a:rPr lang="en-US" b="0" baseline="0" dirty="0">
                          <a:solidFill>
                            <a:schemeClr val="tx2"/>
                          </a:solidFill>
                        </a:rPr>
                        <a:t> Planning</a:t>
                      </a:r>
                      <a:endParaRPr lang="en-US" b="0" dirty="0">
                        <a:solidFill>
                          <a:schemeClr val="tx2"/>
                        </a:solidFill>
                      </a:endParaRPr>
                    </a:p>
                  </a:txBody>
                  <a:tcPr/>
                </a:tc>
                <a:tc>
                  <a:txBody>
                    <a:bodyPr/>
                    <a:lstStyle/>
                    <a:p>
                      <a:pPr lvl="0"/>
                      <a:endParaRPr lang="en-US" dirty="0">
                        <a:solidFill>
                          <a:schemeClr val="tx2"/>
                        </a:solidFill>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5388266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0C0"/>
                </a:solidFill>
              </a:rPr>
              <a:t>What we know…</a:t>
            </a:r>
          </a:p>
        </p:txBody>
      </p:sp>
      <p:sp>
        <p:nvSpPr>
          <p:cNvPr id="3" name="Content Placeholder 2"/>
          <p:cNvSpPr>
            <a:spLocks noGrp="1"/>
          </p:cNvSpPr>
          <p:nvPr>
            <p:ph idx="1"/>
          </p:nvPr>
        </p:nvSpPr>
        <p:spPr>
          <a:xfrm>
            <a:off x="457200" y="1500111"/>
            <a:ext cx="8238318" cy="2299380"/>
          </a:xfrm>
        </p:spPr>
        <p:txBody>
          <a:bodyPr>
            <a:normAutofit fontScale="85000" lnSpcReduction="20000"/>
          </a:bodyPr>
          <a:lstStyle/>
          <a:p>
            <a:pPr marL="86868" indent="0">
              <a:buNone/>
            </a:pPr>
            <a:r>
              <a:rPr lang="en-US" sz="2800" b="1" dirty="0">
                <a:solidFill>
                  <a:schemeClr val="tx2">
                    <a:lumMod val="50000"/>
                  </a:schemeClr>
                </a:solidFill>
              </a:rPr>
              <a:t>Error of Omission: </a:t>
            </a:r>
            <a:r>
              <a:rPr lang="en-US" sz="2800" dirty="0">
                <a:solidFill>
                  <a:schemeClr val="tx2">
                    <a:lumMod val="50000"/>
                  </a:schemeClr>
                </a:solidFill>
              </a:rPr>
              <a:t>is </a:t>
            </a:r>
            <a:r>
              <a:rPr lang="en-US" sz="2800" b="1" dirty="0">
                <a:solidFill>
                  <a:srgbClr val="0070C0"/>
                </a:solidFill>
              </a:rPr>
              <a:t>forgetting</a:t>
            </a:r>
            <a:r>
              <a:rPr lang="en-US" sz="2800" dirty="0">
                <a:solidFill>
                  <a:schemeClr val="tx2">
                    <a:lumMod val="50000"/>
                  </a:schemeClr>
                </a:solidFill>
              </a:rPr>
              <a:t> to do something like a task or intervention</a:t>
            </a:r>
          </a:p>
          <a:p>
            <a:pPr marL="86868" indent="0">
              <a:buNone/>
            </a:pPr>
            <a:endParaRPr lang="en-US" sz="2800" dirty="0">
              <a:solidFill>
                <a:schemeClr val="tx2">
                  <a:lumMod val="50000"/>
                </a:schemeClr>
              </a:solidFill>
            </a:endParaRPr>
          </a:p>
          <a:p>
            <a:r>
              <a:rPr lang="en-US" sz="2000" dirty="0">
                <a:solidFill>
                  <a:schemeClr val="tx2">
                    <a:lumMod val="50000"/>
                  </a:schemeClr>
                </a:solidFill>
              </a:rPr>
              <a:t>These lead to injuries arising from the patient’s underlying disease that </a:t>
            </a:r>
            <a:r>
              <a:rPr lang="en-US" sz="2000" b="1" u="sng" dirty="0">
                <a:solidFill>
                  <a:srgbClr val="0070C0"/>
                </a:solidFill>
              </a:rPr>
              <a:t>could have been prevented by optimal care</a:t>
            </a:r>
            <a:r>
              <a:rPr lang="en-US" sz="2000" dirty="0">
                <a:solidFill>
                  <a:schemeClr val="tx2">
                    <a:lumMod val="50000"/>
                  </a:schemeClr>
                </a:solidFill>
              </a:rPr>
              <a:t>.</a:t>
            </a:r>
          </a:p>
          <a:p>
            <a:pPr marL="86868" indent="0">
              <a:buNone/>
            </a:pPr>
            <a:endParaRPr lang="en-US" dirty="0">
              <a:solidFill>
                <a:schemeClr val="accent6"/>
              </a:solidFill>
            </a:endParaRPr>
          </a:p>
          <a:p>
            <a:r>
              <a:rPr lang="en-US" dirty="0"/>
              <a:t>According to AHRQ, omissions are more difficult to recognize but represent a larger problem</a:t>
            </a:r>
          </a:p>
          <a:p>
            <a:pPr marL="86868" indent="0">
              <a:buNone/>
            </a:pPr>
            <a:endParaRPr lang="en-US" dirty="0"/>
          </a:p>
        </p:txBody>
      </p:sp>
      <p:sp>
        <p:nvSpPr>
          <p:cNvPr id="5" name="Rectangle 4"/>
          <p:cNvSpPr/>
          <p:nvPr/>
        </p:nvSpPr>
        <p:spPr>
          <a:xfrm>
            <a:off x="533400" y="6258580"/>
            <a:ext cx="8534400"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3565A"/>
                </a:solidFill>
                <a:effectLst/>
                <a:uLnTx/>
                <a:uFillTx/>
                <a:latin typeface="Arial"/>
                <a:ea typeface="+mn-ea"/>
                <a:cs typeface="+mn-cs"/>
              </a:rPr>
              <a:t>Beatrice J. </a:t>
            </a:r>
            <a:r>
              <a:rPr kumimoji="0" lang="en-US" sz="1000" b="0" i="0" u="none" strike="noStrike" kern="1200" cap="none" spc="0" normalizeH="0" baseline="0" noProof="0" dirty="0" err="1">
                <a:ln>
                  <a:noFill/>
                </a:ln>
                <a:solidFill>
                  <a:srgbClr val="53565A"/>
                </a:solidFill>
                <a:effectLst/>
                <a:uLnTx/>
                <a:uFillTx/>
                <a:latin typeface="Arial"/>
                <a:ea typeface="+mn-ea"/>
                <a:cs typeface="+mn-cs"/>
              </a:rPr>
              <a:t>Kalisch</a:t>
            </a:r>
            <a:r>
              <a:rPr kumimoji="0" lang="en-US" sz="1000" b="0" i="0" u="none" strike="noStrike" kern="1200" cap="none" spc="0" normalizeH="0" baseline="0" noProof="0" dirty="0">
                <a:ln>
                  <a:noFill/>
                </a:ln>
                <a:solidFill>
                  <a:srgbClr val="53565A"/>
                </a:solidFill>
                <a:effectLst/>
                <a:uLnTx/>
                <a:uFillTx/>
                <a:latin typeface="Arial"/>
                <a:ea typeface="+mn-ea"/>
                <a:cs typeface="+mn-cs"/>
              </a:rPr>
              <a:t>, Gay </a:t>
            </a:r>
            <a:r>
              <a:rPr kumimoji="0" lang="en-US" sz="1000" b="0" i="0" u="none" strike="noStrike" kern="1200" cap="none" spc="0" normalizeH="0" baseline="0" noProof="0" dirty="0" err="1">
                <a:ln>
                  <a:noFill/>
                </a:ln>
                <a:solidFill>
                  <a:srgbClr val="53565A"/>
                </a:solidFill>
                <a:effectLst/>
                <a:uLnTx/>
                <a:uFillTx/>
                <a:latin typeface="Arial"/>
                <a:ea typeface="+mn-ea"/>
                <a:cs typeface="+mn-cs"/>
              </a:rPr>
              <a:t>Landstrom</a:t>
            </a:r>
            <a:r>
              <a:rPr kumimoji="0" lang="en-US" sz="1000" b="0" i="0" u="none" strike="noStrike" kern="1200" cap="none" spc="0" normalizeH="0" baseline="0" noProof="0" dirty="0">
                <a:ln>
                  <a:noFill/>
                </a:ln>
                <a:solidFill>
                  <a:srgbClr val="53565A"/>
                </a:solidFill>
                <a:effectLst/>
                <a:uLnTx/>
                <a:uFillTx/>
                <a:latin typeface="Arial"/>
                <a:ea typeface="+mn-ea"/>
                <a:cs typeface="+mn-cs"/>
              </a:rPr>
              <a:t>, </a:t>
            </a:r>
            <a:r>
              <a:rPr kumimoji="0" lang="en-US" sz="1000" b="0" i="0" u="none" strike="noStrike" kern="1200" cap="none" spc="0" normalizeH="0" baseline="0" noProof="0" dirty="0" err="1">
                <a:ln>
                  <a:noFill/>
                </a:ln>
                <a:solidFill>
                  <a:srgbClr val="53565A"/>
                </a:solidFill>
                <a:effectLst/>
                <a:uLnTx/>
                <a:uFillTx/>
                <a:latin typeface="Arial"/>
                <a:ea typeface="+mn-ea"/>
                <a:cs typeface="+mn-cs"/>
              </a:rPr>
              <a:t>Reg</a:t>
            </a:r>
            <a:r>
              <a:rPr kumimoji="0" lang="en-US" sz="1000" b="0" i="0" u="none" strike="noStrike" kern="1200" cap="none" spc="0" normalizeH="0" baseline="0" noProof="0" dirty="0">
                <a:ln>
                  <a:noFill/>
                </a:ln>
                <a:solidFill>
                  <a:srgbClr val="53565A"/>
                </a:solidFill>
                <a:effectLst/>
                <a:uLnTx/>
                <a:uFillTx/>
                <a:latin typeface="Arial"/>
                <a:ea typeface="+mn-ea"/>
                <a:cs typeface="+mn-cs"/>
              </a:rPr>
              <a:t> Arthur Williams, Missed nursing care: Errors of omission, Nursing Outlook, Volume 57, Issue 1, January–February 2009, Pages 3-9</a:t>
            </a:r>
          </a:p>
        </p:txBody>
      </p:sp>
      <p:graphicFrame>
        <p:nvGraphicFramePr>
          <p:cNvPr id="7" name="Table 6"/>
          <p:cNvGraphicFramePr>
            <a:graphicFrameLocks noGrp="1"/>
          </p:cNvGraphicFramePr>
          <p:nvPr>
            <p:extLst/>
          </p:nvPr>
        </p:nvGraphicFramePr>
        <p:xfrm>
          <a:off x="1524000" y="3886200"/>
          <a:ext cx="6096000" cy="221996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tblGrid>
              <a:tr h="122535">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1" u="sng" dirty="0">
                          <a:solidFill>
                            <a:schemeClr val="bg1"/>
                          </a:solidFill>
                        </a:rPr>
                        <a:t>Nine</a:t>
                      </a:r>
                      <a:r>
                        <a:rPr lang="en-US" dirty="0">
                          <a:solidFill>
                            <a:schemeClr val="bg1"/>
                          </a:solidFill>
                        </a:rPr>
                        <a:t> documentation elements regularly missed: </a:t>
                      </a:r>
                    </a:p>
                  </a:txBody>
                  <a:tcPr/>
                </a:tc>
                <a:tc hMerge="1">
                  <a:txBody>
                    <a:bodyPr/>
                    <a:lstStyle/>
                    <a:p>
                      <a:endParaRPr lang="en-US" dirty="0"/>
                    </a:p>
                  </a:txBody>
                  <a:tcPr/>
                </a:tc>
                <a:extLst>
                  <a:ext uri="{0D108BD9-81ED-4DB2-BD59-A6C34878D82A}">
                    <a16:rowId xmlns:a16="http://schemas.microsoft.com/office/drawing/2014/main" val="10000"/>
                  </a:ext>
                </a:extLst>
              </a:tr>
              <a:tr h="370840">
                <a:tc>
                  <a:txBody>
                    <a:bodyPr/>
                    <a:lstStyle/>
                    <a:p>
                      <a:pPr lvl="0"/>
                      <a:r>
                        <a:rPr lang="en-US" b="1" dirty="0">
                          <a:solidFill>
                            <a:srgbClr val="FF6600"/>
                          </a:solidFill>
                        </a:rPr>
                        <a:t>Ambulation</a:t>
                      </a:r>
                    </a:p>
                  </a:txBody>
                  <a:tcPr/>
                </a:tc>
                <a:tc>
                  <a:txBody>
                    <a:bodyPr/>
                    <a:lstStyle/>
                    <a:p>
                      <a:pPr lvl="0"/>
                      <a:r>
                        <a:rPr lang="en-US" b="1" dirty="0">
                          <a:solidFill>
                            <a:srgbClr val="FF6600"/>
                          </a:solidFill>
                        </a:rPr>
                        <a:t>Emotional</a:t>
                      </a:r>
                      <a:r>
                        <a:rPr lang="en-US" b="1" baseline="0" dirty="0">
                          <a:solidFill>
                            <a:srgbClr val="FF6600"/>
                          </a:solidFill>
                        </a:rPr>
                        <a:t> Support</a:t>
                      </a:r>
                      <a:endParaRPr lang="en-US" b="1" dirty="0">
                        <a:solidFill>
                          <a:srgbClr val="FF6600"/>
                        </a:solidFill>
                      </a:endParaRPr>
                    </a:p>
                  </a:txBody>
                  <a:tcPr/>
                </a:tc>
                <a:extLst>
                  <a:ext uri="{0D108BD9-81ED-4DB2-BD59-A6C34878D82A}">
                    <a16:rowId xmlns:a16="http://schemas.microsoft.com/office/drawing/2014/main" val="10001"/>
                  </a:ext>
                </a:extLst>
              </a:tr>
              <a:tr h="370840">
                <a:tc>
                  <a:txBody>
                    <a:bodyPr/>
                    <a:lstStyle/>
                    <a:p>
                      <a:pPr lvl="0"/>
                      <a:r>
                        <a:rPr lang="en-US" b="1" dirty="0">
                          <a:solidFill>
                            <a:srgbClr val="FF6600"/>
                          </a:solidFill>
                        </a:rPr>
                        <a:t>Turning</a:t>
                      </a:r>
                    </a:p>
                  </a:txBody>
                  <a:tcPr/>
                </a:tc>
                <a:tc>
                  <a:txBody>
                    <a:bodyPr/>
                    <a:lstStyle/>
                    <a:p>
                      <a:pPr lvl="0"/>
                      <a:r>
                        <a:rPr lang="en-US" dirty="0">
                          <a:solidFill>
                            <a:schemeClr val="tx2"/>
                          </a:solidFill>
                        </a:rPr>
                        <a:t>Hygiene</a:t>
                      </a:r>
                    </a:p>
                  </a:txBody>
                  <a:tcPr/>
                </a:tc>
                <a:extLst>
                  <a:ext uri="{0D108BD9-81ED-4DB2-BD59-A6C34878D82A}">
                    <a16:rowId xmlns:a16="http://schemas.microsoft.com/office/drawing/2014/main" val="10002"/>
                  </a:ext>
                </a:extLst>
              </a:tr>
              <a:tr h="370840">
                <a:tc>
                  <a:txBody>
                    <a:bodyPr/>
                    <a:lstStyle/>
                    <a:p>
                      <a:pPr lvl="0"/>
                      <a:r>
                        <a:rPr lang="en-US" dirty="0">
                          <a:solidFill>
                            <a:schemeClr val="tx2"/>
                          </a:solidFill>
                        </a:rPr>
                        <a:t>Delayed or missed feedings</a:t>
                      </a:r>
                    </a:p>
                  </a:txBody>
                  <a:tcPr/>
                </a:tc>
                <a:tc>
                  <a:txBody>
                    <a:bodyPr/>
                    <a:lstStyle/>
                    <a:p>
                      <a:pPr lvl="0"/>
                      <a:r>
                        <a:rPr lang="en-US" dirty="0">
                          <a:solidFill>
                            <a:schemeClr val="tx2"/>
                          </a:solidFill>
                        </a:rPr>
                        <a:t>Intake &amp; Output</a:t>
                      </a:r>
                    </a:p>
                  </a:txBody>
                  <a:tcPr/>
                </a:tc>
                <a:extLst>
                  <a:ext uri="{0D108BD9-81ED-4DB2-BD59-A6C34878D82A}">
                    <a16:rowId xmlns:a16="http://schemas.microsoft.com/office/drawing/2014/main" val="10003"/>
                  </a:ext>
                </a:extLst>
              </a:tr>
              <a:tr h="370840">
                <a:tc>
                  <a:txBody>
                    <a:bodyPr/>
                    <a:lstStyle/>
                    <a:p>
                      <a:pPr lvl="0"/>
                      <a:r>
                        <a:rPr lang="en-US" b="1" dirty="0">
                          <a:solidFill>
                            <a:srgbClr val="FF6600"/>
                          </a:solidFill>
                        </a:rPr>
                        <a:t>Patient</a:t>
                      </a:r>
                      <a:r>
                        <a:rPr lang="en-US" b="1" baseline="0" dirty="0">
                          <a:solidFill>
                            <a:srgbClr val="FF6600"/>
                          </a:solidFill>
                        </a:rPr>
                        <a:t> Teaching</a:t>
                      </a:r>
                      <a:endParaRPr lang="en-US" b="1" dirty="0">
                        <a:solidFill>
                          <a:srgbClr val="FF6600"/>
                        </a:solidFill>
                      </a:endParaRPr>
                    </a:p>
                  </a:txBody>
                  <a:tcPr/>
                </a:tc>
                <a:tc>
                  <a:txBody>
                    <a:bodyPr/>
                    <a:lstStyle/>
                    <a:p>
                      <a:pPr lvl="0"/>
                      <a:r>
                        <a:rPr lang="en-US" b="1" dirty="0">
                          <a:solidFill>
                            <a:srgbClr val="FF6600"/>
                          </a:solidFill>
                        </a:rPr>
                        <a:t>Surveillance</a:t>
                      </a:r>
                    </a:p>
                  </a:txBody>
                  <a:tcPr/>
                </a:tc>
                <a:extLst>
                  <a:ext uri="{0D108BD9-81ED-4DB2-BD59-A6C34878D82A}">
                    <a16:rowId xmlns:a16="http://schemas.microsoft.com/office/drawing/2014/main" val="10004"/>
                  </a:ext>
                </a:extLst>
              </a:tr>
              <a:tr h="370840">
                <a:tc>
                  <a:txBody>
                    <a:bodyPr/>
                    <a:lstStyle/>
                    <a:p>
                      <a:pPr lvl="0"/>
                      <a:r>
                        <a:rPr lang="en-US" b="1" dirty="0">
                          <a:solidFill>
                            <a:srgbClr val="FF6600"/>
                          </a:solidFill>
                        </a:rPr>
                        <a:t>Discharge</a:t>
                      </a:r>
                      <a:r>
                        <a:rPr lang="en-US" b="1" baseline="0" dirty="0">
                          <a:solidFill>
                            <a:srgbClr val="FF6600"/>
                          </a:solidFill>
                        </a:rPr>
                        <a:t> Planning</a:t>
                      </a:r>
                      <a:endParaRPr lang="en-US" b="1" dirty="0">
                        <a:solidFill>
                          <a:srgbClr val="FF6600"/>
                        </a:solidFill>
                      </a:endParaRPr>
                    </a:p>
                  </a:txBody>
                  <a:tcPr/>
                </a:tc>
                <a:tc>
                  <a:txBody>
                    <a:bodyPr/>
                    <a:lstStyle/>
                    <a:p>
                      <a:pPr lvl="0"/>
                      <a:endParaRPr lang="en-US" dirty="0">
                        <a:solidFill>
                          <a:schemeClr val="tx2"/>
                        </a:solidFill>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4121745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bellevuemed.com/cmsimages/Variability2.jpg"/>
          <p:cNvPicPr>
            <a:picLocks noChangeAspect="1" noChangeArrowheads="1"/>
          </p:cNvPicPr>
          <p:nvPr/>
        </p:nvPicPr>
        <p:blipFill rotWithShape="1">
          <a:blip r:embed="rId3">
            <a:extLst>
              <a:ext uri="{28A0092B-C50C-407E-A947-70E740481C1C}">
                <a14:useLocalDpi xmlns:a14="http://schemas.microsoft.com/office/drawing/2010/main"/>
              </a:ext>
            </a:extLst>
          </a:blip>
          <a:srcRect l="3499" t="21435" b="16118"/>
          <a:stretch/>
        </p:blipFill>
        <p:spPr bwMode="auto">
          <a:xfrm>
            <a:off x="400367" y="1447800"/>
            <a:ext cx="8343266" cy="4038600"/>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 name="Title 2">
            <a:extLst>
              <a:ext uri="{FF2B5EF4-FFF2-40B4-BE49-F238E27FC236}">
                <a16:creationId xmlns:a16="http://schemas.microsoft.com/office/drawing/2014/main" id="{9683082B-CD1A-41B5-90A0-1B2F0EA1037D}"/>
              </a:ext>
            </a:extLst>
          </p:cNvPr>
          <p:cNvSpPr txBox="1">
            <a:spLocks/>
          </p:cNvSpPr>
          <p:nvPr/>
        </p:nvSpPr>
        <p:spPr>
          <a:xfrm>
            <a:off x="457199" y="705204"/>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7398"/>
                </a:solidFill>
                <a:effectLst/>
                <a:uLnTx/>
                <a:uFillTx/>
                <a:latin typeface="Arial Bold" panose="020B0704020202020204" pitchFamily="34" charset="0"/>
                <a:ea typeface="+mj-ea"/>
                <a:cs typeface="Arial Bold" panose="020B0704020202020204" pitchFamily="34" charset="0"/>
              </a:rPr>
              <a:t>Is all variability bad?</a:t>
            </a:r>
            <a:endParaRPr kumimoji="0" lang="en-US" sz="2400" b="1" i="0" u="none" strike="noStrike" kern="1200" cap="none" spc="0" normalizeH="0" baseline="0" noProof="0" dirty="0">
              <a:ln>
                <a:noFill/>
              </a:ln>
              <a:solidFill>
                <a:srgbClr val="0070C0"/>
              </a:solidFill>
              <a:effectLst/>
              <a:uLnTx/>
              <a:uFillTx/>
              <a:latin typeface="Arial Bold" panose="020B0704020202020204" pitchFamily="34" charset="0"/>
              <a:ea typeface="+mj-ea"/>
              <a:cs typeface="Arial Bold" panose="020B0704020202020204" pitchFamily="34" charset="0"/>
            </a:endParaRPr>
          </a:p>
        </p:txBody>
      </p:sp>
      <p:sp>
        <p:nvSpPr>
          <p:cNvPr id="8" name="Title 2">
            <a:extLst>
              <a:ext uri="{FF2B5EF4-FFF2-40B4-BE49-F238E27FC236}">
                <a16:creationId xmlns:a16="http://schemas.microsoft.com/office/drawing/2014/main" id="{1EAC9591-551D-448C-A67B-548F8A2E1002}"/>
              </a:ext>
            </a:extLst>
          </p:cNvPr>
          <p:cNvSpPr txBox="1">
            <a:spLocks/>
          </p:cNvSpPr>
          <p:nvPr/>
        </p:nvSpPr>
        <p:spPr>
          <a:xfrm>
            <a:off x="400367" y="5820290"/>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6600"/>
                </a:solidFill>
                <a:effectLst/>
                <a:uLnTx/>
                <a:uFillTx/>
                <a:latin typeface="Arial Bold" panose="020B0704020202020204" pitchFamily="34" charset="0"/>
                <a:ea typeface="+mj-ea"/>
                <a:cs typeface="Arial Bold" panose="020B0704020202020204" pitchFamily="34" charset="0"/>
              </a:rPr>
              <a:t>Acceptable variability =  </a:t>
            </a:r>
            <a:r>
              <a:rPr kumimoji="0" lang="en-US" sz="2400" b="1" i="0" u="none" strike="noStrike" kern="1200" cap="none" spc="0" normalizeH="0" baseline="0" noProof="0" dirty="0" err="1">
                <a:ln>
                  <a:noFill/>
                </a:ln>
                <a:solidFill>
                  <a:srgbClr val="FF6600"/>
                </a:solidFill>
                <a:effectLst/>
                <a:uLnTx/>
                <a:uFillTx/>
                <a:latin typeface="Arial Bold" panose="020B0704020202020204" pitchFamily="34" charset="0"/>
                <a:ea typeface="+mj-ea"/>
                <a:cs typeface="Arial Bold" panose="020B0704020202020204" pitchFamily="34" charset="0"/>
              </a:rPr>
              <a:t>Personalised</a:t>
            </a:r>
            <a:r>
              <a:rPr kumimoji="0" lang="en-US" sz="2400" b="1" i="0" u="none" strike="noStrike" kern="1200" cap="none" spc="0" normalizeH="0" baseline="0" noProof="0" dirty="0">
                <a:ln>
                  <a:noFill/>
                </a:ln>
                <a:solidFill>
                  <a:srgbClr val="FF6600"/>
                </a:solidFill>
                <a:effectLst/>
                <a:uLnTx/>
                <a:uFillTx/>
                <a:latin typeface="Arial Bold" panose="020B0704020202020204" pitchFamily="34" charset="0"/>
                <a:ea typeface="+mj-ea"/>
                <a:cs typeface="Arial Bold" panose="020B0704020202020204" pitchFamily="34" charset="0"/>
              </a:rPr>
              <a:t> care. </a:t>
            </a:r>
          </a:p>
        </p:txBody>
      </p:sp>
    </p:spTree>
    <p:extLst>
      <p:ext uri="{BB962C8B-B14F-4D97-AF65-F5344CB8AC3E}">
        <p14:creationId xmlns:p14="http://schemas.microsoft.com/office/powerpoint/2010/main" val="1305301774"/>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846394" y="653643"/>
            <a:ext cx="5415190" cy="5049187"/>
          </a:xfrm>
          <a:prstGeom prst="rect">
            <a:avLst/>
          </a:prstGeom>
          <a:effectLst>
            <a:softEdge rad="63500"/>
          </a:effectLst>
        </p:spPr>
      </p:pic>
      <p:sp>
        <p:nvSpPr>
          <p:cNvPr id="8" name="TextBox 7"/>
          <p:cNvSpPr txBox="1"/>
          <p:nvPr/>
        </p:nvSpPr>
        <p:spPr>
          <a:xfrm>
            <a:off x="152665" y="5746372"/>
            <a:ext cx="8802647" cy="107721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FF8200"/>
                </a:solidFill>
                <a:effectLst/>
                <a:uLnTx/>
                <a:uFillTx/>
                <a:latin typeface="Calibri" panose="020F0502020204030204" pitchFamily="34" charset="0"/>
                <a:ea typeface="+mn-ea"/>
                <a:cs typeface="Calibri" panose="020F0502020204030204" pitchFamily="34" charset="0"/>
              </a:rPr>
              <a:t>Two</a:t>
            </a:r>
            <a:r>
              <a:rPr kumimoji="0" lang="en-GB" sz="3200" b="0" i="0" u="none" strike="noStrike" kern="120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rPr>
              <a:t> citations are added to MEDLIN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FF8200"/>
                </a:solidFill>
                <a:effectLst/>
                <a:uLnTx/>
                <a:uFillTx/>
                <a:latin typeface="Calibri" panose="020F0502020204030204" pitchFamily="34" charset="0"/>
                <a:ea typeface="+mn-ea"/>
                <a:cs typeface="Calibri" panose="020F0502020204030204" pitchFamily="34" charset="0"/>
              </a:rPr>
              <a:t>every minute!</a:t>
            </a:r>
            <a:endParaRPr kumimoji="0" lang="en-GB" sz="3200" b="0" i="0" u="none" strike="noStrike" kern="1200" cap="none" spc="0" normalizeH="0" baseline="0" noProof="0" dirty="0">
              <a:ln>
                <a:noFill/>
              </a:ln>
              <a:solidFill>
                <a:srgbClr val="53565A"/>
              </a:solidFill>
              <a:effectLst/>
              <a:uLnTx/>
              <a:uFillTx/>
              <a:latin typeface="Calibri" panose="020F0502020204030204" pitchFamily="34" charset="0"/>
              <a:ea typeface="+mn-ea"/>
              <a:cs typeface="Calibri" panose="020F0502020204030204" pitchFamily="34" charset="0"/>
            </a:endParaRPr>
          </a:p>
        </p:txBody>
      </p:sp>
      <p:sp>
        <p:nvSpPr>
          <p:cNvPr id="10" name="TextBox 9"/>
          <p:cNvSpPr txBox="1"/>
          <p:nvPr/>
        </p:nvSpPr>
        <p:spPr>
          <a:xfrm>
            <a:off x="1366506" y="3281762"/>
            <a:ext cx="6644576" cy="830997"/>
          </a:xfrm>
          <a:prstGeom prst="rect">
            <a:avLst/>
          </a:prstGeom>
          <a:solidFill>
            <a:srgbClr val="FF8200"/>
          </a:solidFill>
          <a:ln>
            <a:solidFill>
              <a:srgbClr val="FF8200"/>
            </a:solid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KNOWLEDGE VARIABILITY</a:t>
            </a:r>
          </a:p>
        </p:txBody>
      </p:sp>
      <p:sp>
        <p:nvSpPr>
          <p:cNvPr id="2" name="Rectangle 1"/>
          <p:cNvSpPr/>
          <p:nvPr/>
        </p:nvSpPr>
        <p:spPr>
          <a:xfrm>
            <a:off x="225647" y="839363"/>
            <a:ext cx="874885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3565A"/>
                </a:solidFill>
                <a:effectLst/>
                <a:uLnTx/>
                <a:uFillTx/>
                <a:latin typeface="Calibri"/>
                <a:ea typeface="+mn-ea"/>
                <a:cs typeface="+mn-cs"/>
              </a:rPr>
              <a:t>“</a:t>
            </a:r>
            <a:r>
              <a:rPr kumimoji="0" lang="en-US" sz="2400" b="1" i="0" u="none" strike="noStrike" kern="1200" cap="none" spc="0" normalizeH="0" baseline="0" noProof="0" dirty="0">
                <a:ln>
                  <a:noFill/>
                </a:ln>
                <a:solidFill>
                  <a:srgbClr val="FF8200"/>
                </a:solidFill>
                <a:effectLst/>
                <a:uLnTx/>
                <a:uFillTx/>
                <a:latin typeface="Calibri"/>
                <a:ea typeface="+mn-ea"/>
                <a:cs typeface="+mn-cs"/>
              </a:rPr>
              <a:t>lack of knowledge </a:t>
            </a:r>
            <a:r>
              <a:rPr kumimoji="0" lang="en-US" sz="2400" b="0" i="0" u="none" strike="noStrike" kern="1200" cap="none" spc="0" normalizeH="0" baseline="0" noProof="0" dirty="0">
                <a:ln>
                  <a:noFill/>
                </a:ln>
                <a:solidFill>
                  <a:srgbClr val="53565A"/>
                </a:solidFill>
                <a:effectLst/>
                <a:uLnTx/>
                <a:uFillTx/>
                <a:latin typeface="Calibri"/>
                <a:ea typeface="+mn-ea"/>
                <a:cs typeface="+mn-cs"/>
              </a:rPr>
              <a:t>is the factor that most contributes to the occurrence of </a:t>
            </a:r>
            <a:r>
              <a:rPr kumimoji="0" lang="en-US" sz="2400" b="1" i="0" u="none" strike="noStrike" kern="1200" cap="none" spc="0" normalizeH="0" baseline="0" noProof="0" dirty="0">
                <a:ln>
                  <a:noFill/>
                </a:ln>
                <a:solidFill>
                  <a:srgbClr val="FF8200"/>
                </a:solidFill>
                <a:effectLst/>
                <a:uLnTx/>
                <a:uFillTx/>
                <a:latin typeface="Calibri"/>
                <a:ea typeface="+mn-ea"/>
                <a:cs typeface="+mn-cs"/>
              </a:rPr>
              <a:t>adverse events </a:t>
            </a:r>
            <a:r>
              <a:rPr kumimoji="0" lang="en-US" sz="2400" b="0" i="0" u="none" strike="noStrike" kern="1200" cap="none" spc="0" normalizeH="0" baseline="0" noProof="0" dirty="0">
                <a:ln>
                  <a:noFill/>
                </a:ln>
                <a:solidFill>
                  <a:srgbClr val="53565A"/>
                </a:solidFill>
                <a:effectLst/>
                <a:uLnTx/>
                <a:uFillTx/>
                <a:latin typeface="Calibri"/>
                <a:ea typeface="+mn-ea"/>
                <a:cs typeface="+mn-cs"/>
              </a:rPr>
              <a:t>caused by </a:t>
            </a:r>
            <a:r>
              <a:rPr kumimoji="0" lang="en-US" sz="2400" b="1" i="0" u="none" strike="noStrike" kern="1200" cap="none" spc="0" normalizeH="0" baseline="0" noProof="0" dirty="0">
                <a:ln>
                  <a:noFill/>
                </a:ln>
                <a:solidFill>
                  <a:srgbClr val="FF8200"/>
                </a:solidFill>
                <a:effectLst/>
                <a:uLnTx/>
                <a:uFillTx/>
                <a:latin typeface="Calibri"/>
                <a:ea typeface="+mn-ea"/>
                <a:cs typeface="+mn-cs"/>
              </a:rPr>
              <a:t>misdiagnosis</a:t>
            </a:r>
            <a:r>
              <a:rPr kumimoji="0" lang="en-US" sz="2400" b="0" i="0" u="none" strike="noStrike" kern="1200" cap="none" spc="0" normalizeH="0" baseline="0" noProof="0" dirty="0">
                <a:ln>
                  <a:noFill/>
                </a:ln>
                <a:solidFill>
                  <a:srgbClr val="53565A"/>
                </a:solidFill>
                <a:effectLst/>
                <a:uLnTx/>
                <a:uFillTx/>
                <a:latin typeface="Calibri"/>
                <a:ea typeface="+mn-ea"/>
                <a:cs typeface="+mn-cs"/>
              </a:rPr>
              <a:t>, more than in any other area regarding patient safety.”</a:t>
            </a:r>
          </a:p>
        </p:txBody>
      </p:sp>
      <p:sp>
        <p:nvSpPr>
          <p:cNvPr id="15" name="Rectangle 14"/>
          <p:cNvSpPr/>
          <p:nvPr/>
        </p:nvSpPr>
        <p:spPr>
          <a:xfrm>
            <a:off x="5799131" y="2081172"/>
            <a:ext cx="3156182"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0" cap="none" spc="0" normalizeH="0" baseline="0" noProof="0" dirty="0">
                <a:ln>
                  <a:noFill/>
                </a:ln>
                <a:solidFill>
                  <a:srgbClr val="53565A"/>
                </a:solidFill>
                <a:effectLst/>
                <a:uLnTx/>
                <a:uFillTx/>
                <a:latin typeface="Arial"/>
                <a:ea typeface="+mn-ea"/>
                <a:cs typeface="+mn-cs"/>
              </a:rPr>
              <a:t>REV ASSOC MED BRAS. 2013;59(5):421-428</a:t>
            </a:r>
            <a:endParaRPr kumimoji="0" lang="en-US" sz="1050" b="0" i="0" u="none" strike="noStrike" kern="0" cap="none" spc="0" normalizeH="0" baseline="0" noProof="0" dirty="0">
              <a:ln>
                <a:noFill/>
              </a:ln>
              <a:solidFill>
                <a:srgbClr val="53565A"/>
              </a:solidFill>
              <a:effectLst/>
              <a:uLnTx/>
              <a:uFillTx/>
              <a:latin typeface="Arial"/>
              <a:ea typeface="+mn-ea"/>
              <a:cs typeface="+mn-cs"/>
            </a:endParaRPr>
          </a:p>
        </p:txBody>
      </p:sp>
    </p:spTree>
    <p:extLst>
      <p:ext uri="{BB962C8B-B14F-4D97-AF65-F5344CB8AC3E}">
        <p14:creationId xmlns:p14="http://schemas.microsoft.com/office/powerpoint/2010/main" val="862565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1000"/>
                                        <p:tgtEl>
                                          <p:spTgt spid="2"/>
                                        </p:tgtEl>
                                      </p:cBhvr>
                                    </p:animEffect>
                                  </p:childTnLst>
                                </p:cTn>
                              </p:par>
                              <p:par>
                                <p:cTn id="18" presetID="10" presetClass="exit" presetSubtype="0" fill="hold" nodeType="withEffect">
                                  <p:stCondLst>
                                    <p:cond delay="0"/>
                                  </p:stCondLst>
                                  <p:childTnLst>
                                    <p:animEffect transition="out" filter="fade">
                                      <p:cBhvr>
                                        <p:cTn id="19" dur="500"/>
                                        <p:tgtEl>
                                          <p:spTgt spid="3"/>
                                        </p:tgtEl>
                                      </p:cBhvr>
                                    </p:animEffect>
                                    <p:set>
                                      <p:cBhvr>
                                        <p:cTn id="20" dur="1" fill="hold">
                                          <p:stCondLst>
                                            <p:cond delay="499"/>
                                          </p:stCondLst>
                                        </p:cTn>
                                        <p:tgtEl>
                                          <p:spTgt spid="3"/>
                                        </p:tgtEl>
                                        <p:attrNameLst>
                                          <p:attrName>style.visibility</p:attrName>
                                        </p:attrNameLst>
                                      </p:cBhvr>
                                      <p:to>
                                        <p:strVal val="hidden"/>
                                      </p:to>
                                    </p:set>
                                  </p:childTnLst>
                                </p:cTn>
                              </p:par>
                              <p:par>
                                <p:cTn id="21" presetID="10" presetClass="exit" presetSubtype="0" fill="hold" grpId="1" nodeType="withEffect">
                                  <p:stCondLst>
                                    <p:cond delay="0"/>
                                  </p:stCondLst>
                                  <p:childTnLst>
                                    <p:animEffect transition="out" filter="fade">
                                      <p:cBhvr>
                                        <p:cTn id="22" dur="500"/>
                                        <p:tgtEl>
                                          <p:spTgt spid="8"/>
                                        </p:tgtEl>
                                      </p:cBhvr>
                                    </p:animEffect>
                                    <p:set>
                                      <p:cBhvr>
                                        <p:cTn id="23" dur="1" fill="hold">
                                          <p:stCondLst>
                                            <p:cond delay="499"/>
                                          </p:stCondLst>
                                        </p:cTn>
                                        <p:tgtEl>
                                          <p:spTgt spid="8"/>
                                        </p:tgtEl>
                                        <p:attrNameLst>
                                          <p:attrName>style.visibility</p:attrName>
                                        </p:attrNameLst>
                                      </p:cBhvr>
                                      <p:to>
                                        <p:strVal val="hidden"/>
                                      </p:to>
                                    </p:se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0" grpId="0" animBg="1"/>
      <p:bldP spid="2" grpId="0"/>
      <p:bldP spid="1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6"/>
          </p:nvPr>
        </p:nvSpPr>
        <p:spPr/>
        <p:txBody>
          <a:bodyPr/>
          <a:lstStyle/>
          <a:p>
            <a:endParaRPr lang="en-US"/>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0188" y="1581150"/>
            <a:ext cx="6143625" cy="3695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a:extLst>
              <a:ext uri="{FF2B5EF4-FFF2-40B4-BE49-F238E27FC236}">
                <a16:creationId xmlns:a16="http://schemas.microsoft.com/office/drawing/2014/main" id="{769DF82F-5D49-4597-A37D-797DF288CB08}"/>
              </a:ext>
            </a:extLst>
          </p:cNvPr>
          <p:cNvSpPr/>
          <p:nvPr/>
        </p:nvSpPr>
        <p:spPr>
          <a:xfrm>
            <a:off x="7280910" y="6320790"/>
            <a:ext cx="1725930" cy="53721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62489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http://cdn.business2community.com/wp-content/uploads/2012/11/information-300x300.jpg"/>
          <p:cNvPicPr>
            <a:picLocks noChangeAspect="1" noChangeArrowheads="1"/>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a:fillRect/>
          </a:stretch>
        </p:blipFill>
        <p:spPr bwMode="auto">
          <a:xfrm>
            <a:off x="304800" y="844679"/>
            <a:ext cx="3733800" cy="37338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038600" y="1073279"/>
            <a:ext cx="3200400"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1" u="none" strike="noStrike" kern="1200" cap="small" spc="0" normalizeH="0" baseline="0" noProof="0" dirty="0">
                <a:ln>
                  <a:noFill/>
                </a:ln>
                <a:solidFill>
                  <a:srgbClr val="FF8200"/>
                </a:solidFill>
                <a:effectLst/>
                <a:uLnTx/>
                <a:uFillTx/>
                <a:latin typeface="Calibri" panose="020F0502020204030204" pitchFamily="34" charset="0"/>
                <a:ea typeface="+mn-ea"/>
                <a:cs typeface="Calibri" panose="020F0502020204030204" pitchFamily="34" charset="0"/>
              </a:rPr>
              <a:t>Current</a:t>
            </a:r>
          </a:p>
        </p:txBody>
      </p:sp>
      <p:sp>
        <p:nvSpPr>
          <p:cNvPr id="7" name="TextBox 6"/>
          <p:cNvSpPr txBox="1"/>
          <p:nvPr/>
        </p:nvSpPr>
        <p:spPr>
          <a:xfrm>
            <a:off x="4572000" y="2121029"/>
            <a:ext cx="3200400"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3200" b="1" i="1" cap="small" dirty="0">
                <a:solidFill>
                  <a:srgbClr val="FF8200"/>
                </a:solidFill>
                <a:latin typeface="Calibri" panose="020F0502020204030204" pitchFamily="34" charset="0"/>
                <a:cs typeface="Calibri" panose="020F0502020204030204" pitchFamily="34" charset="0"/>
              </a:rPr>
              <a:t>Credible</a:t>
            </a:r>
            <a:endParaRPr kumimoji="0" lang="en-US" sz="3200" b="1" i="1" u="none" strike="noStrike" kern="1200" cap="small" spc="0" normalizeH="0" baseline="0" noProof="0" dirty="0">
              <a:ln>
                <a:noFill/>
              </a:ln>
              <a:solidFill>
                <a:srgbClr val="FF8200"/>
              </a:solidFill>
              <a:effectLst/>
              <a:uLnTx/>
              <a:uFillTx/>
              <a:latin typeface="Calibri" panose="020F0502020204030204" pitchFamily="34" charset="0"/>
              <a:ea typeface="+mn-ea"/>
              <a:cs typeface="Calibri" panose="020F0502020204030204" pitchFamily="34" charset="0"/>
            </a:endParaRPr>
          </a:p>
        </p:txBody>
      </p:sp>
      <p:sp>
        <p:nvSpPr>
          <p:cNvPr id="8" name="TextBox 7"/>
          <p:cNvSpPr txBox="1"/>
          <p:nvPr/>
        </p:nvSpPr>
        <p:spPr>
          <a:xfrm>
            <a:off x="4038600" y="3130679"/>
            <a:ext cx="5334000"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3200" b="1" i="1" u="none" strike="noStrike" kern="1200" cap="small" spc="0" normalizeH="0" baseline="0" noProof="0" dirty="0" err="1">
                <a:ln>
                  <a:noFill/>
                </a:ln>
                <a:solidFill>
                  <a:srgbClr val="FF8200"/>
                </a:solidFill>
                <a:effectLst/>
                <a:uLnTx/>
                <a:uFillTx/>
                <a:latin typeface="Calibri" panose="020F0502020204030204" pitchFamily="34" charset="0"/>
                <a:ea typeface="+mn-ea"/>
                <a:cs typeface="Calibri" panose="020F0502020204030204" pitchFamily="34" charset="0"/>
              </a:rPr>
              <a:t>Evidence</a:t>
            </a:r>
            <a:r>
              <a:rPr kumimoji="0" lang="es-ES" sz="3200" b="1" i="1" u="none" strike="noStrike" kern="1200" cap="small" spc="0" normalizeH="0" baseline="0" noProof="0" dirty="0">
                <a:ln>
                  <a:noFill/>
                </a:ln>
                <a:solidFill>
                  <a:srgbClr val="FF8200"/>
                </a:solidFill>
                <a:effectLst/>
                <a:uLnTx/>
                <a:uFillTx/>
                <a:latin typeface="Calibri" panose="020F0502020204030204" pitchFamily="34" charset="0"/>
                <a:ea typeface="+mn-ea"/>
                <a:cs typeface="Calibri" panose="020F0502020204030204" pitchFamily="34" charset="0"/>
              </a:rPr>
              <a:t> </a:t>
            </a:r>
            <a:r>
              <a:rPr kumimoji="0" lang="es-ES" sz="3200" b="1" i="1" u="none" strike="noStrike" kern="1200" cap="small" spc="0" normalizeH="0" baseline="0" noProof="0" dirty="0" err="1">
                <a:ln>
                  <a:noFill/>
                </a:ln>
                <a:solidFill>
                  <a:srgbClr val="FF8200"/>
                </a:solidFill>
                <a:effectLst/>
                <a:uLnTx/>
                <a:uFillTx/>
                <a:latin typeface="Calibri" panose="020F0502020204030204" pitchFamily="34" charset="0"/>
                <a:ea typeface="+mn-ea"/>
                <a:cs typeface="Calibri" panose="020F0502020204030204" pitchFamily="34" charset="0"/>
              </a:rPr>
              <a:t>Based</a:t>
            </a:r>
            <a:r>
              <a:rPr kumimoji="0" lang="es-ES" sz="3200" b="1" i="1" u="none" strike="noStrike" kern="1200" cap="small" spc="0" normalizeH="0" baseline="0" noProof="0" dirty="0">
                <a:ln>
                  <a:noFill/>
                </a:ln>
                <a:solidFill>
                  <a:srgbClr val="FF8200"/>
                </a:solidFill>
                <a:effectLst/>
                <a:uLnTx/>
                <a:uFillTx/>
                <a:latin typeface="Calibri" panose="020F0502020204030204" pitchFamily="34" charset="0"/>
                <a:ea typeface="+mn-ea"/>
                <a:cs typeface="Calibri" panose="020F0502020204030204" pitchFamily="34" charset="0"/>
              </a:rPr>
              <a:t> </a:t>
            </a:r>
            <a:r>
              <a:rPr kumimoji="0" lang="es-ES" sz="3200" b="1" i="1" u="none" strike="noStrike" kern="1200" cap="small" spc="0" normalizeH="0" baseline="0" noProof="0" dirty="0" err="1">
                <a:ln>
                  <a:noFill/>
                </a:ln>
                <a:solidFill>
                  <a:srgbClr val="FF8200"/>
                </a:solidFill>
                <a:effectLst/>
                <a:uLnTx/>
                <a:uFillTx/>
                <a:latin typeface="Calibri" panose="020F0502020204030204" pitchFamily="34" charset="0"/>
                <a:ea typeface="+mn-ea"/>
                <a:cs typeface="Calibri" panose="020F0502020204030204" pitchFamily="34" charset="0"/>
              </a:rPr>
              <a:t>Practice</a:t>
            </a:r>
            <a:endParaRPr kumimoji="0" lang="en-US" sz="3200" b="1" i="1" u="none" strike="noStrike" kern="1200" cap="small" spc="0" normalizeH="0" baseline="0" noProof="0" dirty="0">
              <a:ln>
                <a:noFill/>
              </a:ln>
              <a:solidFill>
                <a:srgbClr val="FF8200"/>
              </a:solidFill>
              <a:effectLst/>
              <a:uLnTx/>
              <a:uFillTx/>
              <a:latin typeface="Calibri" panose="020F0502020204030204" pitchFamily="34" charset="0"/>
              <a:ea typeface="+mn-ea"/>
              <a:cs typeface="Calibri" panose="020F0502020204030204" pitchFamily="34" charset="0"/>
            </a:endParaRPr>
          </a:p>
        </p:txBody>
      </p:sp>
      <p:sp>
        <p:nvSpPr>
          <p:cNvPr id="9" name="Rectangle 8"/>
          <p:cNvSpPr/>
          <p:nvPr/>
        </p:nvSpPr>
        <p:spPr>
          <a:xfrm>
            <a:off x="0" y="4937094"/>
            <a:ext cx="8717280" cy="1692305"/>
          </a:xfrm>
          <a:prstGeom prst="rect">
            <a:avLst/>
          </a:prstGeom>
          <a:solidFill>
            <a:schemeClr val="accent1"/>
          </a:solidFill>
          <a:ln>
            <a:solidFill>
              <a:schemeClr val="accent1"/>
            </a:solidFill>
          </a:ln>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0" name="TextBox 9"/>
          <p:cNvSpPr txBox="1"/>
          <p:nvPr/>
        </p:nvSpPr>
        <p:spPr>
          <a:xfrm>
            <a:off x="283650" y="5116552"/>
            <a:ext cx="8281230"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000" b="1" i="1" u="none" strike="noStrike" kern="1200" cap="small"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linical Decision Support (CDS): </a:t>
            </a:r>
          </a:p>
        </p:txBody>
      </p:sp>
      <p:sp>
        <p:nvSpPr>
          <p:cNvPr id="3" name="Rectangle 2"/>
          <p:cNvSpPr/>
          <p:nvPr/>
        </p:nvSpPr>
        <p:spPr>
          <a:xfrm>
            <a:off x="4479634" y="2967335"/>
            <a:ext cx="184730" cy="923330"/>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w="0"/>
              <a:solidFill>
                <a:srgbClr val="007398"/>
              </a:solidFill>
              <a:effectLst>
                <a:outerShdw blurRad="38100" dist="25400" dir="5400000" algn="ctr" rotWithShape="0">
                  <a:srgbClr val="6E747A">
                    <a:alpha val="43000"/>
                  </a:srgbClr>
                </a:outerShdw>
              </a:effectLst>
              <a:uLnTx/>
              <a:uFillTx/>
              <a:latin typeface="Arial"/>
              <a:ea typeface="+mn-ea"/>
              <a:cs typeface="+mn-cs"/>
            </a:endParaRPr>
          </a:p>
        </p:txBody>
      </p:sp>
    </p:spTree>
    <p:extLst>
      <p:ext uri="{BB962C8B-B14F-4D97-AF65-F5344CB8AC3E}">
        <p14:creationId xmlns:p14="http://schemas.microsoft.com/office/powerpoint/2010/main" val="119638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4800600" y="2626076"/>
            <a:ext cx="3961389" cy="2326924"/>
          </a:xfrm>
        </p:spPr>
        <p:txBody>
          <a:bodyPr>
            <a:noAutofit/>
          </a:bodyPr>
          <a:lstStyle/>
          <a:p>
            <a:r>
              <a:rPr lang="es-ES" dirty="0" err="1">
                <a:solidFill>
                  <a:srgbClr val="0070C0"/>
                </a:solidFill>
              </a:rPr>
              <a:t>From</a:t>
            </a:r>
            <a:r>
              <a:rPr lang="es-ES" dirty="0">
                <a:solidFill>
                  <a:srgbClr val="0070C0"/>
                </a:solidFill>
              </a:rPr>
              <a:t> </a:t>
            </a:r>
            <a:r>
              <a:rPr lang="es-ES" dirty="0" err="1">
                <a:solidFill>
                  <a:srgbClr val="0070C0"/>
                </a:solidFill>
              </a:rPr>
              <a:t>Theory</a:t>
            </a:r>
            <a:r>
              <a:rPr lang="es-ES" dirty="0">
                <a:solidFill>
                  <a:srgbClr val="0070C0"/>
                </a:solidFill>
              </a:rPr>
              <a:t> </a:t>
            </a:r>
            <a:r>
              <a:rPr lang="es-ES" dirty="0" err="1">
                <a:solidFill>
                  <a:srgbClr val="0070C0"/>
                </a:solidFill>
              </a:rPr>
              <a:t>to</a:t>
            </a:r>
            <a:r>
              <a:rPr lang="es-ES" dirty="0">
                <a:solidFill>
                  <a:srgbClr val="0070C0"/>
                </a:solidFill>
              </a:rPr>
              <a:t> </a:t>
            </a:r>
            <a:r>
              <a:rPr lang="es-ES" dirty="0" err="1">
                <a:solidFill>
                  <a:srgbClr val="0070C0"/>
                </a:solidFill>
              </a:rPr>
              <a:t>Practice</a:t>
            </a:r>
            <a:endParaRPr lang="en-US" b="1" dirty="0">
              <a:solidFill>
                <a:srgbClr val="0070C0"/>
              </a:solidFill>
            </a:endParaRPr>
          </a:p>
        </p:txBody>
      </p:sp>
    </p:spTree>
    <p:extLst>
      <p:ext uri="{BB962C8B-B14F-4D97-AF65-F5344CB8AC3E}">
        <p14:creationId xmlns:p14="http://schemas.microsoft.com/office/powerpoint/2010/main" val="3990721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4868082" y="1274054"/>
            <a:ext cx="3894918" cy="4898146"/>
          </a:xfrm>
        </p:spPr>
        <p:txBody>
          <a:bodyPr>
            <a:normAutofit fontScale="85000" lnSpcReduction="20000"/>
          </a:bodyPr>
          <a:lstStyle/>
          <a:p>
            <a:pPr marL="0" indent="0">
              <a:buNone/>
            </a:pPr>
            <a:endParaRPr lang="en-US" sz="1600" dirty="0">
              <a:solidFill>
                <a:schemeClr val="accent4"/>
              </a:solidFill>
            </a:endParaRPr>
          </a:p>
          <a:p>
            <a:pPr marL="0" indent="0">
              <a:buNone/>
            </a:pPr>
            <a:r>
              <a:rPr lang="en-US" sz="1600" dirty="0">
                <a:solidFill>
                  <a:schemeClr val="accent4"/>
                </a:solidFill>
              </a:rPr>
              <a:t>Clinical Experience:</a:t>
            </a:r>
          </a:p>
          <a:p>
            <a:r>
              <a:rPr lang="en-US" sz="1600" b="0" dirty="0"/>
              <a:t>27 years as a Registered Nurse</a:t>
            </a:r>
          </a:p>
          <a:p>
            <a:r>
              <a:rPr lang="en-US" sz="1600" b="0" dirty="0"/>
              <a:t>Clinical Areas:</a:t>
            </a:r>
          </a:p>
          <a:p>
            <a:pPr lvl="1">
              <a:buFont typeface="Wingdings" panose="05000000000000000000" pitchFamily="2" charset="2"/>
              <a:buChar char="§"/>
            </a:pPr>
            <a:r>
              <a:rPr lang="en-US" sz="1400" dirty="0"/>
              <a:t>Cardio Thoracic ICU</a:t>
            </a:r>
          </a:p>
          <a:p>
            <a:pPr lvl="1">
              <a:buFont typeface="Wingdings" panose="05000000000000000000" pitchFamily="2" charset="2"/>
              <a:buChar char="§"/>
            </a:pPr>
            <a:r>
              <a:rPr lang="en-US" sz="1400" b="0" dirty="0"/>
              <a:t>Emergency Room</a:t>
            </a:r>
            <a:endParaRPr lang="en-US" sz="1400" dirty="0"/>
          </a:p>
          <a:p>
            <a:pPr lvl="1">
              <a:buFont typeface="Wingdings" panose="05000000000000000000" pitchFamily="2" charset="2"/>
              <a:buChar char="§"/>
            </a:pPr>
            <a:r>
              <a:rPr lang="en-US" sz="1400" b="0" dirty="0"/>
              <a:t>Long Term Care</a:t>
            </a:r>
          </a:p>
          <a:p>
            <a:pPr lvl="1">
              <a:buFont typeface="Wingdings" panose="05000000000000000000" pitchFamily="2" charset="2"/>
              <a:buChar char="§"/>
            </a:pPr>
            <a:r>
              <a:rPr lang="en-US" sz="1400" dirty="0"/>
              <a:t>Community Case Management</a:t>
            </a:r>
          </a:p>
          <a:p>
            <a:pPr lvl="1">
              <a:buFont typeface="Wingdings" panose="05000000000000000000" pitchFamily="2" charset="2"/>
              <a:buChar char="§"/>
            </a:pPr>
            <a:r>
              <a:rPr lang="en-US" sz="1400" b="0" dirty="0"/>
              <a:t>Home Care</a:t>
            </a:r>
          </a:p>
          <a:p>
            <a:pPr marL="0" indent="0">
              <a:buNone/>
            </a:pPr>
            <a:r>
              <a:rPr lang="en-US" sz="1600" dirty="0">
                <a:solidFill>
                  <a:schemeClr val="accent4"/>
                </a:solidFill>
              </a:rPr>
              <a:t>Clinical Informatics:</a:t>
            </a:r>
          </a:p>
          <a:p>
            <a:r>
              <a:rPr lang="en-US" sz="1600" b="0" dirty="0"/>
              <a:t>16 year in Informatics</a:t>
            </a:r>
          </a:p>
          <a:p>
            <a:r>
              <a:rPr lang="en-US" sz="1600" b="0" dirty="0"/>
              <a:t>EHR platforms</a:t>
            </a:r>
          </a:p>
          <a:p>
            <a:pPr lvl="1">
              <a:buFont typeface="Wingdings" panose="05000000000000000000" pitchFamily="2" charset="2"/>
              <a:buChar char="§"/>
            </a:pPr>
            <a:r>
              <a:rPr lang="en-US" sz="1400" dirty="0"/>
              <a:t>Epic</a:t>
            </a:r>
          </a:p>
          <a:p>
            <a:pPr lvl="1">
              <a:buFont typeface="Wingdings" panose="05000000000000000000" pitchFamily="2" charset="2"/>
              <a:buChar char="§"/>
            </a:pPr>
            <a:r>
              <a:rPr lang="en-US" sz="1400" b="0" dirty="0" err="1"/>
              <a:t>Allscripts</a:t>
            </a:r>
            <a:r>
              <a:rPr lang="en-US" sz="1400" dirty="0"/>
              <a:t> SCM</a:t>
            </a:r>
          </a:p>
          <a:p>
            <a:pPr lvl="1">
              <a:buFont typeface="Wingdings" panose="05000000000000000000" pitchFamily="2" charset="2"/>
              <a:buChar char="§"/>
            </a:pPr>
            <a:r>
              <a:rPr lang="en-US" sz="1400" b="0" dirty="0"/>
              <a:t>McKesson HED</a:t>
            </a:r>
          </a:p>
          <a:p>
            <a:pPr lvl="1">
              <a:buFont typeface="Wingdings" panose="05000000000000000000" pitchFamily="2" charset="2"/>
              <a:buChar char="§"/>
            </a:pPr>
            <a:r>
              <a:rPr lang="en-US" sz="1400" dirty="0" err="1"/>
              <a:t>Meditech</a:t>
            </a:r>
            <a:endParaRPr lang="en-US" sz="1400" dirty="0"/>
          </a:p>
          <a:p>
            <a:pPr lvl="1">
              <a:buFont typeface="Wingdings" panose="05000000000000000000" pitchFamily="2" charset="2"/>
              <a:buChar char="§"/>
            </a:pPr>
            <a:r>
              <a:rPr lang="en-US" sz="1400" b="0" dirty="0"/>
              <a:t>Cerner</a:t>
            </a:r>
          </a:p>
          <a:p>
            <a:pPr lvl="1">
              <a:buFont typeface="Wingdings" panose="05000000000000000000" pitchFamily="2" charset="2"/>
              <a:buChar char="§"/>
            </a:pPr>
            <a:r>
              <a:rPr lang="en-US" sz="1400" dirty="0"/>
              <a:t>HP</a:t>
            </a:r>
          </a:p>
          <a:p>
            <a:pPr lvl="1">
              <a:buFont typeface="Wingdings" panose="05000000000000000000" pitchFamily="2" charset="2"/>
              <a:buChar char="§"/>
            </a:pPr>
            <a:r>
              <a:rPr lang="en-US" sz="1400" dirty="0" err="1"/>
              <a:t>Infomedika</a:t>
            </a:r>
            <a:endParaRPr lang="en-US" sz="1400" dirty="0"/>
          </a:p>
          <a:p>
            <a:pPr lvl="1">
              <a:buFont typeface="Wingdings" panose="05000000000000000000" pitchFamily="2" charset="2"/>
              <a:buChar char="§"/>
            </a:pPr>
            <a:r>
              <a:rPr lang="en-US" sz="1400" dirty="0"/>
              <a:t>ISH Med</a:t>
            </a:r>
          </a:p>
          <a:p>
            <a:pPr lvl="1">
              <a:buFont typeface="Wingdings" panose="05000000000000000000" pitchFamily="2" charset="2"/>
              <a:buChar char="§"/>
            </a:pPr>
            <a:r>
              <a:rPr lang="en-US" sz="1400" b="0" dirty="0"/>
              <a:t>Self Built</a:t>
            </a:r>
          </a:p>
          <a:p>
            <a:pPr>
              <a:buFont typeface="Wingdings" panose="05000000000000000000" pitchFamily="2" charset="2"/>
              <a:buChar char="§"/>
            </a:pPr>
            <a:r>
              <a:rPr lang="en-US" sz="1600" b="0" dirty="0"/>
              <a:t>12 years with Elsevier</a:t>
            </a:r>
          </a:p>
          <a:p>
            <a:endParaRPr lang="en-US" sz="1600" b="0" dirty="0"/>
          </a:p>
        </p:txBody>
      </p:sp>
      <p:sp>
        <p:nvSpPr>
          <p:cNvPr id="3" name="Title 2"/>
          <p:cNvSpPr>
            <a:spLocks noGrp="1"/>
          </p:cNvSpPr>
          <p:nvPr>
            <p:ph type="title"/>
          </p:nvPr>
        </p:nvSpPr>
        <p:spPr/>
        <p:txBody>
          <a:bodyPr/>
          <a:lstStyle/>
          <a:p>
            <a:r>
              <a:rPr lang="en-US" sz="2800" b="1" dirty="0"/>
              <a:t>Robert Nieves</a:t>
            </a:r>
            <a:r>
              <a:rPr lang="en-US" sz="2800" dirty="0"/>
              <a:t>, </a:t>
            </a:r>
            <a:r>
              <a:rPr lang="en-US" sz="2000" dirty="0"/>
              <a:t>Juris Doctor, MBA, MPA, BSN, RN</a:t>
            </a:r>
            <a:br>
              <a:rPr lang="en-US" dirty="0"/>
            </a:br>
            <a:r>
              <a:rPr lang="en-US" dirty="0"/>
              <a:t>      </a:t>
            </a:r>
            <a:r>
              <a:rPr lang="en-US" b="1" dirty="0">
                <a:solidFill>
                  <a:schemeClr val="accent2">
                    <a:lumMod val="50000"/>
                  </a:schemeClr>
                </a:solidFill>
              </a:rPr>
              <a:t>Vice President Health Informatic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1981200"/>
            <a:ext cx="3580598" cy="27432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a:extLst>
              <a:ext uri="{FF2B5EF4-FFF2-40B4-BE49-F238E27FC236}">
                <a16:creationId xmlns:a16="http://schemas.microsoft.com/office/drawing/2014/main" id="{66C4A250-0B28-42BB-B05F-6483D62E4D42}"/>
              </a:ext>
            </a:extLst>
          </p:cNvPr>
          <p:cNvPicPr>
            <a:picLocks noChangeAspect="1"/>
          </p:cNvPicPr>
          <p:nvPr/>
        </p:nvPicPr>
        <p:blipFill>
          <a:blip r:embed="rId4"/>
          <a:stretch>
            <a:fillRect/>
          </a:stretch>
        </p:blipFill>
        <p:spPr>
          <a:xfrm>
            <a:off x="1066800" y="4955160"/>
            <a:ext cx="458346" cy="302640"/>
          </a:xfrm>
          <a:prstGeom prst="rect">
            <a:avLst/>
          </a:prstGeom>
        </p:spPr>
      </p:pic>
      <p:pic>
        <p:nvPicPr>
          <p:cNvPr id="6" name="Picture 5">
            <a:extLst>
              <a:ext uri="{FF2B5EF4-FFF2-40B4-BE49-F238E27FC236}">
                <a16:creationId xmlns:a16="http://schemas.microsoft.com/office/drawing/2014/main" id="{A7CF2283-6D49-457B-A3BA-991EB1215ABD}"/>
              </a:ext>
            </a:extLst>
          </p:cNvPr>
          <p:cNvPicPr>
            <a:picLocks noChangeAspect="1"/>
          </p:cNvPicPr>
          <p:nvPr/>
        </p:nvPicPr>
        <p:blipFill>
          <a:blip r:embed="rId5"/>
          <a:stretch>
            <a:fillRect/>
          </a:stretch>
        </p:blipFill>
        <p:spPr>
          <a:xfrm>
            <a:off x="533400" y="5257800"/>
            <a:ext cx="457200" cy="219307"/>
          </a:xfrm>
          <a:prstGeom prst="rect">
            <a:avLst/>
          </a:prstGeom>
        </p:spPr>
      </p:pic>
      <p:pic>
        <p:nvPicPr>
          <p:cNvPr id="7" name="Picture 6">
            <a:extLst>
              <a:ext uri="{FF2B5EF4-FFF2-40B4-BE49-F238E27FC236}">
                <a16:creationId xmlns:a16="http://schemas.microsoft.com/office/drawing/2014/main" id="{5C4B85BD-5BAA-404D-9631-EA4B54AC42F4}"/>
              </a:ext>
            </a:extLst>
          </p:cNvPr>
          <p:cNvPicPr>
            <a:picLocks noChangeAspect="1"/>
          </p:cNvPicPr>
          <p:nvPr/>
        </p:nvPicPr>
        <p:blipFill>
          <a:blip r:embed="rId6"/>
          <a:stretch>
            <a:fillRect/>
          </a:stretch>
        </p:blipFill>
        <p:spPr>
          <a:xfrm>
            <a:off x="1676400" y="5645331"/>
            <a:ext cx="457200" cy="222069"/>
          </a:xfrm>
          <a:prstGeom prst="rect">
            <a:avLst/>
          </a:prstGeom>
        </p:spPr>
      </p:pic>
      <p:pic>
        <p:nvPicPr>
          <p:cNvPr id="8" name="Picture 7">
            <a:extLst>
              <a:ext uri="{FF2B5EF4-FFF2-40B4-BE49-F238E27FC236}">
                <a16:creationId xmlns:a16="http://schemas.microsoft.com/office/drawing/2014/main" id="{75A8A41D-AA30-40D2-BD8E-94126173B739}"/>
              </a:ext>
            </a:extLst>
          </p:cNvPr>
          <p:cNvPicPr>
            <a:picLocks noChangeAspect="1"/>
          </p:cNvPicPr>
          <p:nvPr/>
        </p:nvPicPr>
        <p:blipFill>
          <a:blip r:embed="rId7"/>
          <a:stretch>
            <a:fillRect/>
          </a:stretch>
        </p:blipFill>
        <p:spPr>
          <a:xfrm>
            <a:off x="1066800" y="5729206"/>
            <a:ext cx="457200" cy="290594"/>
          </a:xfrm>
          <a:prstGeom prst="rect">
            <a:avLst/>
          </a:prstGeom>
        </p:spPr>
      </p:pic>
      <p:pic>
        <p:nvPicPr>
          <p:cNvPr id="9" name="Picture 8">
            <a:extLst>
              <a:ext uri="{FF2B5EF4-FFF2-40B4-BE49-F238E27FC236}">
                <a16:creationId xmlns:a16="http://schemas.microsoft.com/office/drawing/2014/main" id="{272CD956-0655-42E9-A484-86BBFE812C76}"/>
              </a:ext>
            </a:extLst>
          </p:cNvPr>
          <p:cNvPicPr>
            <a:picLocks noChangeAspect="1"/>
          </p:cNvPicPr>
          <p:nvPr/>
        </p:nvPicPr>
        <p:blipFill>
          <a:blip r:embed="rId8"/>
          <a:stretch>
            <a:fillRect/>
          </a:stretch>
        </p:blipFill>
        <p:spPr>
          <a:xfrm>
            <a:off x="2209800" y="5334000"/>
            <a:ext cx="457200" cy="187569"/>
          </a:xfrm>
          <a:prstGeom prst="rect">
            <a:avLst/>
          </a:prstGeom>
        </p:spPr>
      </p:pic>
      <p:pic>
        <p:nvPicPr>
          <p:cNvPr id="10" name="Picture 9">
            <a:extLst>
              <a:ext uri="{FF2B5EF4-FFF2-40B4-BE49-F238E27FC236}">
                <a16:creationId xmlns:a16="http://schemas.microsoft.com/office/drawing/2014/main" id="{B84F65A1-67B7-4D9A-B30F-E73FA4B28834}"/>
              </a:ext>
            </a:extLst>
          </p:cNvPr>
          <p:cNvPicPr>
            <a:picLocks noChangeAspect="1"/>
          </p:cNvPicPr>
          <p:nvPr/>
        </p:nvPicPr>
        <p:blipFill>
          <a:blip r:embed="rId9"/>
          <a:stretch>
            <a:fillRect/>
          </a:stretch>
        </p:blipFill>
        <p:spPr>
          <a:xfrm>
            <a:off x="1676400" y="4953000"/>
            <a:ext cx="457200" cy="226291"/>
          </a:xfrm>
          <a:prstGeom prst="rect">
            <a:avLst/>
          </a:prstGeom>
        </p:spPr>
      </p:pic>
      <p:pic>
        <p:nvPicPr>
          <p:cNvPr id="11" name="Picture 10">
            <a:extLst>
              <a:ext uri="{FF2B5EF4-FFF2-40B4-BE49-F238E27FC236}">
                <a16:creationId xmlns:a16="http://schemas.microsoft.com/office/drawing/2014/main" id="{247BA620-6178-4EA6-B056-EC1BEC13C5A0}"/>
              </a:ext>
            </a:extLst>
          </p:cNvPr>
          <p:cNvPicPr>
            <a:picLocks noChangeAspect="1"/>
          </p:cNvPicPr>
          <p:nvPr/>
        </p:nvPicPr>
        <p:blipFill>
          <a:blip r:embed="rId10"/>
          <a:stretch>
            <a:fillRect/>
          </a:stretch>
        </p:blipFill>
        <p:spPr>
          <a:xfrm>
            <a:off x="2743200" y="5638800"/>
            <a:ext cx="457200" cy="228600"/>
          </a:xfrm>
          <a:prstGeom prst="rect">
            <a:avLst/>
          </a:prstGeom>
        </p:spPr>
      </p:pic>
      <p:pic>
        <p:nvPicPr>
          <p:cNvPr id="12" name="Picture 11">
            <a:extLst>
              <a:ext uri="{FF2B5EF4-FFF2-40B4-BE49-F238E27FC236}">
                <a16:creationId xmlns:a16="http://schemas.microsoft.com/office/drawing/2014/main" id="{5325B606-BA08-43F4-9CE5-68469CB14365}"/>
              </a:ext>
            </a:extLst>
          </p:cNvPr>
          <p:cNvPicPr>
            <a:picLocks noChangeAspect="1"/>
          </p:cNvPicPr>
          <p:nvPr/>
        </p:nvPicPr>
        <p:blipFill>
          <a:blip r:embed="rId11"/>
          <a:stretch>
            <a:fillRect/>
          </a:stretch>
        </p:blipFill>
        <p:spPr>
          <a:xfrm>
            <a:off x="3772149" y="5339704"/>
            <a:ext cx="457200" cy="291993"/>
          </a:xfrm>
          <a:prstGeom prst="rect">
            <a:avLst/>
          </a:prstGeom>
        </p:spPr>
      </p:pic>
      <p:pic>
        <p:nvPicPr>
          <p:cNvPr id="13" name="Picture 12">
            <a:extLst>
              <a:ext uri="{FF2B5EF4-FFF2-40B4-BE49-F238E27FC236}">
                <a16:creationId xmlns:a16="http://schemas.microsoft.com/office/drawing/2014/main" id="{DCBBFA2F-A14B-4AC9-8D98-4D1462D65163}"/>
              </a:ext>
            </a:extLst>
          </p:cNvPr>
          <p:cNvPicPr>
            <a:picLocks noChangeAspect="1"/>
          </p:cNvPicPr>
          <p:nvPr/>
        </p:nvPicPr>
        <p:blipFill>
          <a:blip r:embed="rId12"/>
          <a:stretch>
            <a:fillRect/>
          </a:stretch>
        </p:blipFill>
        <p:spPr>
          <a:xfrm>
            <a:off x="1066800" y="5334000"/>
            <a:ext cx="457200" cy="304800"/>
          </a:xfrm>
          <a:prstGeom prst="rect">
            <a:avLst/>
          </a:prstGeom>
        </p:spPr>
      </p:pic>
      <p:pic>
        <p:nvPicPr>
          <p:cNvPr id="14" name="Picture 13">
            <a:extLst>
              <a:ext uri="{FF2B5EF4-FFF2-40B4-BE49-F238E27FC236}">
                <a16:creationId xmlns:a16="http://schemas.microsoft.com/office/drawing/2014/main" id="{0697DCFA-E4A8-458C-9BAE-5BB9491FD112}"/>
              </a:ext>
            </a:extLst>
          </p:cNvPr>
          <p:cNvPicPr>
            <a:picLocks noChangeAspect="1"/>
          </p:cNvPicPr>
          <p:nvPr/>
        </p:nvPicPr>
        <p:blipFill>
          <a:blip r:embed="rId13"/>
          <a:stretch>
            <a:fillRect/>
          </a:stretch>
        </p:blipFill>
        <p:spPr>
          <a:xfrm>
            <a:off x="1676400" y="5260383"/>
            <a:ext cx="457200" cy="302217"/>
          </a:xfrm>
          <a:prstGeom prst="rect">
            <a:avLst/>
          </a:prstGeom>
        </p:spPr>
      </p:pic>
      <p:pic>
        <p:nvPicPr>
          <p:cNvPr id="15" name="Picture 14">
            <a:extLst>
              <a:ext uri="{FF2B5EF4-FFF2-40B4-BE49-F238E27FC236}">
                <a16:creationId xmlns:a16="http://schemas.microsoft.com/office/drawing/2014/main" id="{5BE72E6F-3070-4C5E-9CD7-7033B49239B0}"/>
              </a:ext>
            </a:extLst>
          </p:cNvPr>
          <p:cNvPicPr>
            <a:picLocks noChangeAspect="1"/>
          </p:cNvPicPr>
          <p:nvPr/>
        </p:nvPicPr>
        <p:blipFill>
          <a:blip r:embed="rId14"/>
          <a:stretch>
            <a:fillRect/>
          </a:stretch>
        </p:blipFill>
        <p:spPr>
          <a:xfrm>
            <a:off x="533400" y="5562600"/>
            <a:ext cx="457200" cy="296029"/>
          </a:xfrm>
          <a:prstGeom prst="rect">
            <a:avLst/>
          </a:prstGeom>
        </p:spPr>
      </p:pic>
      <p:pic>
        <p:nvPicPr>
          <p:cNvPr id="16" name="Picture 15">
            <a:extLst>
              <a:ext uri="{FF2B5EF4-FFF2-40B4-BE49-F238E27FC236}">
                <a16:creationId xmlns:a16="http://schemas.microsoft.com/office/drawing/2014/main" id="{A3A24D84-A6E4-4D4C-AB06-D5E641737094}"/>
              </a:ext>
            </a:extLst>
          </p:cNvPr>
          <p:cNvPicPr>
            <a:picLocks noChangeAspect="1"/>
          </p:cNvPicPr>
          <p:nvPr/>
        </p:nvPicPr>
        <p:blipFill>
          <a:blip r:embed="rId15"/>
          <a:stretch>
            <a:fillRect/>
          </a:stretch>
        </p:blipFill>
        <p:spPr>
          <a:xfrm>
            <a:off x="2209800" y="5638800"/>
            <a:ext cx="457200" cy="228600"/>
          </a:xfrm>
          <a:prstGeom prst="rect">
            <a:avLst/>
          </a:prstGeom>
        </p:spPr>
      </p:pic>
      <p:pic>
        <p:nvPicPr>
          <p:cNvPr id="17" name="Picture 16">
            <a:extLst>
              <a:ext uri="{FF2B5EF4-FFF2-40B4-BE49-F238E27FC236}">
                <a16:creationId xmlns:a16="http://schemas.microsoft.com/office/drawing/2014/main" id="{83059FB2-CC2C-43B8-9A5E-24E70FB7F99E}"/>
              </a:ext>
            </a:extLst>
          </p:cNvPr>
          <p:cNvPicPr>
            <a:picLocks noChangeAspect="1"/>
          </p:cNvPicPr>
          <p:nvPr/>
        </p:nvPicPr>
        <p:blipFill>
          <a:blip r:embed="rId16"/>
          <a:stretch>
            <a:fillRect/>
          </a:stretch>
        </p:blipFill>
        <p:spPr>
          <a:xfrm>
            <a:off x="2743200" y="4916556"/>
            <a:ext cx="457200" cy="225287"/>
          </a:xfrm>
          <a:prstGeom prst="rect">
            <a:avLst/>
          </a:prstGeom>
        </p:spPr>
      </p:pic>
      <p:pic>
        <p:nvPicPr>
          <p:cNvPr id="18" name="Picture 17">
            <a:extLst>
              <a:ext uri="{FF2B5EF4-FFF2-40B4-BE49-F238E27FC236}">
                <a16:creationId xmlns:a16="http://schemas.microsoft.com/office/drawing/2014/main" id="{A6F4488D-C044-40F0-A8E2-804887D4E4F2}"/>
              </a:ext>
            </a:extLst>
          </p:cNvPr>
          <p:cNvPicPr>
            <a:picLocks noChangeAspect="1"/>
          </p:cNvPicPr>
          <p:nvPr/>
        </p:nvPicPr>
        <p:blipFill>
          <a:blip r:embed="rId17"/>
          <a:stretch>
            <a:fillRect/>
          </a:stretch>
        </p:blipFill>
        <p:spPr>
          <a:xfrm>
            <a:off x="3276600" y="5638800"/>
            <a:ext cx="457200" cy="270328"/>
          </a:xfrm>
          <a:prstGeom prst="rect">
            <a:avLst/>
          </a:prstGeom>
        </p:spPr>
      </p:pic>
      <p:pic>
        <p:nvPicPr>
          <p:cNvPr id="19" name="Picture 18">
            <a:extLst>
              <a:ext uri="{FF2B5EF4-FFF2-40B4-BE49-F238E27FC236}">
                <a16:creationId xmlns:a16="http://schemas.microsoft.com/office/drawing/2014/main" id="{E495A947-286E-4C4C-9FE7-E051EC10D37A}"/>
              </a:ext>
            </a:extLst>
          </p:cNvPr>
          <p:cNvPicPr>
            <a:picLocks noChangeAspect="1"/>
          </p:cNvPicPr>
          <p:nvPr/>
        </p:nvPicPr>
        <p:blipFill>
          <a:blip r:embed="rId18"/>
          <a:stretch>
            <a:fillRect/>
          </a:stretch>
        </p:blipFill>
        <p:spPr>
          <a:xfrm>
            <a:off x="3253698" y="4880610"/>
            <a:ext cx="457200" cy="300990"/>
          </a:xfrm>
          <a:prstGeom prst="rect">
            <a:avLst/>
          </a:prstGeom>
        </p:spPr>
      </p:pic>
      <p:pic>
        <p:nvPicPr>
          <p:cNvPr id="20" name="Picture 19">
            <a:extLst>
              <a:ext uri="{FF2B5EF4-FFF2-40B4-BE49-F238E27FC236}">
                <a16:creationId xmlns:a16="http://schemas.microsoft.com/office/drawing/2014/main" id="{D8A64B13-DAA1-4AF5-8511-E79FE3F08599}"/>
              </a:ext>
            </a:extLst>
          </p:cNvPr>
          <p:cNvPicPr>
            <a:picLocks noChangeAspect="1"/>
          </p:cNvPicPr>
          <p:nvPr/>
        </p:nvPicPr>
        <p:blipFill>
          <a:blip r:embed="rId19"/>
          <a:stretch>
            <a:fillRect/>
          </a:stretch>
        </p:blipFill>
        <p:spPr>
          <a:xfrm>
            <a:off x="533400" y="4930140"/>
            <a:ext cx="457200" cy="251460"/>
          </a:xfrm>
          <a:prstGeom prst="rect">
            <a:avLst/>
          </a:prstGeom>
        </p:spPr>
      </p:pic>
      <p:pic>
        <p:nvPicPr>
          <p:cNvPr id="21" name="Picture 20">
            <a:extLst>
              <a:ext uri="{FF2B5EF4-FFF2-40B4-BE49-F238E27FC236}">
                <a16:creationId xmlns:a16="http://schemas.microsoft.com/office/drawing/2014/main" id="{B76EF8DD-FD4F-4DDD-A8EA-2EF7CB26F4CC}"/>
              </a:ext>
            </a:extLst>
          </p:cNvPr>
          <p:cNvPicPr>
            <a:picLocks noChangeAspect="1"/>
          </p:cNvPicPr>
          <p:nvPr/>
        </p:nvPicPr>
        <p:blipFill>
          <a:blip r:embed="rId20"/>
          <a:stretch>
            <a:fillRect/>
          </a:stretch>
        </p:blipFill>
        <p:spPr>
          <a:xfrm>
            <a:off x="533400" y="5949821"/>
            <a:ext cx="457200" cy="298579"/>
          </a:xfrm>
          <a:prstGeom prst="rect">
            <a:avLst/>
          </a:prstGeom>
        </p:spPr>
      </p:pic>
      <p:pic>
        <p:nvPicPr>
          <p:cNvPr id="22" name="Picture 21">
            <a:extLst>
              <a:ext uri="{FF2B5EF4-FFF2-40B4-BE49-F238E27FC236}">
                <a16:creationId xmlns:a16="http://schemas.microsoft.com/office/drawing/2014/main" id="{042D2A69-BA16-4261-A0F4-D81158635F4B}"/>
              </a:ext>
            </a:extLst>
          </p:cNvPr>
          <p:cNvPicPr>
            <a:picLocks noChangeAspect="1"/>
          </p:cNvPicPr>
          <p:nvPr/>
        </p:nvPicPr>
        <p:blipFill>
          <a:blip r:embed="rId21"/>
          <a:stretch>
            <a:fillRect/>
          </a:stretch>
        </p:blipFill>
        <p:spPr>
          <a:xfrm>
            <a:off x="2209800" y="4939419"/>
            <a:ext cx="457200" cy="298503"/>
          </a:xfrm>
          <a:prstGeom prst="rect">
            <a:avLst/>
          </a:prstGeom>
        </p:spPr>
      </p:pic>
      <p:pic>
        <p:nvPicPr>
          <p:cNvPr id="23" name="Picture 22">
            <a:extLst>
              <a:ext uri="{FF2B5EF4-FFF2-40B4-BE49-F238E27FC236}">
                <a16:creationId xmlns:a16="http://schemas.microsoft.com/office/drawing/2014/main" id="{4273FA14-3B0C-41C3-A0EB-D33E0205BB3E}"/>
              </a:ext>
            </a:extLst>
          </p:cNvPr>
          <p:cNvPicPr>
            <a:picLocks noChangeAspect="1"/>
          </p:cNvPicPr>
          <p:nvPr/>
        </p:nvPicPr>
        <p:blipFill>
          <a:blip r:embed="rId22"/>
          <a:stretch>
            <a:fillRect/>
          </a:stretch>
        </p:blipFill>
        <p:spPr>
          <a:xfrm>
            <a:off x="2759543" y="5257800"/>
            <a:ext cx="440857" cy="301752"/>
          </a:xfrm>
          <a:prstGeom prst="rect">
            <a:avLst/>
          </a:prstGeom>
        </p:spPr>
      </p:pic>
      <p:pic>
        <p:nvPicPr>
          <p:cNvPr id="24" name="Picture 23">
            <a:extLst>
              <a:ext uri="{FF2B5EF4-FFF2-40B4-BE49-F238E27FC236}">
                <a16:creationId xmlns:a16="http://schemas.microsoft.com/office/drawing/2014/main" id="{AFAE70B0-5309-4D13-90E6-FA060538F8C7}"/>
              </a:ext>
            </a:extLst>
          </p:cNvPr>
          <p:cNvPicPr>
            <a:picLocks noChangeAspect="1"/>
          </p:cNvPicPr>
          <p:nvPr/>
        </p:nvPicPr>
        <p:blipFill>
          <a:blip r:embed="rId23"/>
          <a:stretch>
            <a:fillRect/>
          </a:stretch>
        </p:blipFill>
        <p:spPr>
          <a:xfrm>
            <a:off x="3772149" y="5725507"/>
            <a:ext cx="457200" cy="265922"/>
          </a:xfrm>
          <a:prstGeom prst="rect">
            <a:avLst/>
          </a:prstGeom>
        </p:spPr>
      </p:pic>
      <p:pic>
        <p:nvPicPr>
          <p:cNvPr id="25" name="Picture 24">
            <a:extLst>
              <a:ext uri="{FF2B5EF4-FFF2-40B4-BE49-F238E27FC236}">
                <a16:creationId xmlns:a16="http://schemas.microsoft.com/office/drawing/2014/main" id="{E7B9CB64-449C-4F4E-9AF2-37F8FB1EECDE}"/>
              </a:ext>
            </a:extLst>
          </p:cNvPr>
          <p:cNvPicPr>
            <a:picLocks noChangeAspect="1"/>
          </p:cNvPicPr>
          <p:nvPr/>
        </p:nvPicPr>
        <p:blipFill>
          <a:blip r:embed="rId24"/>
          <a:stretch>
            <a:fillRect/>
          </a:stretch>
        </p:blipFill>
        <p:spPr>
          <a:xfrm>
            <a:off x="3256694" y="5257800"/>
            <a:ext cx="457200" cy="290594"/>
          </a:xfrm>
          <a:prstGeom prst="rect">
            <a:avLst/>
          </a:prstGeom>
        </p:spPr>
      </p:pic>
      <p:pic>
        <p:nvPicPr>
          <p:cNvPr id="26" name="Picture 25">
            <a:extLst>
              <a:ext uri="{FF2B5EF4-FFF2-40B4-BE49-F238E27FC236}">
                <a16:creationId xmlns:a16="http://schemas.microsoft.com/office/drawing/2014/main" id="{3B4FD500-E8D0-438A-A3DB-8896C55F4D57}"/>
              </a:ext>
            </a:extLst>
          </p:cNvPr>
          <p:cNvPicPr>
            <a:picLocks noChangeAspect="1"/>
          </p:cNvPicPr>
          <p:nvPr/>
        </p:nvPicPr>
        <p:blipFill>
          <a:blip r:embed="rId25"/>
          <a:stretch>
            <a:fillRect/>
          </a:stretch>
        </p:blipFill>
        <p:spPr>
          <a:xfrm>
            <a:off x="3772149" y="4906347"/>
            <a:ext cx="457200" cy="275253"/>
          </a:xfrm>
          <a:prstGeom prst="rect">
            <a:avLst/>
          </a:prstGeom>
        </p:spPr>
      </p:pic>
    </p:spTree>
    <p:extLst>
      <p:ext uri="{BB962C8B-B14F-4D97-AF65-F5344CB8AC3E}">
        <p14:creationId xmlns:p14="http://schemas.microsoft.com/office/powerpoint/2010/main" val="338998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p:cNvCxnSpPr>
            <a:cxnSpLocks/>
          </p:cNvCxnSpPr>
          <p:nvPr/>
        </p:nvCxnSpPr>
        <p:spPr>
          <a:xfrm flipH="1">
            <a:off x="2209800" y="2132856"/>
            <a:ext cx="33450" cy="4115544"/>
          </a:xfrm>
          <a:prstGeom prst="line">
            <a:avLst/>
          </a:prstGeom>
        </p:spPr>
        <p:style>
          <a:lnRef idx="2">
            <a:schemeClr val="accent1"/>
          </a:lnRef>
          <a:fillRef idx="0">
            <a:schemeClr val="accent1"/>
          </a:fillRef>
          <a:effectRef idx="1">
            <a:schemeClr val="accent1"/>
          </a:effectRef>
          <a:fontRef idx="minor">
            <a:schemeClr val="tx1"/>
          </a:fontRef>
        </p:style>
      </p:cxnSp>
      <p:cxnSp>
        <p:nvCxnSpPr>
          <p:cNvPr id="30" name="Straight Connector 29"/>
          <p:cNvCxnSpPr>
            <a:cxnSpLocks/>
          </p:cNvCxnSpPr>
          <p:nvPr/>
        </p:nvCxnSpPr>
        <p:spPr>
          <a:xfrm>
            <a:off x="4495800" y="2132856"/>
            <a:ext cx="0" cy="4115544"/>
          </a:xfrm>
          <a:prstGeom prst="line">
            <a:avLst/>
          </a:prstGeom>
        </p:spPr>
        <p:style>
          <a:lnRef idx="2">
            <a:schemeClr val="accent1"/>
          </a:lnRef>
          <a:fillRef idx="0">
            <a:schemeClr val="accent1"/>
          </a:fillRef>
          <a:effectRef idx="1">
            <a:schemeClr val="accent1"/>
          </a:effectRef>
          <a:fontRef idx="minor">
            <a:schemeClr val="tx1"/>
          </a:fontRef>
        </p:style>
      </p:cxnSp>
      <p:cxnSp>
        <p:nvCxnSpPr>
          <p:cNvPr id="31" name="Straight Connector 30"/>
          <p:cNvCxnSpPr>
            <a:cxnSpLocks/>
          </p:cNvCxnSpPr>
          <p:nvPr/>
        </p:nvCxnSpPr>
        <p:spPr>
          <a:xfrm>
            <a:off x="6781800" y="2132856"/>
            <a:ext cx="0" cy="4115544"/>
          </a:xfrm>
          <a:prstGeom prst="line">
            <a:avLst/>
          </a:prstGeom>
        </p:spPr>
        <p:style>
          <a:lnRef idx="2">
            <a:schemeClr val="accent1"/>
          </a:lnRef>
          <a:fillRef idx="0">
            <a:schemeClr val="accent1"/>
          </a:fillRef>
          <a:effectRef idx="1">
            <a:schemeClr val="accent1"/>
          </a:effectRef>
          <a:fontRef idx="minor">
            <a:schemeClr val="tx1"/>
          </a:fontRef>
        </p:style>
      </p:cxnSp>
      <p:sp>
        <p:nvSpPr>
          <p:cNvPr id="6" name="Rectangle: Rounded Corners 5">
            <a:extLst>
              <a:ext uri="{FF2B5EF4-FFF2-40B4-BE49-F238E27FC236}">
                <a16:creationId xmlns:a16="http://schemas.microsoft.com/office/drawing/2014/main" id="{89DD8A72-DF75-4B45-B7D8-BDE1881FA56E}"/>
              </a:ext>
            </a:extLst>
          </p:cNvPr>
          <p:cNvSpPr/>
          <p:nvPr/>
        </p:nvSpPr>
        <p:spPr>
          <a:xfrm>
            <a:off x="2392362" y="2461736"/>
            <a:ext cx="1951038" cy="662464"/>
          </a:xfrm>
          <a:prstGeom prst="round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Create meaning</a:t>
            </a:r>
          </a:p>
        </p:txBody>
      </p:sp>
      <p:sp>
        <p:nvSpPr>
          <p:cNvPr id="22" name="Rectangle: Rounded Corners 21">
            <a:extLst>
              <a:ext uri="{FF2B5EF4-FFF2-40B4-BE49-F238E27FC236}">
                <a16:creationId xmlns:a16="http://schemas.microsoft.com/office/drawing/2014/main" id="{0B7ADF7A-4CB4-4471-BE15-3A1573200868}"/>
              </a:ext>
            </a:extLst>
          </p:cNvPr>
          <p:cNvSpPr/>
          <p:nvPr/>
        </p:nvSpPr>
        <p:spPr>
          <a:xfrm>
            <a:off x="90487" y="2461736"/>
            <a:ext cx="1951038" cy="662464"/>
          </a:xfrm>
          <a:prstGeom prst="round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t>Allows collection of raw facts</a:t>
            </a:r>
          </a:p>
        </p:txBody>
      </p:sp>
      <p:sp>
        <p:nvSpPr>
          <p:cNvPr id="25" name="Rectangle: Rounded Corners 24">
            <a:extLst>
              <a:ext uri="{FF2B5EF4-FFF2-40B4-BE49-F238E27FC236}">
                <a16:creationId xmlns:a16="http://schemas.microsoft.com/office/drawing/2014/main" id="{03ECCBBB-E5DD-4460-AB4C-8D067EB543C5}"/>
              </a:ext>
            </a:extLst>
          </p:cNvPr>
          <p:cNvSpPr/>
          <p:nvPr/>
        </p:nvSpPr>
        <p:spPr>
          <a:xfrm>
            <a:off x="4648199" y="2461736"/>
            <a:ext cx="1951038" cy="662464"/>
          </a:xfrm>
          <a:prstGeom prst="round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Analysis &amp; Synthesis</a:t>
            </a:r>
          </a:p>
        </p:txBody>
      </p:sp>
      <p:sp>
        <p:nvSpPr>
          <p:cNvPr id="27" name="Rectangle: Rounded Corners 26">
            <a:extLst>
              <a:ext uri="{FF2B5EF4-FFF2-40B4-BE49-F238E27FC236}">
                <a16:creationId xmlns:a16="http://schemas.microsoft.com/office/drawing/2014/main" id="{D8379396-6062-4531-84DC-712399437281}"/>
              </a:ext>
            </a:extLst>
          </p:cNvPr>
          <p:cNvSpPr/>
          <p:nvPr/>
        </p:nvSpPr>
        <p:spPr>
          <a:xfrm>
            <a:off x="6934200" y="2461736"/>
            <a:ext cx="2057400" cy="662464"/>
          </a:xfrm>
          <a:prstGeom prst="round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Clinical Judgement/Evaluation</a:t>
            </a:r>
          </a:p>
        </p:txBody>
      </p:sp>
      <p:sp>
        <p:nvSpPr>
          <p:cNvPr id="28" name="Rectangle: Rounded Corners 27">
            <a:extLst>
              <a:ext uri="{FF2B5EF4-FFF2-40B4-BE49-F238E27FC236}">
                <a16:creationId xmlns:a16="http://schemas.microsoft.com/office/drawing/2014/main" id="{182D3AF4-F122-41FE-9D14-0728A2D323C0}"/>
              </a:ext>
            </a:extLst>
          </p:cNvPr>
          <p:cNvSpPr/>
          <p:nvPr/>
        </p:nvSpPr>
        <p:spPr>
          <a:xfrm>
            <a:off x="76200" y="3452336"/>
            <a:ext cx="1951038" cy="510064"/>
          </a:xfrm>
          <a:prstGeom prst="roundRect">
            <a:avLst/>
          </a:prstGeom>
          <a:solidFill>
            <a:schemeClr val="bg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t>Types</a:t>
            </a:r>
          </a:p>
          <a:p>
            <a:pPr marL="285750" indent="-285750">
              <a:buFont typeface="Arial" panose="020B0604020202020204" pitchFamily="34" charset="0"/>
              <a:buChar char="•"/>
            </a:pPr>
            <a:r>
              <a:rPr lang="en-US" sz="1200" dirty="0"/>
              <a:t>Methods</a:t>
            </a:r>
          </a:p>
        </p:txBody>
      </p:sp>
      <p:sp>
        <p:nvSpPr>
          <p:cNvPr id="32" name="Rectangle: Rounded Corners 31">
            <a:extLst>
              <a:ext uri="{FF2B5EF4-FFF2-40B4-BE49-F238E27FC236}">
                <a16:creationId xmlns:a16="http://schemas.microsoft.com/office/drawing/2014/main" id="{7F36437C-55B0-47C5-B601-7C83E0D2CBF5}"/>
              </a:ext>
            </a:extLst>
          </p:cNvPr>
          <p:cNvSpPr/>
          <p:nvPr/>
        </p:nvSpPr>
        <p:spPr>
          <a:xfrm>
            <a:off x="2392361" y="3452336"/>
            <a:ext cx="1951038" cy="510064"/>
          </a:xfrm>
          <a:prstGeom prst="roundRect">
            <a:avLst/>
          </a:prstGeom>
          <a:solidFill>
            <a:schemeClr val="bg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t>Sequence</a:t>
            </a:r>
          </a:p>
          <a:p>
            <a:pPr marL="285750" indent="-285750">
              <a:buFont typeface="Arial" panose="020B0604020202020204" pitchFamily="34" charset="0"/>
              <a:buChar char="•"/>
            </a:pPr>
            <a:r>
              <a:rPr lang="en-US" sz="1200" dirty="0"/>
              <a:t>Relationships</a:t>
            </a:r>
          </a:p>
        </p:txBody>
      </p:sp>
      <p:sp>
        <p:nvSpPr>
          <p:cNvPr id="33" name="Rectangle: Rounded Corners 32">
            <a:extLst>
              <a:ext uri="{FF2B5EF4-FFF2-40B4-BE49-F238E27FC236}">
                <a16:creationId xmlns:a16="http://schemas.microsoft.com/office/drawing/2014/main" id="{CB2510D4-0A73-46FD-871E-23864836B142}"/>
              </a:ext>
            </a:extLst>
          </p:cNvPr>
          <p:cNvSpPr/>
          <p:nvPr/>
        </p:nvSpPr>
        <p:spPr>
          <a:xfrm>
            <a:off x="4648199" y="3452336"/>
            <a:ext cx="1951038" cy="510064"/>
          </a:xfrm>
          <a:prstGeom prst="roundRect">
            <a:avLst/>
          </a:prstGeom>
          <a:solidFill>
            <a:schemeClr val="bg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t>Connections</a:t>
            </a:r>
          </a:p>
          <a:p>
            <a:pPr marL="285750" indent="-285750">
              <a:buFont typeface="Arial" panose="020B0604020202020204" pitchFamily="34" charset="0"/>
              <a:buChar char="•"/>
            </a:pPr>
            <a:r>
              <a:rPr lang="en-US" sz="1200" dirty="0"/>
              <a:t>Rationale</a:t>
            </a:r>
          </a:p>
        </p:txBody>
      </p:sp>
      <p:sp>
        <p:nvSpPr>
          <p:cNvPr id="34" name="Rectangle: Rounded Corners 33">
            <a:extLst>
              <a:ext uri="{FF2B5EF4-FFF2-40B4-BE49-F238E27FC236}">
                <a16:creationId xmlns:a16="http://schemas.microsoft.com/office/drawing/2014/main" id="{0FC93830-B58F-423C-B3B9-41B5BE1045D2}"/>
              </a:ext>
            </a:extLst>
          </p:cNvPr>
          <p:cNvSpPr/>
          <p:nvPr/>
        </p:nvSpPr>
        <p:spPr>
          <a:xfrm>
            <a:off x="6934200" y="3452336"/>
            <a:ext cx="2057400" cy="510064"/>
          </a:xfrm>
          <a:prstGeom prst="roundRect">
            <a:avLst/>
          </a:prstGeom>
          <a:solidFill>
            <a:schemeClr val="bg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t>Measurements</a:t>
            </a:r>
          </a:p>
          <a:p>
            <a:pPr marL="285750" indent="-285750">
              <a:buFont typeface="Arial" panose="020B0604020202020204" pitchFamily="34" charset="0"/>
              <a:buChar char="•"/>
            </a:pPr>
            <a:r>
              <a:rPr lang="en-US" sz="1200" dirty="0"/>
              <a:t>Results</a:t>
            </a:r>
          </a:p>
        </p:txBody>
      </p:sp>
      <p:sp>
        <p:nvSpPr>
          <p:cNvPr id="35" name="Rectangle: Rounded Corners 34">
            <a:extLst>
              <a:ext uri="{FF2B5EF4-FFF2-40B4-BE49-F238E27FC236}">
                <a16:creationId xmlns:a16="http://schemas.microsoft.com/office/drawing/2014/main" id="{DAA064B4-2CC7-4094-92BD-0EA73C2BD456}"/>
              </a:ext>
            </a:extLst>
          </p:cNvPr>
          <p:cNvSpPr/>
          <p:nvPr/>
        </p:nvSpPr>
        <p:spPr>
          <a:xfrm>
            <a:off x="106362" y="4495800"/>
            <a:ext cx="1951038" cy="1704438"/>
          </a:xfrm>
          <a:prstGeom prst="round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en-US" sz="1200" dirty="0"/>
              <a:t>Numeric</a:t>
            </a:r>
          </a:p>
          <a:p>
            <a:pPr marL="285750" indent="-285750">
              <a:buFont typeface="Arial" panose="020B0604020202020204" pitchFamily="34" charset="0"/>
              <a:buChar char="•"/>
            </a:pPr>
            <a:r>
              <a:rPr lang="en-US" sz="1200" dirty="0"/>
              <a:t>Calculations</a:t>
            </a:r>
          </a:p>
          <a:p>
            <a:pPr marL="285750" indent="-285750">
              <a:buFont typeface="Arial" panose="020B0604020202020204" pitchFamily="34" charset="0"/>
              <a:buChar char="•"/>
            </a:pPr>
            <a:r>
              <a:rPr lang="en-US" sz="1200" dirty="0"/>
              <a:t>Structured</a:t>
            </a:r>
          </a:p>
          <a:p>
            <a:pPr marL="285750" indent="-285750">
              <a:buFont typeface="Arial" panose="020B0604020202020204" pitchFamily="34" charset="0"/>
              <a:buChar char="•"/>
            </a:pPr>
            <a:r>
              <a:rPr lang="en-US" sz="1200" dirty="0"/>
              <a:t>Free Text</a:t>
            </a:r>
          </a:p>
        </p:txBody>
      </p:sp>
      <p:sp>
        <p:nvSpPr>
          <p:cNvPr id="36" name="Rectangle: Rounded Corners 35">
            <a:extLst>
              <a:ext uri="{FF2B5EF4-FFF2-40B4-BE49-F238E27FC236}">
                <a16:creationId xmlns:a16="http://schemas.microsoft.com/office/drawing/2014/main" id="{0254C69D-D0CD-46AA-8D39-88BAF5FC2E7E}"/>
              </a:ext>
            </a:extLst>
          </p:cNvPr>
          <p:cNvSpPr/>
          <p:nvPr/>
        </p:nvSpPr>
        <p:spPr>
          <a:xfrm>
            <a:off x="2316160" y="4519135"/>
            <a:ext cx="1997077" cy="1681103"/>
          </a:xfrm>
          <a:prstGeom prst="round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Respiratory Assessment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Lung Sound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Rhythm/Patter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Sputum</a:t>
            </a:r>
          </a:p>
        </p:txBody>
      </p:sp>
      <p:sp>
        <p:nvSpPr>
          <p:cNvPr id="37" name="Rectangle: Rounded Corners 36">
            <a:extLst>
              <a:ext uri="{FF2B5EF4-FFF2-40B4-BE49-F238E27FC236}">
                <a16:creationId xmlns:a16="http://schemas.microsoft.com/office/drawing/2014/main" id="{BF7B55FF-232B-4DE6-96C9-15F551A6FDC8}"/>
              </a:ext>
            </a:extLst>
          </p:cNvPr>
          <p:cNvSpPr/>
          <p:nvPr/>
        </p:nvSpPr>
        <p:spPr>
          <a:xfrm>
            <a:off x="4632323" y="4572000"/>
            <a:ext cx="1997077" cy="1628239"/>
          </a:xfrm>
          <a:prstGeom prst="round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Signs &amp; Symptoms that indicate Respiratory Compromis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Dyspnea</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Cyanosi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Irritabilit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Confusion</a:t>
            </a:r>
          </a:p>
        </p:txBody>
      </p:sp>
      <p:sp>
        <p:nvSpPr>
          <p:cNvPr id="38" name="Rectangle: Rounded Corners 37">
            <a:extLst>
              <a:ext uri="{FF2B5EF4-FFF2-40B4-BE49-F238E27FC236}">
                <a16:creationId xmlns:a16="http://schemas.microsoft.com/office/drawing/2014/main" id="{DB28D4B4-830D-4599-9EB9-B3B6154DA0EC}"/>
              </a:ext>
            </a:extLst>
          </p:cNvPr>
          <p:cNvSpPr/>
          <p:nvPr/>
        </p:nvSpPr>
        <p:spPr>
          <a:xfrm>
            <a:off x="6934200" y="4620161"/>
            <a:ext cx="2106930" cy="1628239"/>
          </a:xfrm>
          <a:prstGeom prst="round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Problem: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Respiratory Compromis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Objective/Goa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white"/>
                </a:solidFill>
                <a:effectLst/>
                <a:uLnTx/>
                <a:uFillTx/>
                <a:latin typeface="Calibri"/>
                <a:ea typeface="+mn-ea"/>
                <a:cs typeface="+mn-cs"/>
              </a:rPr>
              <a:t>Effecitive</a:t>
            </a:r>
            <a:r>
              <a:rPr kumimoji="0" lang="en-US" sz="1200" b="0" i="0" u="none" strike="noStrike" kern="1200" cap="none" spc="0" normalizeH="0" baseline="0" noProof="0" dirty="0">
                <a:ln>
                  <a:noFill/>
                </a:ln>
                <a:solidFill>
                  <a:prstClr val="white"/>
                </a:solidFill>
                <a:effectLst/>
                <a:uLnTx/>
                <a:uFillTx/>
                <a:latin typeface="Calibri"/>
                <a:ea typeface="+mn-ea"/>
                <a:cs typeface="+mn-cs"/>
              </a:rPr>
              <a:t> Ventilation &amp; Oxygenation</a:t>
            </a: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8" name="Notched Right Arrow 38">
            <a:extLst>
              <a:ext uri="{FF2B5EF4-FFF2-40B4-BE49-F238E27FC236}">
                <a16:creationId xmlns:a16="http://schemas.microsoft.com/office/drawing/2014/main" id="{FC966768-5E04-4722-97EF-18C3DF109914}"/>
              </a:ext>
            </a:extLst>
          </p:cNvPr>
          <p:cNvSpPr/>
          <p:nvPr/>
        </p:nvSpPr>
        <p:spPr>
          <a:xfrm>
            <a:off x="140998" y="765770"/>
            <a:ext cx="2396582" cy="1264729"/>
          </a:xfrm>
          <a:prstGeom prst="notchedRightArrow">
            <a:avLst>
              <a:gd name="adj1" fmla="val 60686"/>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19" name="Notched Right Arrow 39">
            <a:extLst>
              <a:ext uri="{FF2B5EF4-FFF2-40B4-BE49-F238E27FC236}">
                <a16:creationId xmlns:a16="http://schemas.microsoft.com/office/drawing/2014/main" id="{7B6C1491-C23F-4D35-93CB-2E36F3547CB3}"/>
              </a:ext>
            </a:extLst>
          </p:cNvPr>
          <p:cNvSpPr/>
          <p:nvPr/>
        </p:nvSpPr>
        <p:spPr>
          <a:xfrm>
            <a:off x="2286000" y="765770"/>
            <a:ext cx="2396582" cy="1264729"/>
          </a:xfrm>
          <a:prstGeom prst="notchedRightArrow">
            <a:avLst>
              <a:gd name="adj1" fmla="val 60686"/>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20" name="Notched Right Arrow 40">
            <a:extLst>
              <a:ext uri="{FF2B5EF4-FFF2-40B4-BE49-F238E27FC236}">
                <a16:creationId xmlns:a16="http://schemas.microsoft.com/office/drawing/2014/main" id="{2BBDA6A7-F9BD-404C-9CF5-A9D0B07B980B}"/>
              </a:ext>
            </a:extLst>
          </p:cNvPr>
          <p:cNvSpPr/>
          <p:nvPr/>
        </p:nvSpPr>
        <p:spPr>
          <a:xfrm>
            <a:off x="4464452" y="765770"/>
            <a:ext cx="2396582" cy="1264729"/>
          </a:xfrm>
          <a:prstGeom prst="notchedRightArrow">
            <a:avLst>
              <a:gd name="adj1" fmla="val 60686"/>
              <a:gd name="adj2"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21" name="Freeform 6">
            <a:extLst>
              <a:ext uri="{FF2B5EF4-FFF2-40B4-BE49-F238E27FC236}">
                <a16:creationId xmlns:a16="http://schemas.microsoft.com/office/drawing/2014/main" id="{75C3F8AE-3B68-4634-A31C-B8253BDCBA5B}"/>
              </a:ext>
            </a:extLst>
          </p:cNvPr>
          <p:cNvSpPr>
            <a:spLocks/>
          </p:cNvSpPr>
          <p:nvPr/>
        </p:nvSpPr>
        <p:spPr bwMode="auto">
          <a:xfrm>
            <a:off x="4824117" y="663414"/>
            <a:ext cx="1469441" cy="1469442"/>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tx1"/>
          </a:solidFill>
          <a:ln w="11113" cap="flat">
            <a:noFill/>
            <a:prstDash val="solid"/>
            <a:miter lim="800000"/>
            <a:headEnd/>
            <a:tailEnd/>
          </a:ln>
          <a:effectLst>
            <a:outerShdw blurRad="889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3" name="Notched Right Arrow 42">
            <a:extLst>
              <a:ext uri="{FF2B5EF4-FFF2-40B4-BE49-F238E27FC236}">
                <a16:creationId xmlns:a16="http://schemas.microsoft.com/office/drawing/2014/main" id="{63EDB44D-1BAE-488E-9DD1-7CD5CE421AD1}"/>
              </a:ext>
            </a:extLst>
          </p:cNvPr>
          <p:cNvSpPr/>
          <p:nvPr/>
        </p:nvSpPr>
        <p:spPr>
          <a:xfrm>
            <a:off x="6705600" y="765770"/>
            <a:ext cx="2396582" cy="1264729"/>
          </a:xfrm>
          <a:prstGeom prst="notchedRightArrow">
            <a:avLst>
              <a:gd name="adj1" fmla="val 60686"/>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24" name="Freeform 6">
            <a:extLst>
              <a:ext uri="{FF2B5EF4-FFF2-40B4-BE49-F238E27FC236}">
                <a16:creationId xmlns:a16="http://schemas.microsoft.com/office/drawing/2014/main" id="{F5A4425F-2D1B-4419-8DFB-34D034866957}"/>
              </a:ext>
            </a:extLst>
          </p:cNvPr>
          <p:cNvSpPr>
            <a:spLocks/>
          </p:cNvSpPr>
          <p:nvPr/>
        </p:nvSpPr>
        <p:spPr bwMode="auto">
          <a:xfrm>
            <a:off x="500663" y="663414"/>
            <a:ext cx="1469441" cy="1469442"/>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2"/>
          </a:solidFill>
          <a:ln w="11113" cap="flat">
            <a:noFill/>
            <a:prstDash val="solid"/>
            <a:miter lim="800000"/>
            <a:headEnd/>
            <a:tailEnd/>
          </a:ln>
          <a:effectLst>
            <a:outerShdw blurRad="889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6" name="Freeform 7">
            <a:extLst>
              <a:ext uri="{FF2B5EF4-FFF2-40B4-BE49-F238E27FC236}">
                <a16:creationId xmlns:a16="http://schemas.microsoft.com/office/drawing/2014/main" id="{7E9FB678-9C97-4322-8680-B8D7943505DC}"/>
              </a:ext>
            </a:extLst>
          </p:cNvPr>
          <p:cNvSpPr>
            <a:spLocks/>
          </p:cNvSpPr>
          <p:nvPr/>
        </p:nvSpPr>
        <p:spPr bwMode="auto">
          <a:xfrm>
            <a:off x="604422" y="765770"/>
            <a:ext cx="1261924" cy="1264729"/>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39" name="Freeform 6">
            <a:extLst>
              <a:ext uri="{FF2B5EF4-FFF2-40B4-BE49-F238E27FC236}">
                <a16:creationId xmlns:a16="http://schemas.microsoft.com/office/drawing/2014/main" id="{775C0BC4-8213-4FCA-8722-608F88FD0F0F}"/>
              </a:ext>
            </a:extLst>
          </p:cNvPr>
          <p:cNvSpPr>
            <a:spLocks/>
          </p:cNvSpPr>
          <p:nvPr/>
        </p:nvSpPr>
        <p:spPr bwMode="auto">
          <a:xfrm>
            <a:off x="2645665" y="663414"/>
            <a:ext cx="1469441" cy="1469442"/>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1"/>
          </a:solidFill>
          <a:ln w="11113" cap="flat">
            <a:noFill/>
            <a:prstDash val="solid"/>
            <a:miter lim="800000"/>
            <a:headEnd/>
            <a:tailEnd/>
          </a:ln>
          <a:effectLst>
            <a:outerShdw blurRad="889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40" name="Freeform 7">
            <a:extLst>
              <a:ext uri="{FF2B5EF4-FFF2-40B4-BE49-F238E27FC236}">
                <a16:creationId xmlns:a16="http://schemas.microsoft.com/office/drawing/2014/main" id="{5BE111C7-1BF9-47F6-97D3-9296263CFD82}"/>
              </a:ext>
            </a:extLst>
          </p:cNvPr>
          <p:cNvSpPr>
            <a:spLocks/>
          </p:cNvSpPr>
          <p:nvPr/>
        </p:nvSpPr>
        <p:spPr bwMode="auto">
          <a:xfrm>
            <a:off x="2749424" y="765770"/>
            <a:ext cx="1261924" cy="1264729"/>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41" name="Freeform 7">
            <a:extLst>
              <a:ext uri="{FF2B5EF4-FFF2-40B4-BE49-F238E27FC236}">
                <a16:creationId xmlns:a16="http://schemas.microsoft.com/office/drawing/2014/main" id="{D3E82CCE-2E8A-4F89-8411-F625EB75B618}"/>
              </a:ext>
            </a:extLst>
          </p:cNvPr>
          <p:cNvSpPr>
            <a:spLocks/>
          </p:cNvSpPr>
          <p:nvPr/>
        </p:nvSpPr>
        <p:spPr bwMode="auto">
          <a:xfrm>
            <a:off x="4927876" y="765770"/>
            <a:ext cx="1261924" cy="1264729"/>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42" name="Freeform 6">
            <a:extLst>
              <a:ext uri="{FF2B5EF4-FFF2-40B4-BE49-F238E27FC236}">
                <a16:creationId xmlns:a16="http://schemas.microsoft.com/office/drawing/2014/main" id="{CB540412-FDBE-45A1-8142-F400F8CB3293}"/>
              </a:ext>
            </a:extLst>
          </p:cNvPr>
          <p:cNvSpPr>
            <a:spLocks/>
          </p:cNvSpPr>
          <p:nvPr/>
        </p:nvSpPr>
        <p:spPr bwMode="auto">
          <a:xfrm>
            <a:off x="7065265" y="663414"/>
            <a:ext cx="1469441" cy="1469442"/>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5"/>
          </a:solidFill>
          <a:ln w="11113" cap="flat">
            <a:noFill/>
            <a:prstDash val="solid"/>
            <a:miter lim="800000"/>
            <a:headEnd/>
            <a:tailEnd/>
          </a:ln>
          <a:effectLst>
            <a:outerShdw blurRad="889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43" name="Freeform 7">
            <a:extLst>
              <a:ext uri="{FF2B5EF4-FFF2-40B4-BE49-F238E27FC236}">
                <a16:creationId xmlns:a16="http://schemas.microsoft.com/office/drawing/2014/main" id="{D3B3D78A-7D9B-43FC-AC6E-53C882AD8EED}"/>
              </a:ext>
            </a:extLst>
          </p:cNvPr>
          <p:cNvSpPr>
            <a:spLocks/>
          </p:cNvSpPr>
          <p:nvPr/>
        </p:nvSpPr>
        <p:spPr bwMode="auto">
          <a:xfrm>
            <a:off x="7169024" y="765770"/>
            <a:ext cx="1261924" cy="1264729"/>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44" name="TextBox 33">
            <a:extLst>
              <a:ext uri="{FF2B5EF4-FFF2-40B4-BE49-F238E27FC236}">
                <a16:creationId xmlns:a16="http://schemas.microsoft.com/office/drawing/2014/main" id="{9EE93C3D-ACAC-47D7-9BC7-CD2CC31FBBED}"/>
              </a:ext>
            </a:extLst>
          </p:cNvPr>
          <p:cNvSpPr txBox="1"/>
          <p:nvPr/>
        </p:nvSpPr>
        <p:spPr>
          <a:xfrm>
            <a:off x="958951" y="1215272"/>
            <a:ext cx="572593" cy="307777"/>
          </a:xfrm>
          <a:prstGeom prst="rect">
            <a:avLst/>
          </a:prstGeom>
          <a:noFill/>
        </p:spPr>
        <p:txBody>
          <a:bodyPr wrap="none" rtlCol="0">
            <a:spAutoFit/>
          </a:bodyPr>
          <a:lstStyle>
            <a:defPPr>
              <a:defRPr lang="en-US"/>
            </a:defPPr>
            <a:lvl1pPr algn="ctr">
              <a:defRPr sz="1600">
                <a:solidFill>
                  <a:schemeClr val="bg1"/>
                </a:solidFill>
                <a:latin typeface="+mj-lt"/>
              </a:defRPr>
            </a:lvl1pPr>
          </a:lstStyle>
          <a:p>
            <a:r>
              <a:rPr lang="en-US" sz="1400" b="1" dirty="0">
                <a:solidFill>
                  <a:schemeClr val="tx2"/>
                </a:solidFill>
                <a:latin typeface="+mn-lt"/>
              </a:rPr>
              <a:t>Data</a:t>
            </a:r>
          </a:p>
        </p:txBody>
      </p:sp>
      <p:sp>
        <p:nvSpPr>
          <p:cNvPr id="45" name="TextBox 34">
            <a:extLst>
              <a:ext uri="{FF2B5EF4-FFF2-40B4-BE49-F238E27FC236}">
                <a16:creationId xmlns:a16="http://schemas.microsoft.com/office/drawing/2014/main" id="{334C3281-1BA0-48B6-A133-B141FCF8C40D}"/>
              </a:ext>
            </a:extLst>
          </p:cNvPr>
          <p:cNvSpPr txBox="1"/>
          <p:nvPr/>
        </p:nvSpPr>
        <p:spPr>
          <a:xfrm>
            <a:off x="2793489" y="1215273"/>
            <a:ext cx="1168911" cy="307777"/>
          </a:xfrm>
          <a:prstGeom prst="rect">
            <a:avLst/>
          </a:prstGeom>
          <a:noFill/>
        </p:spPr>
        <p:txBody>
          <a:bodyPr wrap="none" rtlCol="0">
            <a:spAutoFit/>
          </a:bodyPr>
          <a:lstStyle>
            <a:defPPr>
              <a:defRPr lang="en-US"/>
            </a:defPPr>
            <a:lvl1pPr algn="ctr">
              <a:defRPr sz="1600">
                <a:solidFill>
                  <a:schemeClr val="bg1"/>
                </a:solidFill>
                <a:latin typeface="+mj-lt"/>
              </a:defRPr>
            </a:lvl1pPr>
          </a:lstStyle>
          <a:p>
            <a:r>
              <a:rPr lang="en-US" sz="1400" b="1" dirty="0">
                <a:solidFill>
                  <a:schemeClr val="tx2"/>
                </a:solidFill>
                <a:latin typeface="+mn-lt"/>
              </a:rPr>
              <a:t>Information	</a:t>
            </a:r>
          </a:p>
        </p:txBody>
      </p:sp>
      <p:sp>
        <p:nvSpPr>
          <p:cNvPr id="46" name="TextBox 35">
            <a:extLst>
              <a:ext uri="{FF2B5EF4-FFF2-40B4-BE49-F238E27FC236}">
                <a16:creationId xmlns:a16="http://schemas.microsoft.com/office/drawing/2014/main" id="{C475E60A-6B9F-4214-8B02-B5A373D989DB}"/>
              </a:ext>
            </a:extLst>
          </p:cNvPr>
          <p:cNvSpPr txBox="1"/>
          <p:nvPr/>
        </p:nvSpPr>
        <p:spPr>
          <a:xfrm>
            <a:off x="4981966" y="1215271"/>
            <a:ext cx="1138453" cy="307777"/>
          </a:xfrm>
          <a:prstGeom prst="rect">
            <a:avLst/>
          </a:prstGeom>
          <a:noFill/>
        </p:spPr>
        <p:txBody>
          <a:bodyPr wrap="none" rtlCol="0">
            <a:spAutoFit/>
          </a:bodyPr>
          <a:lstStyle>
            <a:defPPr>
              <a:defRPr lang="en-US"/>
            </a:defPPr>
            <a:lvl1pPr algn="ctr">
              <a:defRPr sz="1600">
                <a:solidFill>
                  <a:schemeClr val="bg1"/>
                </a:solidFill>
                <a:latin typeface="+mj-lt"/>
              </a:defRPr>
            </a:lvl1pPr>
          </a:lstStyle>
          <a:p>
            <a:r>
              <a:rPr lang="en-US" sz="1400" b="1" dirty="0">
                <a:solidFill>
                  <a:schemeClr val="tx2"/>
                </a:solidFill>
                <a:latin typeface="+mn-lt"/>
              </a:rPr>
              <a:t>Knowledge</a:t>
            </a:r>
          </a:p>
        </p:txBody>
      </p:sp>
      <p:sp>
        <p:nvSpPr>
          <p:cNvPr id="47" name="TextBox 36">
            <a:extLst>
              <a:ext uri="{FF2B5EF4-FFF2-40B4-BE49-F238E27FC236}">
                <a16:creationId xmlns:a16="http://schemas.microsoft.com/office/drawing/2014/main" id="{AFB87F7F-A32B-4F8D-A5CD-29711E088A60}"/>
              </a:ext>
            </a:extLst>
          </p:cNvPr>
          <p:cNvSpPr txBox="1"/>
          <p:nvPr/>
        </p:nvSpPr>
        <p:spPr>
          <a:xfrm>
            <a:off x="7359800" y="1215270"/>
            <a:ext cx="880369" cy="307777"/>
          </a:xfrm>
          <a:prstGeom prst="rect">
            <a:avLst/>
          </a:prstGeom>
          <a:noFill/>
        </p:spPr>
        <p:txBody>
          <a:bodyPr wrap="none" rtlCol="0">
            <a:spAutoFit/>
          </a:bodyPr>
          <a:lstStyle>
            <a:defPPr>
              <a:defRPr lang="en-US"/>
            </a:defPPr>
            <a:lvl1pPr algn="ctr">
              <a:defRPr sz="1600">
                <a:solidFill>
                  <a:schemeClr val="bg1"/>
                </a:solidFill>
                <a:latin typeface="+mj-lt"/>
              </a:defRPr>
            </a:lvl1pPr>
          </a:lstStyle>
          <a:p>
            <a:r>
              <a:rPr lang="en-US" sz="1400" b="1" dirty="0">
                <a:solidFill>
                  <a:schemeClr val="tx2"/>
                </a:solidFill>
                <a:latin typeface="+mn-lt"/>
              </a:rPr>
              <a:t>Wisdom</a:t>
            </a:r>
          </a:p>
        </p:txBody>
      </p:sp>
    </p:spTree>
    <p:extLst>
      <p:ext uri="{BB962C8B-B14F-4D97-AF65-F5344CB8AC3E}">
        <p14:creationId xmlns:p14="http://schemas.microsoft.com/office/powerpoint/2010/main" val="928275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4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7"/>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34"/>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animBg="1"/>
      <p:bldP spid="22" grpId="0" uiExpand="1" animBg="1"/>
      <p:bldP spid="25" grpId="0" animBg="1"/>
      <p:bldP spid="27" grpId="0" animBg="1"/>
      <p:bldP spid="28" grpId="0" uiExpand="1" animBg="1"/>
      <p:bldP spid="32" grpId="0" animBg="1"/>
      <p:bldP spid="33" grpId="0" animBg="1"/>
      <p:bldP spid="34" grpId="0" animBg="1"/>
      <p:bldP spid="35" grpId="0" uiExpand="1" animBg="1"/>
      <p:bldP spid="36" grpId="0" uiExpand="1" animBg="1"/>
      <p:bldP spid="37" grpId="0" animBg="1"/>
      <p:bldP spid="38" grpId="0" animBg="1"/>
      <p:bldP spid="18" grpId="0" animBg="1"/>
      <p:bldP spid="19" grpId="0" animBg="1"/>
      <p:bldP spid="20" grpId="0" animBg="1"/>
      <p:bldP spid="23" grpId="0" animBg="1"/>
      <p:bldP spid="44" grpId="0"/>
      <p:bldP spid="45" grpId="0"/>
      <p:bldP spid="46" grpId="0"/>
      <p:bldP spid="4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Freeform 57"/>
          <p:cNvSpPr/>
          <p:nvPr/>
        </p:nvSpPr>
        <p:spPr>
          <a:xfrm>
            <a:off x="1294242" y="2060629"/>
            <a:ext cx="892970" cy="862340"/>
          </a:xfrm>
          <a:custGeom>
            <a:avLst/>
            <a:gdLst>
              <a:gd name="connsiteX0" fmla="*/ 952501 w 1905002"/>
              <a:gd name="connsiteY0" fmla="*/ 0 h 1839659"/>
              <a:gd name="connsiteX1" fmla="*/ 1905002 w 1905002"/>
              <a:gd name="connsiteY1" fmla="*/ 952501 h 1839659"/>
              <a:gd name="connsiteX2" fmla="*/ 1485054 w 1905002"/>
              <a:gd name="connsiteY2" fmla="*/ 1742330 h 1839659"/>
              <a:gd name="connsiteX3" fmla="*/ 1422965 w 1905002"/>
              <a:gd name="connsiteY3" fmla="*/ 1776030 h 1839659"/>
              <a:gd name="connsiteX4" fmla="*/ 1430325 w 1905002"/>
              <a:gd name="connsiteY4" fmla="*/ 1759284 h 1839659"/>
              <a:gd name="connsiteX5" fmla="*/ 1466594 w 1905002"/>
              <a:gd name="connsiteY5" fmla="*/ 1553520 h 1839659"/>
              <a:gd name="connsiteX6" fmla="*/ 1470256 w 1905002"/>
              <a:gd name="connsiteY6" fmla="*/ 1321606 h 1839659"/>
              <a:gd name="connsiteX7" fmla="*/ 1469774 w 1905002"/>
              <a:gd name="connsiteY7" fmla="*/ 1064189 h 1839659"/>
              <a:gd name="connsiteX8" fmla="*/ 1441207 w 1905002"/>
              <a:gd name="connsiteY8" fmla="*/ 994774 h 1839659"/>
              <a:gd name="connsiteX9" fmla="*/ 1371354 w 1905002"/>
              <a:gd name="connsiteY9" fmla="*/ 965765 h 1839659"/>
              <a:gd name="connsiteX10" fmla="*/ 1360659 w 1905002"/>
              <a:gd name="connsiteY10" fmla="*/ 965765 h 1839659"/>
              <a:gd name="connsiteX11" fmla="*/ 1291192 w 1905002"/>
              <a:gd name="connsiteY11" fmla="*/ 994774 h 1839659"/>
              <a:gd name="connsiteX12" fmla="*/ 1263010 w 1905002"/>
              <a:gd name="connsiteY12" fmla="*/ 1059886 h 1839659"/>
              <a:gd name="connsiteX13" fmla="*/ 1232082 w 1905002"/>
              <a:gd name="connsiteY13" fmla="*/ 1054705 h 1839659"/>
              <a:gd name="connsiteX14" fmla="*/ 1232082 w 1905002"/>
              <a:gd name="connsiteY14" fmla="*/ 1013423 h 1839659"/>
              <a:gd name="connsiteX15" fmla="*/ 1203226 w 1905002"/>
              <a:gd name="connsiteY15" fmla="*/ 943849 h 1839659"/>
              <a:gd name="connsiteX16" fmla="*/ 1133614 w 1905002"/>
              <a:gd name="connsiteY16" fmla="*/ 914999 h 1839659"/>
              <a:gd name="connsiteX17" fmla="*/ 1122534 w 1905002"/>
              <a:gd name="connsiteY17" fmla="*/ 914999 h 1839659"/>
              <a:gd name="connsiteX18" fmla="*/ 1053115 w 1905002"/>
              <a:gd name="connsiteY18" fmla="*/ 943849 h 1839659"/>
              <a:gd name="connsiteX19" fmla="*/ 1024500 w 1905002"/>
              <a:gd name="connsiteY19" fmla="*/ 1013423 h 1839659"/>
              <a:gd name="connsiteX20" fmla="*/ 1024500 w 1905002"/>
              <a:gd name="connsiteY20" fmla="*/ 1020197 h 1839659"/>
              <a:gd name="connsiteX21" fmla="*/ 993909 w 1905002"/>
              <a:gd name="connsiteY21" fmla="*/ 1015416 h 1839659"/>
              <a:gd name="connsiteX22" fmla="*/ 993909 w 1905002"/>
              <a:gd name="connsiteY22" fmla="*/ 949109 h 1839659"/>
              <a:gd name="connsiteX23" fmla="*/ 965101 w 1905002"/>
              <a:gd name="connsiteY23" fmla="*/ 879535 h 1839659"/>
              <a:gd name="connsiteX24" fmla="*/ 895489 w 1905002"/>
              <a:gd name="connsiteY24" fmla="*/ 850685 h 1839659"/>
              <a:gd name="connsiteX25" fmla="*/ 884795 w 1905002"/>
              <a:gd name="connsiteY25" fmla="*/ 850685 h 1839659"/>
              <a:gd name="connsiteX26" fmla="*/ 815183 w 1905002"/>
              <a:gd name="connsiteY26" fmla="*/ 879535 h 1839659"/>
              <a:gd name="connsiteX27" fmla="*/ 786375 w 1905002"/>
              <a:gd name="connsiteY27" fmla="*/ 949109 h 1839659"/>
              <a:gd name="connsiteX28" fmla="*/ 786375 w 1905002"/>
              <a:gd name="connsiteY28" fmla="*/ 980907 h 1839659"/>
              <a:gd name="connsiteX29" fmla="*/ 755784 w 1905002"/>
              <a:gd name="connsiteY29" fmla="*/ 975727 h 1839659"/>
              <a:gd name="connsiteX30" fmla="*/ 755784 w 1905002"/>
              <a:gd name="connsiteY30" fmla="*/ 439137 h 1839659"/>
              <a:gd name="connsiteX31" fmla="*/ 727217 w 1905002"/>
              <a:gd name="connsiteY31" fmla="*/ 369722 h 1839659"/>
              <a:gd name="connsiteX32" fmla="*/ 657364 w 1905002"/>
              <a:gd name="connsiteY32" fmla="*/ 340713 h 1839659"/>
              <a:gd name="connsiteX33" fmla="*/ 646669 w 1905002"/>
              <a:gd name="connsiteY33" fmla="*/ 340713 h 1839659"/>
              <a:gd name="connsiteX34" fmla="*/ 577202 w 1905002"/>
              <a:gd name="connsiteY34" fmla="*/ 369722 h 1839659"/>
              <a:gd name="connsiteX35" fmla="*/ 548250 w 1905002"/>
              <a:gd name="connsiteY35" fmla="*/ 439137 h 1839659"/>
              <a:gd name="connsiteX36" fmla="*/ 548250 w 1905002"/>
              <a:gd name="connsiteY36" fmla="*/ 942016 h 1839659"/>
              <a:gd name="connsiteX37" fmla="*/ 548250 w 1905002"/>
              <a:gd name="connsiteY37" fmla="*/ 1005055 h 1839659"/>
              <a:gd name="connsiteX38" fmla="*/ 548250 w 1905002"/>
              <a:gd name="connsiteY38" fmla="*/ 1259124 h 1839659"/>
              <a:gd name="connsiteX39" fmla="*/ 529992 w 1905002"/>
              <a:gd name="connsiteY39" fmla="*/ 1259523 h 1839659"/>
              <a:gd name="connsiteX40" fmla="*/ 445060 w 1905002"/>
              <a:gd name="connsiteY40" fmla="*/ 1317063 h 1839659"/>
              <a:gd name="connsiteX41" fmla="*/ 440291 w 1905002"/>
              <a:gd name="connsiteY41" fmla="*/ 1392455 h 1839659"/>
              <a:gd name="connsiteX42" fmla="*/ 558944 w 1905002"/>
              <a:gd name="connsiteY42" fmla="*/ 1733393 h 1839659"/>
              <a:gd name="connsiteX43" fmla="*/ 598188 w 1905002"/>
              <a:gd name="connsiteY43" fmla="*/ 1824465 h 1839659"/>
              <a:gd name="connsiteX44" fmla="*/ 607724 w 1905002"/>
              <a:gd name="connsiteY44" fmla="*/ 1839659 h 1839659"/>
              <a:gd name="connsiteX45" fmla="*/ 581745 w 1905002"/>
              <a:gd name="connsiteY45" fmla="*/ 1830150 h 1839659"/>
              <a:gd name="connsiteX46" fmla="*/ 0 w 1905002"/>
              <a:gd name="connsiteY46" fmla="*/ 952501 h 1839659"/>
              <a:gd name="connsiteX47" fmla="*/ 952501 w 1905002"/>
              <a:gd name="connsiteY47" fmla="*/ 0 h 183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905002" h="1839659">
                <a:moveTo>
                  <a:pt x="952501" y="0"/>
                </a:moveTo>
                <a:cubicBezTo>
                  <a:pt x="1478553" y="0"/>
                  <a:pt x="1905002" y="426449"/>
                  <a:pt x="1905002" y="952501"/>
                </a:cubicBezTo>
                <a:cubicBezTo>
                  <a:pt x="1905002" y="1281284"/>
                  <a:pt x="1738421" y="1571159"/>
                  <a:pt x="1485054" y="1742330"/>
                </a:cubicBezTo>
                <a:lnTo>
                  <a:pt x="1422965" y="1776030"/>
                </a:lnTo>
                <a:lnTo>
                  <a:pt x="1430325" y="1759284"/>
                </a:lnTo>
                <a:cubicBezTo>
                  <a:pt x="1451709" y="1693864"/>
                  <a:pt x="1461970" y="1623293"/>
                  <a:pt x="1466594" y="1553520"/>
                </a:cubicBezTo>
                <a:cubicBezTo>
                  <a:pt x="1471749" y="1476374"/>
                  <a:pt x="1470834" y="1398910"/>
                  <a:pt x="1470256" y="1321606"/>
                </a:cubicBezTo>
                <a:cubicBezTo>
                  <a:pt x="1469678" y="1235774"/>
                  <a:pt x="1469485" y="1150021"/>
                  <a:pt x="1469774" y="1064189"/>
                </a:cubicBezTo>
                <a:cubicBezTo>
                  <a:pt x="1469774" y="1037013"/>
                  <a:pt x="1459031" y="1012546"/>
                  <a:pt x="1441207" y="994774"/>
                </a:cubicBezTo>
                <a:cubicBezTo>
                  <a:pt x="1423430" y="977002"/>
                  <a:pt x="1398524" y="965765"/>
                  <a:pt x="1371354" y="965765"/>
                </a:cubicBezTo>
                <a:lnTo>
                  <a:pt x="1360659" y="965765"/>
                </a:lnTo>
                <a:cubicBezTo>
                  <a:pt x="1333489" y="965765"/>
                  <a:pt x="1309017" y="977002"/>
                  <a:pt x="1291192" y="994774"/>
                </a:cubicBezTo>
                <a:cubicBezTo>
                  <a:pt x="1274379" y="1011590"/>
                  <a:pt x="1264166" y="1034463"/>
                  <a:pt x="1263010" y="1059886"/>
                </a:cubicBezTo>
                <a:lnTo>
                  <a:pt x="1232082" y="1054705"/>
                </a:lnTo>
                <a:lnTo>
                  <a:pt x="1232082" y="1013423"/>
                </a:lnTo>
                <a:cubicBezTo>
                  <a:pt x="1232082" y="986247"/>
                  <a:pt x="1221050" y="961621"/>
                  <a:pt x="1203226" y="943849"/>
                </a:cubicBezTo>
                <a:cubicBezTo>
                  <a:pt x="1185402" y="925997"/>
                  <a:pt x="1160833" y="914999"/>
                  <a:pt x="1133614" y="914999"/>
                </a:cubicBezTo>
                <a:lnTo>
                  <a:pt x="1122534" y="914999"/>
                </a:lnTo>
                <a:cubicBezTo>
                  <a:pt x="1095364" y="914999"/>
                  <a:pt x="1070843" y="925997"/>
                  <a:pt x="1053115" y="943849"/>
                </a:cubicBezTo>
                <a:cubicBezTo>
                  <a:pt x="1035387" y="961621"/>
                  <a:pt x="1024500" y="986247"/>
                  <a:pt x="1024500" y="1013423"/>
                </a:cubicBezTo>
                <a:lnTo>
                  <a:pt x="1024500" y="1020197"/>
                </a:lnTo>
                <a:lnTo>
                  <a:pt x="993909" y="1015416"/>
                </a:lnTo>
                <a:lnTo>
                  <a:pt x="993909" y="949109"/>
                </a:lnTo>
                <a:cubicBezTo>
                  <a:pt x="993909" y="921933"/>
                  <a:pt x="982925" y="897307"/>
                  <a:pt x="965101" y="879535"/>
                </a:cubicBezTo>
                <a:cubicBezTo>
                  <a:pt x="947276" y="861683"/>
                  <a:pt x="922659" y="850685"/>
                  <a:pt x="895489" y="850685"/>
                </a:cubicBezTo>
                <a:lnTo>
                  <a:pt x="884795" y="850685"/>
                </a:lnTo>
                <a:cubicBezTo>
                  <a:pt x="857624" y="850685"/>
                  <a:pt x="833007" y="861683"/>
                  <a:pt x="815183" y="879535"/>
                </a:cubicBezTo>
                <a:cubicBezTo>
                  <a:pt x="797358" y="897307"/>
                  <a:pt x="786375" y="921933"/>
                  <a:pt x="786375" y="949109"/>
                </a:cubicBezTo>
                <a:lnTo>
                  <a:pt x="786375" y="980907"/>
                </a:lnTo>
                <a:lnTo>
                  <a:pt x="755784" y="975727"/>
                </a:lnTo>
                <a:lnTo>
                  <a:pt x="755784" y="439137"/>
                </a:lnTo>
                <a:cubicBezTo>
                  <a:pt x="755784" y="411961"/>
                  <a:pt x="745041" y="387494"/>
                  <a:pt x="727217" y="369722"/>
                </a:cubicBezTo>
                <a:cubicBezTo>
                  <a:pt x="709392" y="351870"/>
                  <a:pt x="684534" y="340713"/>
                  <a:pt x="657364" y="340713"/>
                </a:cubicBezTo>
                <a:lnTo>
                  <a:pt x="646669" y="340713"/>
                </a:lnTo>
                <a:cubicBezTo>
                  <a:pt x="619451" y="340713"/>
                  <a:pt x="595027" y="351870"/>
                  <a:pt x="577202" y="369722"/>
                </a:cubicBezTo>
                <a:cubicBezTo>
                  <a:pt x="559378" y="387494"/>
                  <a:pt x="548250" y="411961"/>
                  <a:pt x="548250" y="439137"/>
                </a:cubicBezTo>
                <a:lnTo>
                  <a:pt x="548250" y="942016"/>
                </a:lnTo>
                <a:lnTo>
                  <a:pt x="548250" y="1005055"/>
                </a:lnTo>
                <a:lnTo>
                  <a:pt x="548250" y="1259124"/>
                </a:lnTo>
                <a:cubicBezTo>
                  <a:pt x="542131" y="1258726"/>
                  <a:pt x="536013" y="1258806"/>
                  <a:pt x="529992" y="1259523"/>
                </a:cubicBezTo>
                <a:cubicBezTo>
                  <a:pt x="493765" y="1263428"/>
                  <a:pt x="461295" y="1284547"/>
                  <a:pt x="445060" y="1317063"/>
                </a:cubicBezTo>
                <a:cubicBezTo>
                  <a:pt x="433739" y="1339617"/>
                  <a:pt x="431186" y="1366793"/>
                  <a:pt x="440291" y="1392455"/>
                </a:cubicBezTo>
                <a:cubicBezTo>
                  <a:pt x="475796" y="1507456"/>
                  <a:pt x="515250" y="1621181"/>
                  <a:pt x="558944" y="1733393"/>
                </a:cubicBezTo>
                <a:cubicBezTo>
                  <a:pt x="570964" y="1764195"/>
                  <a:pt x="583477" y="1794957"/>
                  <a:pt x="598188" y="1824465"/>
                </a:cubicBezTo>
                <a:lnTo>
                  <a:pt x="607724" y="1839659"/>
                </a:lnTo>
                <a:lnTo>
                  <a:pt x="581745" y="1830150"/>
                </a:lnTo>
                <a:cubicBezTo>
                  <a:pt x="239878" y="1685553"/>
                  <a:pt x="0" y="1347040"/>
                  <a:pt x="0" y="952501"/>
                </a:cubicBezTo>
                <a:cubicBezTo>
                  <a:pt x="0" y="426449"/>
                  <a:pt x="426449" y="0"/>
                  <a:pt x="952501" y="0"/>
                </a:cubicBezTo>
                <a:close/>
              </a:path>
            </a:pathLst>
          </a:custGeom>
          <a:gradFill>
            <a:gsLst>
              <a:gs pos="0">
                <a:schemeClr val="tx2"/>
              </a:gs>
              <a:gs pos="100000">
                <a:schemeClr val="tx2">
                  <a:lumMod val="75000"/>
                </a:schemeClr>
              </a:gs>
            </a:gsLst>
            <a:lin ang="5400000" scaled="1"/>
          </a:gradFill>
          <a:ln w="12700" cap="flat">
            <a:noFill/>
            <a:miter lim="400000"/>
          </a:ln>
          <a:effectLst/>
        </p:spPr>
        <p:txBody>
          <a:bodyPr wrap="square" lIns="0" tIns="0" rIns="0" bIns="0" numCol="1" anchor="t">
            <a:noAutofit/>
          </a:bodyPr>
          <a:lstStyle/>
          <a:p>
            <a:pPr defTabSz="685800"/>
            <a:endParaRPr sz="844">
              <a:solidFill>
                <a:srgbClr val="53565A"/>
              </a:solidFill>
              <a:latin typeface="Arial"/>
            </a:endParaRPr>
          </a:p>
        </p:txBody>
      </p:sp>
      <p:sp>
        <p:nvSpPr>
          <p:cNvPr id="44" name="Rectangle 43"/>
          <p:cNvSpPr/>
          <p:nvPr/>
        </p:nvSpPr>
        <p:spPr>
          <a:xfrm>
            <a:off x="977761" y="3062111"/>
            <a:ext cx="1597055" cy="318677"/>
          </a:xfrm>
          <a:prstGeom prst="rect">
            <a:avLst/>
          </a:prstGeom>
        </p:spPr>
        <p:txBody>
          <a:bodyPr wrap="square">
            <a:spAutoFit/>
          </a:bodyPr>
          <a:lstStyle/>
          <a:p>
            <a:pPr algn="ctr" defTabSz="685800">
              <a:lnSpc>
                <a:spcPct val="120000"/>
              </a:lnSpc>
            </a:pPr>
            <a:r>
              <a:rPr lang="en-US" sz="1350" b="1" dirty="0">
                <a:solidFill>
                  <a:srgbClr val="53565A"/>
                </a:solidFill>
                <a:latin typeface="Arial"/>
                <a:cs typeface="Segoe UI" panose="020B0502040204020203" pitchFamily="34" charset="0"/>
              </a:rPr>
              <a:t>Structured</a:t>
            </a:r>
          </a:p>
        </p:txBody>
      </p:sp>
      <p:sp>
        <p:nvSpPr>
          <p:cNvPr id="37" name="TextBox 36"/>
          <p:cNvSpPr txBox="1"/>
          <p:nvPr/>
        </p:nvSpPr>
        <p:spPr>
          <a:xfrm>
            <a:off x="3221412" y="1108712"/>
            <a:ext cx="2877711" cy="646331"/>
          </a:xfrm>
          <a:prstGeom prst="rect">
            <a:avLst/>
          </a:prstGeom>
          <a:noFill/>
        </p:spPr>
        <p:txBody>
          <a:bodyPr wrap="none" rtlCol="0">
            <a:spAutoFit/>
          </a:bodyPr>
          <a:lstStyle/>
          <a:p>
            <a:pPr algn="ctr" defTabSz="685800"/>
            <a:r>
              <a:rPr lang="en-US" sz="3600" b="1" dirty="0">
                <a:solidFill>
                  <a:srgbClr val="007398"/>
                </a:solidFill>
                <a:latin typeface="Arial"/>
              </a:rPr>
              <a:t>Data Quality</a:t>
            </a:r>
          </a:p>
        </p:txBody>
      </p:sp>
      <p:sp>
        <p:nvSpPr>
          <p:cNvPr id="23" name="Rectángulo 22">
            <a:extLst>
              <a:ext uri="{FF2B5EF4-FFF2-40B4-BE49-F238E27FC236}">
                <a16:creationId xmlns:a16="http://schemas.microsoft.com/office/drawing/2014/main" id="{270BA22D-04FE-4959-B35D-BC36820500CD}"/>
              </a:ext>
            </a:extLst>
          </p:cNvPr>
          <p:cNvSpPr/>
          <p:nvPr/>
        </p:nvSpPr>
        <p:spPr>
          <a:xfrm>
            <a:off x="175222" y="3950482"/>
            <a:ext cx="1412975" cy="300082"/>
          </a:xfrm>
          <a:prstGeom prst="rect">
            <a:avLst/>
          </a:prstGeom>
        </p:spPr>
        <p:txBody>
          <a:bodyPr wrap="square">
            <a:spAutoFit/>
          </a:bodyPr>
          <a:lstStyle/>
          <a:p>
            <a:pPr algn="ctr" defTabSz="342892"/>
            <a:r>
              <a:rPr lang="en-US" sz="1350" dirty="0">
                <a:solidFill>
                  <a:srgbClr val="FF0000"/>
                </a:solidFill>
                <a:latin typeface="Brush Script MT" panose="03060802040406070304" pitchFamily="66" charset="0"/>
              </a:rPr>
              <a:t>SOB</a:t>
            </a:r>
          </a:p>
        </p:txBody>
      </p:sp>
      <p:sp>
        <p:nvSpPr>
          <p:cNvPr id="24" name="Rectángulo 23">
            <a:extLst>
              <a:ext uri="{FF2B5EF4-FFF2-40B4-BE49-F238E27FC236}">
                <a16:creationId xmlns:a16="http://schemas.microsoft.com/office/drawing/2014/main" id="{7F4FB2BD-DA5F-4EAD-A596-109930317A9B}"/>
              </a:ext>
            </a:extLst>
          </p:cNvPr>
          <p:cNvSpPr/>
          <p:nvPr/>
        </p:nvSpPr>
        <p:spPr>
          <a:xfrm>
            <a:off x="1482755" y="4294216"/>
            <a:ext cx="1874520" cy="300082"/>
          </a:xfrm>
          <a:prstGeom prst="rect">
            <a:avLst/>
          </a:prstGeom>
        </p:spPr>
        <p:txBody>
          <a:bodyPr wrap="square">
            <a:spAutoFit/>
          </a:bodyPr>
          <a:lstStyle/>
          <a:p>
            <a:pPr algn="ctr" defTabSz="342892"/>
            <a:r>
              <a:rPr lang="en-US" sz="1350" dirty="0">
                <a:solidFill>
                  <a:srgbClr val="FF0000"/>
                </a:solidFill>
                <a:latin typeface="Brush Script MT" panose="03060802040406070304" pitchFamily="66" charset="0"/>
              </a:rPr>
              <a:t>Short of Breath</a:t>
            </a:r>
          </a:p>
        </p:txBody>
      </p:sp>
      <p:sp>
        <p:nvSpPr>
          <p:cNvPr id="25" name="Rectángulo 24">
            <a:extLst>
              <a:ext uri="{FF2B5EF4-FFF2-40B4-BE49-F238E27FC236}">
                <a16:creationId xmlns:a16="http://schemas.microsoft.com/office/drawing/2014/main" id="{80A5BB34-ABE2-412C-8022-D7C58E5CB9E5}"/>
              </a:ext>
            </a:extLst>
          </p:cNvPr>
          <p:cNvSpPr/>
          <p:nvPr/>
        </p:nvSpPr>
        <p:spPr>
          <a:xfrm>
            <a:off x="814897" y="4950391"/>
            <a:ext cx="925830" cy="300082"/>
          </a:xfrm>
          <a:prstGeom prst="rect">
            <a:avLst/>
          </a:prstGeom>
        </p:spPr>
        <p:txBody>
          <a:bodyPr wrap="square">
            <a:spAutoFit/>
          </a:bodyPr>
          <a:lstStyle/>
          <a:p>
            <a:pPr algn="ctr" defTabSz="342892"/>
            <a:r>
              <a:rPr lang="en-US" sz="1350" dirty="0">
                <a:solidFill>
                  <a:srgbClr val="53565A"/>
                </a:solidFill>
                <a:latin typeface="Brush Script MT" panose="03060802040406070304" pitchFamily="66" charset="0"/>
              </a:rPr>
              <a:t>Dyspnea</a:t>
            </a:r>
          </a:p>
        </p:txBody>
      </p:sp>
      <p:sp>
        <p:nvSpPr>
          <p:cNvPr id="26" name="Rectángulo 25">
            <a:extLst>
              <a:ext uri="{FF2B5EF4-FFF2-40B4-BE49-F238E27FC236}">
                <a16:creationId xmlns:a16="http://schemas.microsoft.com/office/drawing/2014/main" id="{3F947FCF-1AA8-499B-BAD1-9905E860DCB7}"/>
              </a:ext>
            </a:extLst>
          </p:cNvPr>
          <p:cNvSpPr/>
          <p:nvPr/>
        </p:nvSpPr>
        <p:spPr>
          <a:xfrm>
            <a:off x="916427" y="4530301"/>
            <a:ext cx="1831370" cy="300082"/>
          </a:xfrm>
          <a:prstGeom prst="rect">
            <a:avLst/>
          </a:prstGeom>
        </p:spPr>
        <p:txBody>
          <a:bodyPr wrap="square">
            <a:spAutoFit/>
          </a:bodyPr>
          <a:lstStyle/>
          <a:p>
            <a:pPr algn="ctr" defTabSz="342892"/>
            <a:r>
              <a:rPr lang="en-US" sz="1350" dirty="0">
                <a:solidFill>
                  <a:srgbClr val="FF0000"/>
                </a:solidFill>
                <a:latin typeface="Brush Script MT" panose="03060802040406070304" pitchFamily="66" charset="0"/>
              </a:rPr>
              <a:t>Shortness of Breath</a:t>
            </a:r>
          </a:p>
        </p:txBody>
      </p:sp>
      <p:sp>
        <p:nvSpPr>
          <p:cNvPr id="27" name="Rectángulo 26">
            <a:extLst>
              <a:ext uri="{FF2B5EF4-FFF2-40B4-BE49-F238E27FC236}">
                <a16:creationId xmlns:a16="http://schemas.microsoft.com/office/drawing/2014/main" id="{1B55B2FE-19A0-45C9-BA8D-1EF0B7312F98}"/>
              </a:ext>
            </a:extLst>
          </p:cNvPr>
          <p:cNvSpPr/>
          <p:nvPr/>
        </p:nvSpPr>
        <p:spPr>
          <a:xfrm>
            <a:off x="1588196" y="3873686"/>
            <a:ext cx="925830" cy="300082"/>
          </a:xfrm>
          <a:prstGeom prst="rect">
            <a:avLst/>
          </a:prstGeom>
        </p:spPr>
        <p:txBody>
          <a:bodyPr wrap="square">
            <a:spAutoFit/>
          </a:bodyPr>
          <a:lstStyle/>
          <a:p>
            <a:pPr algn="ctr" defTabSz="342892"/>
            <a:r>
              <a:rPr lang="en-US" sz="1350" dirty="0">
                <a:solidFill>
                  <a:srgbClr val="53565A"/>
                </a:solidFill>
                <a:latin typeface="Brush Script MT" panose="03060802040406070304" pitchFamily="66" charset="0"/>
              </a:rPr>
              <a:t>Dyspneic</a:t>
            </a:r>
            <a:endParaRPr lang="es-MX" sz="1350" dirty="0">
              <a:solidFill>
                <a:srgbClr val="53565A"/>
              </a:solidFill>
              <a:latin typeface="Arial"/>
            </a:endParaRPr>
          </a:p>
        </p:txBody>
      </p:sp>
      <p:sp>
        <p:nvSpPr>
          <p:cNvPr id="28" name="Rectangle 43">
            <a:extLst>
              <a:ext uri="{FF2B5EF4-FFF2-40B4-BE49-F238E27FC236}">
                <a16:creationId xmlns:a16="http://schemas.microsoft.com/office/drawing/2014/main" id="{09C13C02-7F6C-421D-B127-38091E993635}"/>
              </a:ext>
            </a:extLst>
          </p:cNvPr>
          <p:cNvSpPr/>
          <p:nvPr/>
        </p:nvSpPr>
        <p:spPr>
          <a:xfrm>
            <a:off x="3715107" y="3060074"/>
            <a:ext cx="1597055" cy="318677"/>
          </a:xfrm>
          <a:prstGeom prst="rect">
            <a:avLst/>
          </a:prstGeom>
        </p:spPr>
        <p:txBody>
          <a:bodyPr wrap="square">
            <a:spAutoFit/>
          </a:bodyPr>
          <a:lstStyle/>
          <a:p>
            <a:pPr algn="ctr" defTabSz="685800">
              <a:lnSpc>
                <a:spcPct val="120000"/>
              </a:lnSpc>
            </a:pPr>
            <a:r>
              <a:rPr lang="en-US" sz="1350" b="1" dirty="0">
                <a:solidFill>
                  <a:srgbClr val="53565A"/>
                </a:solidFill>
                <a:latin typeface="Arial"/>
                <a:cs typeface="Segoe UI" panose="020B0502040204020203" pitchFamily="34" charset="0"/>
              </a:rPr>
              <a:t>In Context</a:t>
            </a:r>
          </a:p>
        </p:txBody>
      </p:sp>
      <p:sp>
        <p:nvSpPr>
          <p:cNvPr id="29" name="Freeform 58">
            <a:extLst>
              <a:ext uri="{FF2B5EF4-FFF2-40B4-BE49-F238E27FC236}">
                <a16:creationId xmlns:a16="http://schemas.microsoft.com/office/drawing/2014/main" id="{A4E0E237-0719-48D9-A99C-0E2FAAC7A571}"/>
              </a:ext>
            </a:extLst>
          </p:cNvPr>
          <p:cNvSpPr/>
          <p:nvPr/>
        </p:nvSpPr>
        <p:spPr>
          <a:xfrm>
            <a:off x="4067149" y="2060629"/>
            <a:ext cx="892970" cy="860303"/>
          </a:xfrm>
          <a:custGeom>
            <a:avLst/>
            <a:gdLst>
              <a:gd name="connsiteX0" fmla="*/ 952501 w 1905002"/>
              <a:gd name="connsiteY0" fmla="*/ 0 h 1835313"/>
              <a:gd name="connsiteX1" fmla="*/ 1905002 w 1905002"/>
              <a:gd name="connsiteY1" fmla="*/ 952501 h 1835313"/>
              <a:gd name="connsiteX2" fmla="*/ 1485053 w 1905002"/>
              <a:gd name="connsiteY2" fmla="*/ 1742330 h 1835313"/>
              <a:gd name="connsiteX3" fmla="*/ 1438507 w 1905002"/>
              <a:gd name="connsiteY3" fmla="*/ 1767595 h 1835313"/>
              <a:gd name="connsiteX4" fmla="*/ 1441756 w 1905002"/>
              <a:gd name="connsiteY4" fmla="*/ 1759983 h 1835313"/>
              <a:gd name="connsiteX5" fmla="*/ 1467609 w 1905002"/>
              <a:gd name="connsiteY5" fmla="*/ 1554138 h 1835313"/>
              <a:gd name="connsiteX6" fmla="*/ 1473149 w 1905002"/>
              <a:gd name="connsiteY6" fmla="*/ 1089575 h 1835313"/>
              <a:gd name="connsiteX7" fmla="*/ 1444574 w 1905002"/>
              <a:gd name="connsiteY7" fmla="*/ 1020195 h 1835313"/>
              <a:gd name="connsiteX8" fmla="*/ 1374741 w 1905002"/>
              <a:gd name="connsiteY8" fmla="*/ 991154 h 1835313"/>
              <a:gd name="connsiteX9" fmla="*/ 1364001 w 1905002"/>
              <a:gd name="connsiteY9" fmla="*/ 991154 h 1835313"/>
              <a:gd name="connsiteX10" fmla="*/ 1294556 w 1905002"/>
              <a:gd name="connsiteY10" fmla="*/ 1020195 h 1835313"/>
              <a:gd name="connsiteX11" fmla="*/ 1272736 w 1905002"/>
              <a:gd name="connsiteY11" fmla="*/ 1058239 h 1835313"/>
              <a:gd name="connsiteX12" fmla="*/ 1235414 w 1905002"/>
              <a:gd name="connsiteY12" fmla="*/ 1051530 h 1835313"/>
              <a:gd name="connsiteX13" fmla="*/ 1235414 w 1905002"/>
              <a:gd name="connsiteY13" fmla="*/ 1013398 h 1835313"/>
              <a:gd name="connsiteX14" fmla="*/ 1206596 w 1905002"/>
              <a:gd name="connsiteY14" fmla="*/ 943841 h 1835313"/>
              <a:gd name="connsiteX15" fmla="*/ 1137006 w 1905002"/>
              <a:gd name="connsiteY15" fmla="*/ 914977 h 1835313"/>
              <a:gd name="connsiteX16" fmla="*/ 1126266 w 1905002"/>
              <a:gd name="connsiteY16" fmla="*/ 914977 h 1835313"/>
              <a:gd name="connsiteX17" fmla="*/ 1056676 w 1905002"/>
              <a:gd name="connsiteY17" fmla="*/ 943841 h 1835313"/>
              <a:gd name="connsiteX18" fmla="*/ 1027858 w 1905002"/>
              <a:gd name="connsiteY18" fmla="*/ 1022931 h 1835313"/>
              <a:gd name="connsiteX19" fmla="*/ 990536 w 1905002"/>
              <a:gd name="connsiteY19" fmla="*/ 1018164 h 1835313"/>
              <a:gd name="connsiteX20" fmla="*/ 1031454 w 1905002"/>
              <a:gd name="connsiteY20" fmla="*/ 267695 h 1835313"/>
              <a:gd name="connsiteX21" fmla="*/ 1009974 w 1905002"/>
              <a:gd name="connsiteY21" fmla="*/ 195314 h 1835313"/>
              <a:gd name="connsiteX22" fmla="*/ 943737 w 1905002"/>
              <a:gd name="connsiteY22" fmla="*/ 159300 h 1835313"/>
              <a:gd name="connsiteX23" fmla="*/ 932997 w 1905002"/>
              <a:gd name="connsiteY23" fmla="*/ 158506 h 1835313"/>
              <a:gd name="connsiteX24" fmla="*/ 860686 w 1905002"/>
              <a:gd name="connsiteY24" fmla="*/ 179779 h 1835313"/>
              <a:gd name="connsiteX25" fmla="*/ 824676 w 1905002"/>
              <a:gd name="connsiteY25" fmla="*/ 245804 h 1835313"/>
              <a:gd name="connsiteX26" fmla="*/ 785361 w 1905002"/>
              <a:gd name="connsiteY26" fmla="*/ 984798 h 1835313"/>
              <a:gd name="connsiteX27" fmla="*/ 745998 w 1905002"/>
              <a:gd name="connsiteY27" fmla="*/ 980032 h 1835313"/>
              <a:gd name="connsiteX28" fmla="*/ 657989 w 1905002"/>
              <a:gd name="connsiteY28" fmla="*/ 429582 h 1835313"/>
              <a:gd name="connsiteX29" fmla="*/ 622271 w 1905002"/>
              <a:gd name="connsiteY29" fmla="*/ 363291 h 1835313"/>
              <a:gd name="connsiteX30" fmla="*/ 550007 w 1905002"/>
              <a:gd name="connsiteY30" fmla="*/ 341842 h 1835313"/>
              <a:gd name="connsiteX31" fmla="*/ 539316 w 1905002"/>
              <a:gd name="connsiteY31" fmla="*/ 343078 h 1835313"/>
              <a:gd name="connsiteX32" fmla="*/ 473030 w 1905002"/>
              <a:gd name="connsiteY32" fmla="*/ 379180 h 1835313"/>
              <a:gd name="connsiteX33" fmla="*/ 451599 w 1905002"/>
              <a:gd name="connsiteY33" fmla="*/ 451032 h 1835313"/>
              <a:gd name="connsiteX34" fmla="*/ 564295 w 1905002"/>
              <a:gd name="connsiteY34" fmla="*/ 1246342 h 1835313"/>
              <a:gd name="connsiteX35" fmla="*/ 435708 w 1905002"/>
              <a:gd name="connsiteY35" fmla="*/ 1317046 h 1835313"/>
              <a:gd name="connsiteX36" fmla="*/ 430946 w 1905002"/>
              <a:gd name="connsiteY36" fmla="*/ 1392428 h 1835313"/>
              <a:gd name="connsiteX37" fmla="*/ 550007 w 1905002"/>
              <a:gd name="connsiteY37" fmla="*/ 1733325 h 1835313"/>
              <a:gd name="connsiteX38" fmla="*/ 589031 w 1905002"/>
              <a:gd name="connsiteY38" fmla="*/ 1824409 h 1835313"/>
              <a:gd name="connsiteX39" fmla="*/ 595851 w 1905002"/>
              <a:gd name="connsiteY39" fmla="*/ 1835313 h 1835313"/>
              <a:gd name="connsiteX40" fmla="*/ 581745 w 1905002"/>
              <a:gd name="connsiteY40" fmla="*/ 1830150 h 1835313"/>
              <a:gd name="connsiteX41" fmla="*/ 0 w 1905002"/>
              <a:gd name="connsiteY41" fmla="*/ 952501 h 1835313"/>
              <a:gd name="connsiteX42" fmla="*/ 952501 w 1905002"/>
              <a:gd name="connsiteY42" fmla="*/ 0 h 183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905002" h="1835313">
                <a:moveTo>
                  <a:pt x="952501" y="0"/>
                </a:moveTo>
                <a:cubicBezTo>
                  <a:pt x="1478553" y="0"/>
                  <a:pt x="1905002" y="426449"/>
                  <a:pt x="1905002" y="952501"/>
                </a:cubicBezTo>
                <a:cubicBezTo>
                  <a:pt x="1905002" y="1281284"/>
                  <a:pt x="1738420" y="1571159"/>
                  <a:pt x="1485053" y="1742330"/>
                </a:cubicBezTo>
                <a:lnTo>
                  <a:pt x="1438507" y="1767595"/>
                </a:lnTo>
                <a:lnTo>
                  <a:pt x="1441756" y="1759983"/>
                </a:lnTo>
                <a:cubicBezTo>
                  <a:pt x="1463430" y="1694222"/>
                  <a:pt x="1465908" y="1623694"/>
                  <a:pt x="1467609" y="1554138"/>
                </a:cubicBezTo>
                <a:cubicBezTo>
                  <a:pt x="1471448" y="1399313"/>
                  <a:pt x="1473295" y="1244488"/>
                  <a:pt x="1473149" y="1089575"/>
                </a:cubicBezTo>
                <a:cubicBezTo>
                  <a:pt x="1473149" y="1062387"/>
                  <a:pt x="1462409" y="1037937"/>
                  <a:pt x="1444574" y="1020195"/>
                </a:cubicBezTo>
                <a:cubicBezTo>
                  <a:pt x="1426788" y="1002364"/>
                  <a:pt x="1401906" y="991154"/>
                  <a:pt x="1374741" y="991154"/>
                </a:cubicBezTo>
                <a:lnTo>
                  <a:pt x="1364001" y="991154"/>
                </a:lnTo>
                <a:cubicBezTo>
                  <a:pt x="1336787" y="990801"/>
                  <a:pt x="1312003" y="1001834"/>
                  <a:pt x="1294556" y="1020195"/>
                </a:cubicBezTo>
                <a:cubicBezTo>
                  <a:pt x="1284302" y="1030875"/>
                  <a:pt x="1277159" y="1043763"/>
                  <a:pt x="1272736" y="1058239"/>
                </a:cubicBezTo>
                <a:lnTo>
                  <a:pt x="1235414" y="1051530"/>
                </a:lnTo>
                <a:lnTo>
                  <a:pt x="1235414" y="1013398"/>
                </a:lnTo>
                <a:cubicBezTo>
                  <a:pt x="1235414" y="986211"/>
                  <a:pt x="1224431" y="961583"/>
                  <a:pt x="1206596" y="943841"/>
                </a:cubicBezTo>
                <a:cubicBezTo>
                  <a:pt x="1188810" y="926011"/>
                  <a:pt x="1164172" y="914977"/>
                  <a:pt x="1137006" y="914977"/>
                </a:cubicBezTo>
                <a:lnTo>
                  <a:pt x="1126266" y="914977"/>
                </a:lnTo>
                <a:cubicBezTo>
                  <a:pt x="1099149" y="914977"/>
                  <a:pt x="1074511" y="926011"/>
                  <a:pt x="1056676" y="943841"/>
                </a:cubicBezTo>
                <a:cubicBezTo>
                  <a:pt x="1036508" y="963967"/>
                  <a:pt x="1025185" y="992478"/>
                  <a:pt x="1027858" y="1022931"/>
                </a:cubicBezTo>
                <a:lnTo>
                  <a:pt x="990536" y="1018164"/>
                </a:lnTo>
                <a:lnTo>
                  <a:pt x="1031454" y="267695"/>
                </a:lnTo>
                <a:cubicBezTo>
                  <a:pt x="1034273" y="240597"/>
                  <a:pt x="1025866" y="214998"/>
                  <a:pt x="1009974" y="195314"/>
                </a:cubicBezTo>
                <a:cubicBezTo>
                  <a:pt x="994083" y="175718"/>
                  <a:pt x="970757" y="162125"/>
                  <a:pt x="943737" y="159300"/>
                </a:cubicBezTo>
                <a:lnTo>
                  <a:pt x="932997" y="158506"/>
                </a:lnTo>
                <a:cubicBezTo>
                  <a:pt x="905978" y="155681"/>
                  <a:pt x="880319" y="163978"/>
                  <a:pt x="860686" y="179779"/>
                </a:cubicBezTo>
                <a:cubicBezTo>
                  <a:pt x="841101" y="195579"/>
                  <a:pt x="827494" y="218794"/>
                  <a:pt x="824676" y="245804"/>
                </a:cubicBezTo>
                <a:lnTo>
                  <a:pt x="785361" y="984798"/>
                </a:lnTo>
                <a:lnTo>
                  <a:pt x="745998" y="980032"/>
                </a:lnTo>
                <a:lnTo>
                  <a:pt x="657989" y="429582"/>
                </a:lnTo>
                <a:cubicBezTo>
                  <a:pt x="655122" y="402571"/>
                  <a:pt x="641855" y="379180"/>
                  <a:pt x="622271" y="363291"/>
                </a:cubicBezTo>
                <a:cubicBezTo>
                  <a:pt x="602686" y="347491"/>
                  <a:pt x="577076" y="339017"/>
                  <a:pt x="550007" y="341842"/>
                </a:cubicBezTo>
                <a:lnTo>
                  <a:pt x="539316" y="343078"/>
                </a:lnTo>
                <a:cubicBezTo>
                  <a:pt x="512296" y="345902"/>
                  <a:pt x="488873" y="359584"/>
                  <a:pt x="473030" y="379180"/>
                </a:cubicBezTo>
                <a:cubicBezTo>
                  <a:pt x="457188" y="398776"/>
                  <a:pt x="448781" y="424021"/>
                  <a:pt x="451599" y="451032"/>
                </a:cubicBezTo>
                <a:lnTo>
                  <a:pt x="564295" y="1246342"/>
                </a:lnTo>
                <a:cubicBezTo>
                  <a:pt x="510304" y="1237603"/>
                  <a:pt x="457285" y="1266732"/>
                  <a:pt x="435708" y="1317046"/>
                </a:cubicBezTo>
                <a:cubicBezTo>
                  <a:pt x="425746" y="1340260"/>
                  <a:pt x="423608" y="1366918"/>
                  <a:pt x="430946" y="1392428"/>
                </a:cubicBezTo>
                <a:cubicBezTo>
                  <a:pt x="466470" y="1507355"/>
                  <a:pt x="506513" y="1621046"/>
                  <a:pt x="550007" y="1733325"/>
                </a:cubicBezTo>
                <a:cubicBezTo>
                  <a:pt x="561962" y="1764131"/>
                  <a:pt x="574391" y="1794893"/>
                  <a:pt x="589031" y="1824409"/>
                </a:cubicBezTo>
                <a:lnTo>
                  <a:pt x="595851" y="1835313"/>
                </a:lnTo>
                <a:lnTo>
                  <a:pt x="581745" y="1830150"/>
                </a:lnTo>
                <a:cubicBezTo>
                  <a:pt x="239878" y="1685553"/>
                  <a:pt x="0" y="1347040"/>
                  <a:pt x="0" y="952501"/>
                </a:cubicBezTo>
                <a:cubicBezTo>
                  <a:pt x="0" y="426449"/>
                  <a:pt x="426449" y="0"/>
                  <a:pt x="952501" y="0"/>
                </a:cubicBezTo>
                <a:close/>
              </a:path>
            </a:pathLst>
          </a:custGeom>
          <a:gradFill>
            <a:gsLst>
              <a:gs pos="0">
                <a:schemeClr val="accent3"/>
              </a:gs>
              <a:gs pos="100000">
                <a:schemeClr val="accent3">
                  <a:lumMod val="75000"/>
                </a:schemeClr>
              </a:gs>
            </a:gsLst>
            <a:lin ang="5400000" scaled="1"/>
          </a:gradFill>
          <a:ln w="12700" cap="flat">
            <a:noFill/>
            <a:miter lim="400000"/>
          </a:ln>
          <a:effectLst/>
        </p:spPr>
        <p:txBody>
          <a:bodyPr wrap="square" lIns="0" tIns="0" rIns="0" bIns="0" numCol="1" anchor="t">
            <a:noAutofit/>
          </a:bodyPr>
          <a:lstStyle/>
          <a:p>
            <a:pPr defTabSz="685800"/>
            <a:endParaRPr sz="844">
              <a:solidFill>
                <a:srgbClr val="53565A"/>
              </a:solidFill>
              <a:latin typeface="Arial"/>
            </a:endParaRPr>
          </a:p>
        </p:txBody>
      </p:sp>
      <p:sp>
        <p:nvSpPr>
          <p:cNvPr id="30" name="Rectangle 6">
            <a:extLst>
              <a:ext uri="{FF2B5EF4-FFF2-40B4-BE49-F238E27FC236}">
                <a16:creationId xmlns:a16="http://schemas.microsoft.com/office/drawing/2014/main" id="{A2886181-8455-461C-AE6F-867820A80863}"/>
              </a:ext>
            </a:extLst>
          </p:cNvPr>
          <p:cNvSpPr/>
          <p:nvPr/>
        </p:nvSpPr>
        <p:spPr>
          <a:xfrm>
            <a:off x="3715107" y="3429000"/>
            <a:ext cx="2800350" cy="2169825"/>
          </a:xfrm>
          <a:prstGeom prst="rect">
            <a:avLst/>
          </a:prstGeom>
        </p:spPr>
        <p:txBody>
          <a:bodyPr wrap="square">
            <a:spAutoFit/>
          </a:bodyPr>
          <a:lstStyle/>
          <a:p>
            <a:pPr defTabSz="342892"/>
            <a:r>
              <a:rPr lang="en-US" sz="1350" b="1" dirty="0">
                <a:solidFill>
                  <a:srgbClr val="53565A"/>
                </a:solidFill>
                <a:latin typeface="Arial"/>
              </a:rPr>
              <a:t>Respiratory Rhythm/Pattern</a:t>
            </a:r>
          </a:p>
          <a:p>
            <a:pPr marL="214308" indent="-214308" defTabSz="342892">
              <a:buFont typeface="Wingdings" panose="05000000000000000000" pitchFamily="2" charset="2"/>
              <a:buChar char="q"/>
            </a:pPr>
            <a:r>
              <a:rPr lang="es-MX" sz="1350" dirty="0">
                <a:solidFill>
                  <a:srgbClr val="53565A"/>
                </a:solidFill>
                <a:latin typeface="Arial"/>
              </a:rPr>
              <a:t>apnea</a:t>
            </a:r>
          </a:p>
          <a:p>
            <a:pPr marL="214308" indent="-214308" defTabSz="342892">
              <a:buFont typeface="Wingdings" panose="05000000000000000000" pitchFamily="2" charset="2"/>
              <a:buChar char="q"/>
            </a:pPr>
            <a:r>
              <a:rPr lang="es-MX" sz="1350" dirty="0" err="1">
                <a:latin typeface="Arial"/>
              </a:rPr>
              <a:t>dyspnea</a:t>
            </a:r>
            <a:endParaRPr lang="es-MX" sz="1350" dirty="0">
              <a:latin typeface="Arial"/>
            </a:endParaRPr>
          </a:p>
          <a:p>
            <a:pPr marL="214308" indent="-214308" defTabSz="342892">
              <a:buFont typeface="Wingdings" panose="05000000000000000000" pitchFamily="2" charset="2"/>
              <a:buChar char="q"/>
            </a:pPr>
            <a:r>
              <a:rPr lang="es-MX" sz="1350" dirty="0" err="1">
                <a:solidFill>
                  <a:srgbClr val="53565A"/>
                </a:solidFill>
                <a:latin typeface="Arial"/>
              </a:rPr>
              <a:t>bradyapneic</a:t>
            </a:r>
            <a:endParaRPr lang="es-MX" sz="1350" dirty="0">
              <a:solidFill>
                <a:srgbClr val="53565A"/>
              </a:solidFill>
              <a:latin typeface="Arial"/>
            </a:endParaRPr>
          </a:p>
          <a:p>
            <a:pPr marL="214308" indent="-214308" defTabSz="342892">
              <a:buFont typeface="Wingdings" panose="05000000000000000000" pitchFamily="2" charset="2"/>
              <a:buChar char="q"/>
            </a:pPr>
            <a:r>
              <a:rPr lang="es-MX" sz="1350" dirty="0" err="1">
                <a:solidFill>
                  <a:srgbClr val="53565A"/>
                </a:solidFill>
                <a:latin typeface="Arial"/>
              </a:rPr>
              <a:t>adequate</a:t>
            </a:r>
            <a:r>
              <a:rPr lang="es-MX" sz="1350" dirty="0">
                <a:solidFill>
                  <a:srgbClr val="53565A"/>
                </a:solidFill>
                <a:latin typeface="Arial"/>
              </a:rPr>
              <a:t> </a:t>
            </a:r>
            <a:r>
              <a:rPr lang="es-MX" sz="1350" dirty="0" err="1">
                <a:solidFill>
                  <a:srgbClr val="53565A"/>
                </a:solidFill>
                <a:latin typeface="Arial"/>
              </a:rPr>
              <a:t>chest</a:t>
            </a:r>
            <a:r>
              <a:rPr lang="es-MX" sz="1350" dirty="0">
                <a:solidFill>
                  <a:srgbClr val="53565A"/>
                </a:solidFill>
                <a:latin typeface="Arial"/>
              </a:rPr>
              <a:t> </a:t>
            </a:r>
            <a:r>
              <a:rPr lang="es-MX" sz="1350" dirty="0" err="1">
                <a:solidFill>
                  <a:srgbClr val="53565A"/>
                </a:solidFill>
                <a:latin typeface="Arial"/>
              </a:rPr>
              <a:t>movement</a:t>
            </a:r>
            <a:endParaRPr lang="es-MX" sz="1350" dirty="0">
              <a:solidFill>
                <a:srgbClr val="53565A"/>
              </a:solidFill>
              <a:latin typeface="Arial"/>
            </a:endParaRPr>
          </a:p>
          <a:p>
            <a:pPr marL="214308" indent="-214308" defTabSz="342892">
              <a:buFont typeface="Wingdings" panose="05000000000000000000" pitchFamily="2" charset="2"/>
              <a:buChar char="q"/>
            </a:pPr>
            <a:r>
              <a:rPr lang="es-MX" sz="1350" dirty="0" err="1">
                <a:solidFill>
                  <a:srgbClr val="53565A"/>
                </a:solidFill>
                <a:latin typeface="Arial"/>
              </a:rPr>
              <a:t>hiccups</a:t>
            </a:r>
            <a:endParaRPr lang="es-MX" sz="1350" dirty="0">
              <a:solidFill>
                <a:srgbClr val="53565A"/>
              </a:solidFill>
              <a:latin typeface="Arial"/>
            </a:endParaRPr>
          </a:p>
          <a:p>
            <a:pPr marL="214308" indent="-214308" defTabSz="342892">
              <a:buFont typeface="Wingdings" panose="05000000000000000000" pitchFamily="2" charset="2"/>
              <a:buChar char="q"/>
            </a:pPr>
            <a:r>
              <a:rPr lang="es-MX" sz="1350" dirty="0">
                <a:solidFill>
                  <a:srgbClr val="53565A"/>
                </a:solidFill>
                <a:latin typeface="Arial"/>
              </a:rPr>
              <a:t>irregular</a:t>
            </a:r>
          </a:p>
          <a:p>
            <a:pPr marL="214308" indent="-214308" defTabSz="342892">
              <a:buFont typeface="Wingdings" panose="05000000000000000000" pitchFamily="2" charset="2"/>
              <a:buChar char="q"/>
            </a:pPr>
            <a:r>
              <a:rPr lang="es-MX" sz="1350" dirty="0" err="1">
                <a:solidFill>
                  <a:srgbClr val="FF0000"/>
                </a:solidFill>
                <a:latin typeface="Arial"/>
              </a:rPr>
              <a:t>shortness</a:t>
            </a:r>
            <a:r>
              <a:rPr lang="es-MX" sz="1350" dirty="0">
                <a:solidFill>
                  <a:srgbClr val="FF0000"/>
                </a:solidFill>
                <a:latin typeface="Arial"/>
              </a:rPr>
              <a:t> </a:t>
            </a:r>
            <a:r>
              <a:rPr lang="es-MX" sz="1350" dirty="0" err="1">
                <a:solidFill>
                  <a:srgbClr val="FF0000"/>
                </a:solidFill>
                <a:latin typeface="Arial"/>
              </a:rPr>
              <a:t>of</a:t>
            </a:r>
            <a:r>
              <a:rPr lang="es-MX" sz="1350" dirty="0">
                <a:solidFill>
                  <a:srgbClr val="FF0000"/>
                </a:solidFill>
                <a:latin typeface="Arial"/>
              </a:rPr>
              <a:t> </a:t>
            </a:r>
            <a:r>
              <a:rPr lang="es-MX" sz="1350" dirty="0" err="1">
                <a:solidFill>
                  <a:srgbClr val="FF0000"/>
                </a:solidFill>
                <a:latin typeface="Arial"/>
              </a:rPr>
              <a:t>breath</a:t>
            </a:r>
            <a:endParaRPr lang="es-MX" sz="1350" dirty="0">
              <a:solidFill>
                <a:srgbClr val="FF0000"/>
              </a:solidFill>
              <a:latin typeface="Arial"/>
            </a:endParaRPr>
          </a:p>
          <a:p>
            <a:pPr marL="214308" indent="-214308" defTabSz="342892">
              <a:buFont typeface="Wingdings" panose="05000000000000000000" pitchFamily="2" charset="2"/>
              <a:buChar char="q"/>
            </a:pPr>
            <a:r>
              <a:rPr lang="es-MX" sz="1350" dirty="0" err="1">
                <a:solidFill>
                  <a:srgbClr val="53565A"/>
                </a:solidFill>
                <a:latin typeface="Arial"/>
              </a:rPr>
              <a:t>mechanical</a:t>
            </a:r>
            <a:r>
              <a:rPr lang="es-MX" sz="1350" dirty="0">
                <a:solidFill>
                  <a:srgbClr val="53565A"/>
                </a:solidFill>
                <a:latin typeface="Arial"/>
              </a:rPr>
              <a:t> </a:t>
            </a:r>
            <a:r>
              <a:rPr lang="es-MX" sz="1350" dirty="0" err="1">
                <a:solidFill>
                  <a:srgbClr val="53565A"/>
                </a:solidFill>
                <a:latin typeface="Arial"/>
              </a:rPr>
              <a:t>assistance</a:t>
            </a:r>
            <a:endParaRPr lang="es-MX" sz="1350" dirty="0">
              <a:solidFill>
                <a:srgbClr val="53565A"/>
              </a:solidFill>
              <a:latin typeface="Arial"/>
            </a:endParaRPr>
          </a:p>
          <a:p>
            <a:pPr defTabSz="342892"/>
            <a:endParaRPr lang="es-MX" sz="1350" dirty="0">
              <a:solidFill>
                <a:srgbClr val="53565A"/>
              </a:solidFill>
              <a:latin typeface="Arial"/>
            </a:endParaRPr>
          </a:p>
        </p:txBody>
      </p:sp>
      <p:sp>
        <p:nvSpPr>
          <p:cNvPr id="3" name="Rectángulo 2">
            <a:extLst>
              <a:ext uri="{FF2B5EF4-FFF2-40B4-BE49-F238E27FC236}">
                <a16:creationId xmlns:a16="http://schemas.microsoft.com/office/drawing/2014/main" id="{371D4340-7027-4CFD-8BF7-452E3B7E4DE0}"/>
              </a:ext>
            </a:extLst>
          </p:cNvPr>
          <p:cNvSpPr/>
          <p:nvPr/>
        </p:nvSpPr>
        <p:spPr>
          <a:xfrm>
            <a:off x="62089" y="3710080"/>
            <a:ext cx="3357276" cy="2240606"/>
          </a:xfrm>
          <a:prstGeom prst="rect">
            <a:avLst/>
          </a:prstGeom>
          <a:solidFill>
            <a:schemeClr val="bg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685800"/>
            <a:endParaRPr lang="es-MX" sz="1350" dirty="0">
              <a:solidFill>
                <a:srgbClr val="53565A"/>
              </a:solidFill>
              <a:latin typeface="Arial"/>
            </a:endParaRPr>
          </a:p>
        </p:txBody>
      </p:sp>
    </p:spTree>
    <p:extLst>
      <p:ext uri="{BB962C8B-B14F-4D97-AF65-F5344CB8AC3E}">
        <p14:creationId xmlns:p14="http://schemas.microsoft.com/office/powerpoint/2010/main" val="56493277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0" nodeType="clickEffect">
                                  <p:stCondLst>
                                    <p:cond delay="0"/>
                                  </p:stCondLst>
                                  <p:childTnLst>
                                    <p:animEffect transition="out" filter="fade">
                                      <p:cBhvr>
                                        <p:cTn id="14" dur="500"/>
                                        <p:tgtEl>
                                          <p:spTgt spid="23"/>
                                        </p:tgtEl>
                                      </p:cBhvr>
                                    </p:animEffect>
                                    <p:set>
                                      <p:cBhvr>
                                        <p:cTn id="15" dur="1" fill="hold">
                                          <p:stCondLst>
                                            <p:cond delay="499"/>
                                          </p:stCondLst>
                                        </p:cTn>
                                        <p:tgtEl>
                                          <p:spTgt spid="23"/>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24"/>
                                        </p:tgtEl>
                                      </p:cBhvr>
                                    </p:animEffect>
                                    <p:set>
                                      <p:cBhvr>
                                        <p:cTn id="18" dur="1" fill="hold">
                                          <p:stCondLst>
                                            <p:cond delay="499"/>
                                          </p:stCondLst>
                                        </p:cTn>
                                        <p:tgtEl>
                                          <p:spTgt spid="24"/>
                                        </p:tgtEl>
                                        <p:attrNameLst>
                                          <p:attrName>style.visibility</p:attrName>
                                        </p:attrNameLst>
                                      </p:cBhvr>
                                      <p:to>
                                        <p:strVal val="hidden"/>
                                      </p:to>
                                    </p:set>
                                  </p:childTnLst>
                                </p:cTn>
                              </p:par>
                              <p:par>
                                <p:cTn id="19" presetID="15" presetClass="emph" presetSubtype="0" grpId="0" nodeType="withEffect">
                                  <p:stCondLst>
                                    <p:cond delay="0"/>
                                  </p:stCondLst>
                                  <p:iterate type="lt">
                                    <p:tmAbs val="25"/>
                                  </p:iterate>
                                  <p:childTnLst>
                                    <p:set>
                                      <p:cBhvr override="childStyle">
                                        <p:cTn id="20" dur="indefinite"/>
                                        <p:tgtEl>
                                          <p:spTgt spid="26"/>
                                        </p:tgtEl>
                                        <p:attrNameLst>
                                          <p:attrName>style.fontWeight</p:attrName>
                                        </p:attrNameLst>
                                      </p:cBhvr>
                                      <p:to>
                                        <p:strVal val="bold"/>
                                      </p:to>
                                    </p:set>
                                  </p:childTnLst>
                                </p:cTn>
                              </p:par>
                              <p:par>
                                <p:cTn id="21" presetID="10" presetClass="exit" presetSubtype="0" fill="hold" grpId="0" nodeType="withEffect">
                                  <p:stCondLst>
                                    <p:cond delay="0"/>
                                  </p:stCondLst>
                                  <p:childTnLst>
                                    <p:animEffect transition="out" filter="fade">
                                      <p:cBhvr>
                                        <p:cTn id="22" dur="500"/>
                                        <p:tgtEl>
                                          <p:spTgt spid="27"/>
                                        </p:tgtEl>
                                      </p:cBhvr>
                                    </p:animEffect>
                                    <p:set>
                                      <p:cBhvr>
                                        <p:cTn id="23" dur="1" fill="hold">
                                          <p:stCondLst>
                                            <p:cond delay="499"/>
                                          </p:stCondLst>
                                        </p:cTn>
                                        <p:tgtEl>
                                          <p:spTgt spid="27"/>
                                        </p:tgtEl>
                                        <p:attrNameLst>
                                          <p:attrName>style.visibility</p:attrName>
                                        </p:attrNameLst>
                                      </p:cBhvr>
                                      <p:to>
                                        <p:strVal val="hidden"/>
                                      </p:to>
                                    </p:set>
                                  </p:childTnLst>
                                </p:cTn>
                              </p:par>
                              <p:par>
                                <p:cTn id="24" presetID="15" presetClass="emph" presetSubtype="0" grpId="0" nodeType="withEffect">
                                  <p:stCondLst>
                                    <p:cond delay="0"/>
                                  </p:stCondLst>
                                  <p:iterate type="lt">
                                    <p:tmAbs val="25"/>
                                  </p:iterate>
                                  <p:childTnLst>
                                    <p:set>
                                      <p:cBhvr override="childStyle">
                                        <p:cTn id="25" dur="indefinite"/>
                                        <p:tgtEl>
                                          <p:spTgt spid="25"/>
                                        </p:tgtEl>
                                        <p:attrNameLst>
                                          <p:attrName>style.fontWeight</p:attrName>
                                        </p:attrNameLst>
                                      </p:cBhvr>
                                      <p:to>
                                        <p:strVal val="bold"/>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2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44" grpId="0"/>
      <p:bldP spid="23" grpId="0"/>
      <p:bldP spid="24" grpId="0"/>
      <p:bldP spid="25" grpId="0"/>
      <p:bldP spid="26" grpId="0"/>
      <p:bldP spid="27" grpId="0"/>
      <p:bldP spid="28" grpId="0"/>
      <p:bldP spid="29" grpId="0" animBg="1"/>
      <p:bldP spid="30" grpId="0"/>
      <p:bldP spid="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a:xfrm>
            <a:off x="145981" y="3039251"/>
            <a:ext cx="2049035" cy="590931"/>
          </a:xfrm>
          <a:prstGeom prst="rect">
            <a:avLst/>
          </a:prstGeom>
        </p:spPr>
        <p:txBody>
          <a:bodyPr wrap="square">
            <a:spAutoFit/>
          </a:bodyPr>
          <a:lstStyle/>
          <a:p>
            <a:pPr algn="ctr" defTabSz="685800">
              <a:lnSpc>
                <a:spcPct val="120000"/>
              </a:lnSpc>
            </a:pPr>
            <a:r>
              <a:rPr lang="en-US" sz="1350" b="1" dirty="0">
                <a:solidFill>
                  <a:srgbClr val="53565A"/>
                </a:solidFill>
                <a:latin typeface="Arial"/>
                <a:cs typeface="Segoe UI" panose="020B0502040204020203" pitchFamily="34" charset="0"/>
              </a:rPr>
              <a:t>Connections and context of the data</a:t>
            </a:r>
          </a:p>
        </p:txBody>
      </p:sp>
      <p:sp>
        <p:nvSpPr>
          <p:cNvPr id="37" name="TextBox 36"/>
          <p:cNvSpPr txBox="1"/>
          <p:nvPr/>
        </p:nvSpPr>
        <p:spPr>
          <a:xfrm>
            <a:off x="3221409" y="1108712"/>
            <a:ext cx="2877711" cy="646331"/>
          </a:xfrm>
          <a:prstGeom prst="rect">
            <a:avLst/>
          </a:prstGeom>
          <a:noFill/>
        </p:spPr>
        <p:txBody>
          <a:bodyPr wrap="none" rtlCol="0">
            <a:spAutoFit/>
          </a:bodyPr>
          <a:lstStyle/>
          <a:p>
            <a:pPr algn="ctr" defTabSz="685800"/>
            <a:r>
              <a:rPr lang="en-US" sz="3600" b="1" dirty="0">
                <a:solidFill>
                  <a:srgbClr val="007398"/>
                </a:solidFill>
                <a:latin typeface="Arial"/>
              </a:rPr>
              <a:t>Data Quality</a:t>
            </a:r>
          </a:p>
        </p:txBody>
      </p:sp>
      <p:sp>
        <p:nvSpPr>
          <p:cNvPr id="16" name="Freeform 59">
            <a:extLst>
              <a:ext uri="{FF2B5EF4-FFF2-40B4-BE49-F238E27FC236}">
                <a16:creationId xmlns:a16="http://schemas.microsoft.com/office/drawing/2014/main" id="{4E3E7BC7-7177-4FCE-AB00-FE6609DB0864}"/>
              </a:ext>
            </a:extLst>
          </p:cNvPr>
          <p:cNvSpPr/>
          <p:nvPr/>
        </p:nvSpPr>
        <p:spPr>
          <a:xfrm>
            <a:off x="724013" y="2008185"/>
            <a:ext cx="892970" cy="860686"/>
          </a:xfrm>
          <a:custGeom>
            <a:avLst/>
            <a:gdLst>
              <a:gd name="connsiteX0" fmla="*/ 952501 w 1905002"/>
              <a:gd name="connsiteY0" fmla="*/ 0 h 1836130"/>
              <a:gd name="connsiteX1" fmla="*/ 1905002 w 1905002"/>
              <a:gd name="connsiteY1" fmla="*/ 952501 h 1836130"/>
              <a:gd name="connsiteX2" fmla="*/ 1485053 w 1905002"/>
              <a:gd name="connsiteY2" fmla="*/ 1742330 h 1836130"/>
              <a:gd name="connsiteX3" fmla="*/ 1430291 w 1905002"/>
              <a:gd name="connsiteY3" fmla="*/ 1772054 h 1836130"/>
              <a:gd name="connsiteX4" fmla="*/ 1448954 w 1905002"/>
              <a:gd name="connsiteY4" fmla="*/ 1726182 h 1836130"/>
              <a:gd name="connsiteX5" fmla="*/ 1469857 w 1905002"/>
              <a:gd name="connsiteY5" fmla="*/ 1549587 h 1836130"/>
              <a:gd name="connsiteX6" fmla="*/ 1473365 w 1905002"/>
              <a:gd name="connsiteY6" fmla="*/ 1087102 h 1836130"/>
              <a:gd name="connsiteX7" fmla="*/ 1444813 w 1905002"/>
              <a:gd name="connsiteY7" fmla="*/ 1017601 h 1836130"/>
              <a:gd name="connsiteX8" fmla="*/ 1374943 w 1905002"/>
              <a:gd name="connsiteY8" fmla="*/ 988627 h 1836130"/>
              <a:gd name="connsiteX9" fmla="*/ 1364224 w 1905002"/>
              <a:gd name="connsiteY9" fmla="*/ 988627 h 1836130"/>
              <a:gd name="connsiteX10" fmla="*/ 1325830 w 1905002"/>
              <a:gd name="connsiteY10" fmla="*/ 996145 h 1836130"/>
              <a:gd name="connsiteX11" fmla="*/ 1294794 w 1905002"/>
              <a:gd name="connsiteY11" fmla="*/ 1017601 h 1836130"/>
              <a:gd name="connsiteX12" fmla="*/ 1272186 w 1905002"/>
              <a:gd name="connsiteY12" fmla="*/ 1058861 h 1836130"/>
              <a:gd name="connsiteX13" fmla="*/ 1236472 w 1905002"/>
              <a:gd name="connsiteY13" fmla="*/ 1054552 h 1836130"/>
              <a:gd name="connsiteX14" fmla="*/ 1347951 w 1905002"/>
              <a:gd name="connsiteY14" fmla="*/ 417947 h 1836130"/>
              <a:gd name="connsiteX15" fmla="*/ 1331677 w 1905002"/>
              <a:gd name="connsiteY15" fmla="*/ 344412 h 1836130"/>
              <a:gd name="connsiteX16" fmla="*/ 1268191 w 1905002"/>
              <a:gd name="connsiteY16" fmla="*/ 304068 h 1836130"/>
              <a:gd name="connsiteX17" fmla="*/ 1257861 w 1905002"/>
              <a:gd name="connsiteY17" fmla="*/ 302051 h 1836130"/>
              <a:gd name="connsiteX18" fmla="*/ 1184192 w 1905002"/>
              <a:gd name="connsiteY18" fmla="*/ 318555 h 1836130"/>
              <a:gd name="connsiteX19" fmla="*/ 1143557 w 1905002"/>
              <a:gd name="connsiteY19" fmla="*/ 382188 h 1836130"/>
              <a:gd name="connsiteX20" fmla="*/ 1031639 w 1905002"/>
              <a:gd name="connsiteY20" fmla="*/ 1023927 h 1836130"/>
              <a:gd name="connsiteX21" fmla="*/ 990760 w 1905002"/>
              <a:gd name="connsiteY21" fmla="*/ 1018793 h 1836130"/>
              <a:gd name="connsiteX22" fmla="*/ 1031639 w 1905002"/>
              <a:gd name="connsiteY22" fmla="*/ 265100 h 1836130"/>
              <a:gd name="connsiteX23" fmla="*/ 1010250 w 1905002"/>
              <a:gd name="connsiteY23" fmla="*/ 192939 h 1836130"/>
              <a:gd name="connsiteX24" fmla="*/ 943937 w 1905002"/>
              <a:gd name="connsiteY24" fmla="*/ 156813 h 1836130"/>
              <a:gd name="connsiteX25" fmla="*/ 933218 w 1905002"/>
              <a:gd name="connsiteY25" fmla="*/ 155988 h 1836130"/>
              <a:gd name="connsiteX26" fmla="*/ 861010 w 1905002"/>
              <a:gd name="connsiteY26" fmla="*/ 177444 h 1836130"/>
              <a:gd name="connsiteX27" fmla="*/ 824906 w 1905002"/>
              <a:gd name="connsiteY27" fmla="*/ 243277 h 1836130"/>
              <a:gd name="connsiteX28" fmla="*/ 785586 w 1905002"/>
              <a:gd name="connsiteY28" fmla="*/ 988627 h 1836130"/>
              <a:gd name="connsiteX29" fmla="*/ 746315 w 1905002"/>
              <a:gd name="connsiteY29" fmla="*/ 983859 h 1836130"/>
              <a:gd name="connsiteX30" fmla="*/ 658175 w 1905002"/>
              <a:gd name="connsiteY30" fmla="*/ 427024 h 1836130"/>
              <a:gd name="connsiteX31" fmla="*/ 622461 w 1905002"/>
              <a:gd name="connsiteY31" fmla="*/ 360732 h 1836130"/>
              <a:gd name="connsiteX32" fmla="*/ 550253 w 1905002"/>
              <a:gd name="connsiteY32" fmla="*/ 339369 h 1836130"/>
              <a:gd name="connsiteX33" fmla="*/ 539534 w 1905002"/>
              <a:gd name="connsiteY33" fmla="*/ 340561 h 1836130"/>
              <a:gd name="connsiteX34" fmla="*/ 473221 w 1905002"/>
              <a:gd name="connsiteY34" fmla="*/ 376686 h 1836130"/>
              <a:gd name="connsiteX35" fmla="*/ 451832 w 1905002"/>
              <a:gd name="connsiteY35" fmla="*/ 448480 h 1836130"/>
              <a:gd name="connsiteX36" fmla="*/ 564529 w 1905002"/>
              <a:gd name="connsiteY36" fmla="*/ 1243800 h 1836130"/>
              <a:gd name="connsiteX37" fmla="*/ 435948 w 1905002"/>
              <a:gd name="connsiteY37" fmla="*/ 1314493 h 1836130"/>
              <a:gd name="connsiteX38" fmla="*/ 431173 w 1905002"/>
              <a:gd name="connsiteY38" fmla="*/ 1389863 h 1836130"/>
              <a:gd name="connsiteX39" fmla="*/ 550253 w 1905002"/>
              <a:gd name="connsiteY39" fmla="*/ 1730767 h 1836130"/>
              <a:gd name="connsiteX40" fmla="*/ 589177 w 1905002"/>
              <a:gd name="connsiteY40" fmla="*/ 1821918 h 1836130"/>
              <a:gd name="connsiteX41" fmla="*/ 598082 w 1905002"/>
              <a:gd name="connsiteY41" fmla="*/ 1836130 h 1836130"/>
              <a:gd name="connsiteX42" fmla="*/ 581745 w 1905002"/>
              <a:gd name="connsiteY42" fmla="*/ 1830150 h 1836130"/>
              <a:gd name="connsiteX43" fmla="*/ 0 w 1905002"/>
              <a:gd name="connsiteY43" fmla="*/ 952501 h 1836130"/>
              <a:gd name="connsiteX44" fmla="*/ 952501 w 1905002"/>
              <a:gd name="connsiteY44" fmla="*/ 0 h 183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05002" h="1836130">
                <a:moveTo>
                  <a:pt x="952501" y="0"/>
                </a:moveTo>
                <a:cubicBezTo>
                  <a:pt x="1478553" y="0"/>
                  <a:pt x="1905002" y="426449"/>
                  <a:pt x="1905002" y="952501"/>
                </a:cubicBezTo>
                <a:cubicBezTo>
                  <a:pt x="1905002" y="1281284"/>
                  <a:pt x="1738420" y="1571159"/>
                  <a:pt x="1485053" y="1742330"/>
                </a:cubicBezTo>
                <a:lnTo>
                  <a:pt x="1430291" y="1772054"/>
                </a:lnTo>
                <a:lnTo>
                  <a:pt x="1448954" y="1726182"/>
                </a:lnTo>
                <a:cubicBezTo>
                  <a:pt x="1464643" y="1669334"/>
                  <a:pt x="1467859" y="1609094"/>
                  <a:pt x="1469857" y="1549587"/>
                </a:cubicBezTo>
                <a:cubicBezTo>
                  <a:pt x="1475070" y="1395456"/>
                  <a:pt x="1476239" y="1241233"/>
                  <a:pt x="1473365" y="1087102"/>
                </a:cubicBezTo>
                <a:cubicBezTo>
                  <a:pt x="1473365" y="1059870"/>
                  <a:pt x="1462597" y="1035388"/>
                  <a:pt x="1444813" y="1017601"/>
                </a:cubicBezTo>
                <a:cubicBezTo>
                  <a:pt x="1426980" y="999813"/>
                  <a:pt x="1402131" y="988627"/>
                  <a:pt x="1374943" y="988627"/>
                </a:cubicBezTo>
                <a:lnTo>
                  <a:pt x="1364224" y="988627"/>
                </a:lnTo>
                <a:cubicBezTo>
                  <a:pt x="1350631" y="988443"/>
                  <a:pt x="1337621" y="991102"/>
                  <a:pt x="1325830" y="996145"/>
                </a:cubicBezTo>
                <a:cubicBezTo>
                  <a:pt x="1314137" y="1001096"/>
                  <a:pt x="1303564" y="1008340"/>
                  <a:pt x="1294794" y="1017601"/>
                </a:cubicBezTo>
                <a:cubicBezTo>
                  <a:pt x="1283782" y="1029154"/>
                  <a:pt x="1275987" y="1043366"/>
                  <a:pt x="1272186" y="1058861"/>
                </a:cubicBezTo>
                <a:lnTo>
                  <a:pt x="1236472" y="1054552"/>
                </a:lnTo>
                <a:lnTo>
                  <a:pt x="1347951" y="417947"/>
                </a:lnTo>
                <a:cubicBezTo>
                  <a:pt x="1352677" y="391173"/>
                  <a:pt x="1346148" y="365042"/>
                  <a:pt x="1331677" y="344412"/>
                </a:cubicBezTo>
                <a:cubicBezTo>
                  <a:pt x="1317255" y="323873"/>
                  <a:pt x="1294989" y="308744"/>
                  <a:pt x="1268191" y="304068"/>
                </a:cubicBezTo>
                <a:lnTo>
                  <a:pt x="1257861" y="302051"/>
                </a:lnTo>
                <a:cubicBezTo>
                  <a:pt x="1231112" y="297283"/>
                  <a:pt x="1204899" y="303976"/>
                  <a:pt x="1184192" y="318555"/>
                </a:cubicBezTo>
                <a:cubicBezTo>
                  <a:pt x="1163484" y="333042"/>
                  <a:pt x="1148283" y="355414"/>
                  <a:pt x="1143557" y="382188"/>
                </a:cubicBezTo>
                <a:lnTo>
                  <a:pt x="1031639" y="1023927"/>
                </a:lnTo>
                <a:lnTo>
                  <a:pt x="990760" y="1018793"/>
                </a:lnTo>
                <a:lnTo>
                  <a:pt x="1031639" y="265100"/>
                </a:lnTo>
                <a:cubicBezTo>
                  <a:pt x="1034514" y="238143"/>
                  <a:pt x="1026085" y="212561"/>
                  <a:pt x="1010250" y="192939"/>
                </a:cubicBezTo>
                <a:cubicBezTo>
                  <a:pt x="994366" y="173318"/>
                  <a:pt x="970979" y="159656"/>
                  <a:pt x="943937" y="156813"/>
                </a:cubicBezTo>
                <a:lnTo>
                  <a:pt x="933218" y="155988"/>
                </a:lnTo>
                <a:cubicBezTo>
                  <a:pt x="906177" y="153146"/>
                  <a:pt x="880597" y="161673"/>
                  <a:pt x="861010" y="177444"/>
                </a:cubicBezTo>
                <a:cubicBezTo>
                  <a:pt x="841375" y="193214"/>
                  <a:pt x="827732" y="216229"/>
                  <a:pt x="824906" y="243277"/>
                </a:cubicBezTo>
                <a:lnTo>
                  <a:pt x="785586" y="988627"/>
                </a:lnTo>
                <a:lnTo>
                  <a:pt x="746315" y="983859"/>
                </a:lnTo>
                <a:lnTo>
                  <a:pt x="658175" y="427024"/>
                </a:lnTo>
                <a:cubicBezTo>
                  <a:pt x="655349" y="400067"/>
                  <a:pt x="642048" y="376595"/>
                  <a:pt x="622461" y="360732"/>
                </a:cubicBezTo>
                <a:cubicBezTo>
                  <a:pt x="602923" y="344962"/>
                  <a:pt x="577246" y="336526"/>
                  <a:pt x="550253" y="339369"/>
                </a:cubicBezTo>
                <a:lnTo>
                  <a:pt x="539534" y="340561"/>
                </a:lnTo>
                <a:cubicBezTo>
                  <a:pt x="512492" y="343403"/>
                  <a:pt x="489105" y="357065"/>
                  <a:pt x="473221" y="376686"/>
                </a:cubicBezTo>
                <a:cubicBezTo>
                  <a:pt x="457386" y="396216"/>
                  <a:pt x="448957" y="421431"/>
                  <a:pt x="451832" y="448480"/>
                </a:cubicBezTo>
                <a:lnTo>
                  <a:pt x="564529" y="1243800"/>
                </a:lnTo>
                <a:cubicBezTo>
                  <a:pt x="510543" y="1235090"/>
                  <a:pt x="457484" y="1264155"/>
                  <a:pt x="435948" y="1314493"/>
                </a:cubicBezTo>
                <a:cubicBezTo>
                  <a:pt x="425960" y="1337783"/>
                  <a:pt x="423816" y="1364373"/>
                  <a:pt x="431173" y="1389863"/>
                </a:cubicBezTo>
                <a:cubicBezTo>
                  <a:pt x="466692" y="1504842"/>
                  <a:pt x="506743" y="1618538"/>
                  <a:pt x="550253" y="1730767"/>
                </a:cubicBezTo>
                <a:cubicBezTo>
                  <a:pt x="562190" y="1761575"/>
                  <a:pt x="574566" y="1792382"/>
                  <a:pt x="589177" y="1821918"/>
                </a:cubicBezTo>
                <a:lnTo>
                  <a:pt x="598082" y="1836130"/>
                </a:lnTo>
                <a:lnTo>
                  <a:pt x="581745" y="1830150"/>
                </a:lnTo>
                <a:cubicBezTo>
                  <a:pt x="239878" y="1685553"/>
                  <a:pt x="0" y="1347040"/>
                  <a:pt x="0" y="952501"/>
                </a:cubicBezTo>
                <a:cubicBezTo>
                  <a:pt x="0" y="426449"/>
                  <a:pt x="426449" y="0"/>
                  <a:pt x="952501" y="0"/>
                </a:cubicBezTo>
                <a:close/>
              </a:path>
            </a:pathLst>
          </a:custGeom>
          <a:gradFill>
            <a:gsLst>
              <a:gs pos="0">
                <a:schemeClr val="accent1"/>
              </a:gs>
              <a:gs pos="100000">
                <a:schemeClr val="accent1">
                  <a:lumMod val="75000"/>
                </a:schemeClr>
              </a:gs>
            </a:gsLst>
            <a:lin ang="5400000" scaled="1"/>
          </a:gradFill>
          <a:ln w="12700" cap="flat">
            <a:noFill/>
            <a:miter lim="400000"/>
          </a:ln>
          <a:effectLst/>
        </p:spPr>
        <p:txBody>
          <a:bodyPr wrap="square" lIns="0" tIns="0" rIns="0" bIns="0" numCol="1" anchor="t">
            <a:noAutofit/>
          </a:bodyPr>
          <a:lstStyle/>
          <a:p>
            <a:pPr defTabSz="685800"/>
            <a:endParaRPr sz="844">
              <a:solidFill>
                <a:srgbClr val="53565A"/>
              </a:solidFill>
              <a:latin typeface="Arial"/>
            </a:endParaRPr>
          </a:p>
        </p:txBody>
      </p:sp>
      <p:sp>
        <p:nvSpPr>
          <p:cNvPr id="17" name="Rectangle 2">
            <a:extLst>
              <a:ext uri="{FF2B5EF4-FFF2-40B4-BE49-F238E27FC236}">
                <a16:creationId xmlns:a16="http://schemas.microsoft.com/office/drawing/2014/main" id="{277FA34E-36CF-48B1-8DFC-9B593B84489E}"/>
              </a:ext>
            </a:extLst>
          </p:cNvPr>
          <p:cNvSpPr/>
          <p:nvPr/>
        </p:nvSpPr>
        <p:spPr>
          <a:xfrm>
            <a:off x="5258328" y="3756451"/>
            <a:ext cx="1665841" cy="300082"/>
          </a:xfrm>
          <a:prstGeom prst="rect">
            <a:avLst/>
          </a:prstGeom>
        </p:spPr>
        <p:txBody>
          <a:bodyPr wrap="none">
            <a:spAutoFit/>
          </a:bodyPr>
          <a:lstStyle/>
          <a:p>
            <a:pPr defTabSz="342892"/>
            <a:r>
              <a:rPr lang="en-US" sz="1350" dirty="0">
                <a:solidFill>
                  <a:srgbClr val="53565A"/>
                </a:solidFill>
                <a:latin typeface="Arial"/>
              </a:rPr>
              <a:t>shortness of breath</a:t>
            </a:r>
          </a:p>
        </p:txBody>
      </p:sp>
      <p:graphicFrame>
        <p:nvGraphicFramePr>
          <p:cNvPr id="18" name="Table 6">
            <a:extLst>
              <a:ext uri="{FF2B5EF4-FFF2-40B4-BE49-F238E27FC236}">
                <a16:creationId xmlns:a16="http://schemas.microsoft.com/office/drawing/2014/main" id="{ADD31E50-2F92-43BF-88A1-A1EBBAB04D8C}"/>
              </a:ext>
            </a:extLst>
          </p:cNvPr>
          <p:cNvGraphicFramePr>
            <a:graphicFrameLocks noGrp="1"/>
          </p:cNvGraphicFramePr>
          <p:nvPr>
            <p:extLst>
              <p:ext uri="{D42A27DB-BD31-4B8C-83A1-F6EECF244321}">
                <p14:modId xmlns:p14="http://schemas.microsoft.com/office/powerpoint/2010/main" val="3348236624"/>
              </p:ext>
            </p:extLst>
          </p:nvPr>
        </p:nvGraphicFramePr>
        <p:xfrm>
          <a:off x="2526031" y="2131874"/>
          <a:ext cx="2205990" cy="1214440"/>
        </p:xfrm>
        <a:graphic>
          <a:graphicData uri="http://schemas.openxmlformats.org/drawingml/2006/table">
            <a:tbl>
              <a:tblPr firstRow="1" bandRow="1">
                <a:tableStyleId>{5C22544A-7EE6-4342-B048-85BDC9FD1C3A}</a:tableStyleId>
              </a:tblPr>
              <a:tblGrid>
                <a:gridCol w="2205990">
                  <a:extLst>
                    <a:ext uri="{9D8B030D-6E8A-4147-A177-3AD203B41FA5}">
                      <a16:colId xmlns:a16="http://schemas.microsoft.com/office/drawing/2014/main" val="2891907086"/>
                    </a:ext>
                  </a:extLst>
                </a:gridCol>
              </a:tblGrid>
              <a:tr h="242888">
                <a:tc>
                  <a:txBody>
                    <a:bodyPr/>
                    <a:lstStyle/>
                    <a:p>
                      <a:r>
                        <a:rPr lang="en-US" sz="1100" dirty="0"/>
                        <a:t>Cognitive</a:t>
                      </a:r>
                    </a:p>
                  </a:txBody>
                  <a:tcPr marL="68580" marR="68580" marT="34290" marB="34290"/>
                </a:tc>
                <a:extLst>
                  <a:ext uri="{0D108BD9-81ED-4DB2-BD59-A6C34878D82A}">
                    <a16:rowId xmlns:a16="http://schemas.microsoft.com/office/drawing/2014/main" val="2363515590"/>
                  </a:ext>
                </a:extLst>
              </a:tr>
              <a:tr h="24288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effectLst/>
                        </a:rPr>
                        <a:t>Level of consciousness</a:t>
                      </a:r>
                      <a:endParaRPr lang="en-US" sz="1100" dirty="0"/>
                    </a:p>
                  </a:txBody>
                  <a:tcPr marL="68580" marR="68580" marT="34290" marB="34290"/>
                </a:tc>
                <a:extLst>
                  <a:ext uri="{0D108BD9-81ED-4DB2-BD59-A6C34878D82A}">
                    <a16:rowId xmlns:a16="http://schemas.microsoft.com/office/drawing/2014/main" val="230626418"/>
                  </a:ext>
                </a:extLst>
              </a:tr>
              <a:tr h="242888">
                <a:tc>
                  <a:txBody>
                    <a:bodyPr/>
                    <a:lstStyle/>
                    <a:p>
                      <a:r>
                        <a:rPr lang="en-US" sz="1100" dirty="0">
                          <a:solidFill>
                            <a:schemeClr val="tx1"/>
                          </a:solidFill>
                          <a:effectLst/>
                        </a:rPr>
                        <a:t>Arousal level</a:t>
                      </a:r>
                      <a:endParaRPr lang="en-US" sz="1100" dirty="0">
                        <a:solidFill>
                          <a:schemeClr val="tx1"/>
                        </a:solidFill>
                      </a:endParaRPr>
                    </a:p>
                  </a:txBody>
                  <a:tcPr marL="68580" marR="68580" marT="34290" marB="34290" anchor="ctr"/>
                </a:tc>
                <a:extLst>
                  <a:ext uri="{0D108BD9-81ED-4DB2-BD59-A6C34878D82A}">
                    <a16:rowId xmlns:a16="http://schemas.microsoft.com/office/drawing/2014/main" val="4132621282"/>
                  </a:ext>
                </a:extLst>
              </a:tr>
              <a:tr h="242888">
                <a:tc>
                  <a:txBody>
                    <a:bodyPr/>
                    <a:lstStyle/>
                    <a:p>
                      <a:r>
                        <a:rPr lang="en-US" sz="1100" dirty="0">
                          <a:solidFill>
                            <a:schemeClr val="tx1"/>
                          </a:solidFill>
                        </a:rPr>
                        <a:t>Orientation</a:t>
                      </a:r>
                    </a:p>
                  </a:txBody>
                  <a:tcPr marL="68580" marR="68580" marT="34290" marB="34290" anchor="ctr"/>
                </a:tc>
                <a:extLst>
                  <a:ext uri="{0D108BD9-81ED-4DB2-BD59-A6C34878D82A}">
                    <a16:rowId xmlns:a16="http://schemas.microsoft.com/office/drawing/2014/main" val="3921420970"/>
                  </a:ext>
                </a:extLst>
              </a:tr>
              <a:tr h="242888">
                <a:tc>
                  <a:txBody>
                    <a:bodyPr/>
                    <a:lstStyle/>
                    <a:p>
                      <a:r>
                        <a:rPr lang="en-US" sz="1100" dirty="0">
                          <a:solidFill>
                            <a:schemeClr val="tx1"/>
                          </a:solidFill>
                        </a:rPr>
                        <a:t>Mood</a:t>
                      </a:r>
                    </a:p>
                  </a:txBody>
                  <a:tcPr marL="68580" marR="68580" marT="34290" marB="34290" anchor="ctr"/>
                </a:tc>
                <a:extLst>
                  <a:ext uri="{0D108BD9-81ED-4DB2-BD59-A6C34878D82A}">
                    <a16:rowId xmlns:a16="http://schemas.microsoft.com/office/drawing/2014/main" val="55325551"/>
                  </a:ext>
                </a:extLst>
              </a:tr>
            </a:tbl>
          </a:graphicData>
        </a:graphic>
      </p:graphicFrame>
      <p:graphicFrame>
        <p:nvGraphicFramePr>
          <p:cNvPr id="19" name="Table 11">
            <a:extLst>
              <a:ext uri="{FF2B5EF4-FFF2-40B4-BE49-F238E27FC236}">
                <a16:creationId xmlns:a16="http://schemas.microsoft.com/office/drawing/2014/main" id="{228A9413-E120-428D-8D6A-0AA3A639CF93}"/>
              </a:ext>
            </a:extLst>
          </p:cNvPr>
          <p:cNvGraphicFramePr>
            <a:graphicFrameLocks noGrp="1"/>
          </p:cNvGraphicFramePr>
          <p:nvPr>
            <p:extLst>
              <p:ext uri="{D42A27DB-BD31-4B8C-83A1-F6EECF244321}">
                <p14:modId xmlns:p14="http://schemas.microsoft.com/office/powerpoint/2010/main" val="1367966651"/>
              </p:ext>
            </p:extLst>
          </p:nvPr>
        </p:nvGraphicFramePr>
        <p:xfrm>
          <a:off x="2526031" y="3617774"/>
          <a:ext cx="2205990" cy="965836"/>
        </p:xfrm>
        <a:graphic>
          <a:graphicData uri="http://schemas.openxmlformats.org/drawingml/2006/table">
            <a:tbl>
              <a:tblPr firstRow="1" bandRow="1">
                <a:tableStyleId>{5C22544A-7EE6-4342-B048-85BDC9FD1C3A}</a:tableStyleId>
              </a:tblPr>
              <a:tblGrid>
                <a:gridCol w="2205990">
                  <a:extLst>
                    <a:ext uri="{9D8B030D-6E8A-4147-A177-3AD203B41FA5}">
                      <a16:colId xmlns:a16="http://schemas.microsoft.com/office/drawing/2014/main" val="2891907086"/>
                    </a:ext>
                  </a:extLst>
                </a:gridCol>
              </a:tblGrid>
              <a:tr h="242888">
                <a:tc>
                  <a:txBody>
                    <a:bodyPr/>
                    <a:lstStyle/>
                    <a:p>
                      <a:r>
                        <a:rPr lang="en-US" sz="1100" dirty="0"/>
                        <a:t>Respiratory </a:t>
                      </a:r>
                    </a:p>
                  </a:txBody>
                  <a:tcPr marL="68580" marR="68580" marT="34290" marB="34290"/>
                </a:tc>
                <a:extLst>
                  <a:ext uri="{0D108BD9-81ED-4DB2-BD59-A6C34878D82A}">
                    <a16:rowId xmlns:a16="http://schemas.microsoft.com/office/drawing/2014/main" val="2363515590"/>
                  </a:ext>
                </a:extLst>
              </a:tr>
              <a:tr h="24288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effectLst/>
                        </a:rPr>
                        <a:t>Respiratory Rhythm/Pattern</a:t>
                      </a:r>
                      <a:endParaRPr lang="en-US" sz="1100" dirty="0"/>
                    </a:p>
                  </a:txBody>
                  <a:tcPr marL="68580" marR="68580" marT="34290" marB="34290"/>
                </a:tc>
                <a:extLst>
                  <a:ext uri="{0D108BD9-81ED-4DB2-BD59-A6C34878D82A}">
                    <a16:rowId xmlns:a16="http://schemas.microsoft.com/office/drawing/2014/main" val="230626418"/>
                  </a:ext>
                </a:extLst>
              </a:tr>
              <a:tr h="240030">
                <a:tc>
                  <a:txBody>
                    <a:bodyPr/>
                    <a:lstStyle/>
                    <a:p>
                      <a:r>
                        <a:rPr lang="en-US" sz="1100" dirty="0">
                          <a:solidFill>
                            <a:schemeClr val="tx1"/>
                          </a:solidFill>
                          <a:effectLst/>
                        </a:rPr>
                        <a:t>Nailbeds</a:t>
                      </a:r>
                      <a:endParaRPr lang="en-US" sz="1100" dirty="0">
                        <a:solidFill>
                          <a:schemeClr val="tx1"/>
                        </a:solidFill>
                      </a:endParaRPr>
                    </a:p>
                  </a:txBody>
                  <a:tcPr marL="68580" marR="68580" marT="34290" marB="34290" anchor="ctr"/>
                </a:tc>
                <a:extLst>
                  <a:ext uri="{0D108BD9-81ED-4DB2-BD59-A6C34878D82A}">
                    <a16:rowId xmlns:a16="http://schemas.microsoft.com/office/drawing/2014/main" val="4132621282"/>
                  </a:ext>
                </a:extLst>
              </a:tr>
              <a:tr h="240030">
                <a:tc>
                  <a:txBody>
                    <a:bodyPr/>
                    <a:lstStyle/>
                    <a:p>
                      <a:r>
                        <a:rPr lang="en-US" sz="1100" dirty="0"/>
                        <a:t>Mucous membranes</a:t>
                      </a:r>
                    </a:p>
                  </a:txBody>
                  <a:tcPr marL="68580" marR="68580" marT="34290" marB="34290" anchor="ctr"/>
                </a:tc>
                <a:extLst>
                  <a:ext uri="{0D108BD9-81ED-4DB2-BD59-A6C34878D82A}">
                    <a16:rowId xmlns:a16="http://schemas.microsoft.com/office/drawing/2014/main" val="2509965012"/>
                  </a:ext>
                </a:extLst>
              </a:tr>
            </a:tbl>
          </a:graphicData>
        </a:graphic>
      </p:graphicFrame>
      <p:sp>
        <p:nvSpPr>
          <p:cNvPr id="20" name="Rectangle 12">
            <a:extLst>
              <a:ext uri="{FF2B5EF4-FFF2-40B4-BE49-F238E27FC236}">
                <a16:creationId xmlns:a16="http://schemas.microsoft.com/office/drawing/2014/main" id="{B690B7CD-081E-41E3-B53C-BD20C1204CE3}"/>
              </a:ext>
            </a:extLst>
          </p:cNvPr>
          <p:cNvSpPr/>
          <p:nvPr/>
        </p:nvSpPr>
        <p:spPr>
          <a:xfrm>
            <a:off x="5247468" y="4284910"/>
            <a:ext cx="819455" cy="300082"/>
          </a:xfrm>
          <a:prstGeom prst="rect">
            <a:avLst/>
          </a:prstGeom>
        </p:spPr>
        <p:txBody>
          <a:bodyPr wrap="none">
            <a:spAutoFit/>
          </a:bodyPr>
          <a:lstStyle/>
          <a:p>
            <a:pPr defTabSz="342892"/>
            <a:r>
              <a:rPr lang="en-US" sz="1350" dirty="0">
                <a:solidFill>
                  <a:srgbClr val="53565A"/>
                </a:solidFill>
                <a:latin typeface="Arial"/>
              </a:rPr>
              <a:t>cyanotic</a:t>
            </a:r>
          </a:p>
        </p:txBody>
      </p:sp>
      <p:sp>
        <p:nvSpPr>
          <p:cNvPr id="21" name="Rectangle 13">
            <a:extLst>
              <a:ext uri="{FF2B5EF4-FFF2-40B4-BE49-F238E27FC236}">
                <a16:creationId xmlns:a16="http://schemas.microsoft.com/office/drawing/2014/main" id="{CC026E3B-904C-4444-9947-2213428380AC}"/>
              </a:ext>
            </a:extLst>
          </p:cNvPr>
          <p:cNvSpPr/>
          <p:nvPr/>
        </p:nvSpPr>
        <p:spPr>
          <a:xfrm>
            <a:off x="5263005" y="2351901"/>
            <a:ext cx="886781" cy="300082"/>
          </a:xfrm>
          <a:prstGeom prst="rect">
            <a:avLst/>
          </a:prstGeom>
        </p:spPr>
        <p:txBody>
          <a:bodyPr wrap="none">
            <a:spAutoFit/>
          </a:bodyPr>
          <a:lstStyle/>
          <a:p>
            <a:pPr defTabSz="342892"/>
            <a:r>
              <a:rPr lang="en-US" sz="1350" dirty="0">
                <a:solidFill>
                  <a:srgbClr val="53565A"/>
                </a:solidFill>
                <a:latin typeface="Arial"/>
              </a:rPr>
              <a:t>confused</a:t>
            </a:r>
          </a:p>
        </p:txBody>
      </p:sp>
      <p:sp>
        <p:nvSpPr>
          <p:cNvPr id="22" name="Rectangle 14">
            <a:extLst>
              <a:ext uri="{FF2B5EF4-FFF2-40B4-BE49-F238E27FC236}">
                <a16:creationId xmlns:a16="http://schemas.microsoft.com/office/drawing/2014/main" id="{AB5864A0-059D-4366-970B-5FA9F99DEB2D}"/>
              </a:ext>
            </a:extLst>
          </p:cNvPr>
          <p:cNvSpPr/>
          <p:nvPr/>
        </p:nvSpPr>
        <p:spPr>
          <a:xfrm>
            <a:off x="5263080" y="3046095"/>
            <a:ext cx="780983" cy="300082"/>
          </a:xfrm>
          <a:prstGeom prst="rect">
            <a:avLst/>
          </a:prstGeom>
        </p:spPr>
        <p:txBody>
          <a:bodyPr wrap="none">
            <a:spAutoFit/>
          </a:bodyPr>
          <a:lstStyle/>
          <a:p>
            <a:pPr defTabSz="342892"/>
            <a:r>
              <a:rPr lang="en-US" sz="1350" dirty="0">
                <a:solidFill>
                  <a:srgbClr val="53565A"/>
                </a:solidFill>
                <a:latin typeface="Arial"/>
              </a:rPr>
              <a:t>restless</a:t>
            </a:r>
          </a:p>
        </p:txBody>
      </p:sp>
      <p:graphicFrame>
        <p:nvGraphicFramePr>
          <p:cNvPr id="31" name="Table 15">
            <a:extLst>
              <a:ext uri="{FF2B5EF4-FFF2-40B4-BE49-F238E27FC236}">
                <a16:creationId xmlns:a16="http://schemas.microsoft.com/office/drawing/2014/main" id="{C36C8948-52BA-41A1-AB30-9F61A1939E6C}"/>
              </a:ext>
            </a:extLst>
          </p:cNvPr>
          <p:cNvGraphicFramePr>
            <a:graphicFrameLocks noGrp="1"/>
          </p:cNvGraphicFramePr>
          <p:nvPr>
            <p:extLst>
              <p:ext uri="{D42A27DB-BD31-4B8C-83A1-F6EECF244321}">
                <p14:modId xmlns:p14="http://schemas.microsoft.com/office/powerpoint/2010/main" val="2810680910"/>
              </p:ext>
            </p:extLst>
          </p:nvPr>
        </p:nvGraphicFramePr>
        <p:xfrm>
          <a:off x="2526031" y="4792207"/>
          <a:ext cx="2205990" cy="725806"/>
        </p:xfrm>
        <a:graphic>
          <a:graphicData uri="http://schemas.openxmlformats.org/drawingml/2006/table">
            <a:tbl>
              <a:tblPr firstRow="1" bandRow="1">
                <a:tableStyleId>{5C22544A-7EE6-4342-B048-85BDC9FD1C3A}</a:tableStyleId>
              </a:tblPr>
              <a:tblGrid>
                <a:gridCol w="2205990">
                  <a:extLst>
                    <a:ext uri="{9D8B030D-6E8A-4147-A177-3AD203B41FA5}">
                      <a16:colId xmlns:a16="http://schemas.microsoft.com/office/drawing/2014/main" val="2891907086"/>
                    </a:ext>
                  </a:extLst>
                </a:gridCol>
              </a:tblGrid>
              <a:tr h="242888">
                <a:tc>
                  <a:txBody>
                    <a:bodyPr/>
                    <a:lstStyle/>
                    <a:p>
                      <a:r>
                        <a:rPr lang="en-US" sz="1100" dirty="0"/>
                        <a:t>Cardiovascular </a:t>
                      </a:r>
                    </a:p>
                  </a:txBody>
                  <a:tcPr marL="68580" marR="68580" marT="34290" marB="34290"/>
                </a:tc>
                <a:extLst>
                  <a:ext uri="{0D108BD9-81ED-4DB2-BD59-A6C34878D82A}">
                    <a16:rowId xmlns:a16="http://schemas.microsoft.com/office/drawing/2014/main" val="2363515590"/>
                  </a:ext>
                </a:extLst>
              </a:tr>
              <a:tr h="24288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effectLst/>
                        </a:rPr>
                        <a:t>Cardiac Rhythm</a:t>
                      </a:r>
                      <a:endParaRPr lang="en-US" sz="1100" dirty="0"/>
                    </a:p>
                  </a:txBody>
                  <a:tcPr marL="68580" marR="68580" marT="34290" marB="34290"/>
                </a:tc>
                <a:extLst>
                  <a:ext uri="{0D108BD9-81ED-4DB2-BD59-A6C34878D82A}">
                    <a16:rowId xmlns:a16="http://schemas.microsoft.com/office/drawing/2014/main" val="230626418"/>
                  </a:ext>
                </a:extLst>
              </a:tr>
              <a:tr h="240030">
                <a:tc>
                  <a:txBody>
                    <a:bodyPr/>
                    <a:lstStyle/>
                    <a:p>
                      <a:r>
                        <a:rPr lang="en-US" sz="1100" dirty="0">
                          <a:solidFill>
                            <a:schemeClr val="tx1"/>
                          </a:solidFill>
                        </a:rPr>
                        <a:t>Heart Sounds</a:t>
                      </a:r>
                    </a:p>
                  </a:txBody>
                  <a:tcPr marL="68580" marR="68580" marT="34290" marB="34290" anchor="ctr"/>
                </a:tc>
                <a:extLst>
                  <a:ext uri="{0D108BD9-81ED-4DB2-BD59-A6C34878D82A}">
                    <a16:rowId xmlns:a16="http://schemas.microsoft.com/office/drawing/2014/main" val="4132621282"/>
                  </a:ext>
                </a:extLst>
              </a:tr>
            </a:tbl>
          </a:graphicData>
        </a:graphic>
      </p:graphicFrame>
      <p:sp>
        <p:nvSpPr>
          <p:cNvPr id="32" name="Rectangle 16">
            <a:extLst>
              <a:ext uri="{FF2B5EF4-FFF2-40B4-BE49-F238E27FC236}">
                <a16:creationId xmlns:a16="http://schemas.microsoft.com/office/drawing/2014/main" id="{7B9BA2DC-AB33-40B1-BAC2-A07A534760D6}"/>
              </a:ext>
            </a:extLst>
          </p:cNvPr>
          <p:cNvSpPr/>
          <p:nvPr/>
        </p:nvSpPr>
        <p:spPr>
          <a:xfrm>
            <a:off x="5244186" y="5010894"/>
            <a:ext cx="1059906" cy="300082"/>
          </a:xfrm>
          <a:prstGeom prst="rect">
            <a:avLst/>
          </a:prstGeom>
        </p:spPr>
        <p:txBody>
          <a:bodyPr wrap="none">
            <a:spAutoFit/>
          </a:bodyPr>
          <a:lstStyle/>
          <a:p>
            <a:pPr defTabSz="342892"/>
            <a:r>
              <a:rPr lang="en-US" sz="1350" dirty="0" err="1">
                <a:solidFill>
                  <a:srgbClr val="53565A"/>
                </a:solidFill>
                <a:latin typeface="Arial"/>
              </a:rPr>
              <a:t>tachycardic</a:t>
            </a:r>
            <a:endParaRPr lang="en-US" sz="1350" dirty="0">
              <a:solidFill>
                <a:srgbClr val="53565A"/>
              </a:solidFill>
              <a:latin typeface="Arial"/>
            </a:endParaRPr>
          </a:p>
        </p:txBody>
      </p:sp>
      <p:pic>
        <p:nvPicPr>
          <p:cNvPr id="34" name="Picture 40">
            <a:extLst>
              <a:ext uri="{FF2B5EF4-FFF2-40B4-BE49-F238E27FC236}">
                <a16:creationId xmlns:a16="http://schemas.microsoft.com/office/drawing/2014/main" id="{C9E17DC7-8450-4112-A710-C28E10470FD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145108" y="2400301"/>
            <a:ext cx="158412" cy="155276"/>
          </a:xfrm>
          <a:prstGeom prst="rect">
            <a:avLst/>
          </a:prstGeom>
          <a:noFill/>
        </p:spPr>
      </p:pic>
      <p:pic>
        <p:nvPicPr>
          <p:cNvPr id="35" name="Picture 40">
            <a:extLst>
              <a:ext uri="{FF2B5EF4-FFF2-40B4-BE49-F238E27FC236}">
                <a16:creationId xmlns:a16="http://schemas.microsoft.com/office/drawing/2014/main" id="{D7493130-B1EC-4594-9B26-157FD32E7C9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145108" y="3102275"/>
            <a:ext cx="158412" cy="155276"/>
          </a:xfrm>
          <a:prstGeom prst="rect">
            <a:avLst/>
          </a:prstGeom>
          <a:noFill/>
        </p:spPr>
      </p:pic>
      <p:pic>
        <p:nvPicPr>
          <p:cNvPr id="36" name="Picture 40">
            <a:extLst>
              <a:ext uri="{FF2B5EF4-FFF2-40B4-BE49-F238E27FC236}">
                <a16:creationId xmlns:a16="http://schemas.microsoft.com/office/drawing/2014/main" id="{E466402C-BC1E-4B3A-BE15-1D8C0A1F810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145108" y="3812822"/>
            <a:ext cx="158412" cy="155276"/>
          </a:xfrm>
          <a:prstGeom prst="rect">
            <a:avLst/>
          </a:prstGeom>
          <a:noFill/>
        </p:spPr>
      </p:pic>
      <p:pic>
        <p:nvPicPr>
          <p:cNvPr id="38" name="Picture 40">
            <a:extLst>
              <a:ext uri="{FF2B5EF4-FFF2-40B4-BE49-F238E27FC236}">
                <a16:creationId xmlns:a16="http://schemas.microsoft.com/office/drawing/2014/main" id="{D1851B00-A46E-42D1-819B-5CA483F67E1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136536" y="4351973"/>
            <a:ext cx="158412" cy="155276"/>
          </a:xfrm>
          <a:prstGeom prst="rect">
            <a:avLst/>
          </a:prstGeom>
          <a:noFill/>
        </p:spPr>
      </p:pic>
      <p:pic>
        <p:nvPicPr>
          <p:cNvPr id="39" name="Picture 40">
            <a:extLst>
              <a:ext uri="{FF2B5EF4-FFF2-40B4-BE49-F238E27FC236}">
                <a16:creationId xmlns:a16="http://schemas.microsoft.com/office/drawing/2014/main" id="{0CBCAC08-3304-47BB-AA89-1AAD340BA79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136536" y="5062520"/>
            <a:ext cx="158412" cy="155276"/>
          </a:xfrm>
          <a:prstGeom prst="rect">
            <a:avLst/>
          </a:prstGeom>
          <a:noFill/>
        </p:spPr>
      </p:pic>
      <p:sp>
        <p:nvSpPr>
          <p:cNvPr id="2" name="Oval 1">
            <a:extLst>
              <a:ext uri="{FF2B5EF4-FFF2-40B4-BE49-F238E27FC236}">
                <a16:creationId xmlns:a16="http://schemas.microsoft.com/office/drawing/2014/main" id="{9314098C-6215-4616-B450-AFF4B2FEE95F}"/>
              </a:ext>
            </a:extLst>
          </p:cNvPr>
          <p:cNvSpPr/>
          <p:nvPr/>
        </p:nvSpPr>
        <p:spPr>
          <a:xfrm>
            <a:off x="7315200" y="3179913"/>
            <a:ext cx="1600200" cy="1612294"/>
          </a:xfrm>
          <a:prstGeom prst="ellipse">
            <a:avLst/>
          </a:prstGeom>
          <a:solidFill>
            <a:srgbClr val="FF6600"/>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Respiratory Compromise</a:t>
            </a:r>
          </a:p>
        </p:txBody>
      </p:sp>
    </p:spTree>
    <p:extLst>
      <p:ext uri="{BB962C8B-B14F-4D97-AF65-F5344CB8AC3E}">
        <p14:creationId xmlns:p14="http://schemas.microsoft.com/office/powerpoint/2010/main" val="3536433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nodeType="afterEffect">
                                  <p:stCondLst>
                                    <p:cond delay="500"/>
                                  </p:stCondLst>
                                  <p:childTnLst>
                                    <p:set>
                                      <p:cBhvr>
                                        <p:cTn id="19" dur="1" fill="hold">
                                          <p:stCondLst>
                                            <p:cond delay="0"/>
                                          </p:stCondLst>
                                        </p:cTn>
                                        <p:tgtEl>
                                          <p:spTgt spid="35"/>
                                        </p:tgtEl>
                                        <p:attrNameLst>
                                          <p:attrName>style.visibility</p:attrName>
                                        </p:attrNameLst>
                                      </p:cBhvr>
                                      <p:to>
                                        <p:strVal val="visible"/>
                                      </p:to>
                                    </p:set>
                                  </p:childTnLst>
                                </p:cTn>
                              </p:par>
                              <p:par>
                                <p:cTn id="20" presetID="1" presetClass="entr" presetSubtype="0" fill="hold" grpId="0" nodeType="withEffect">
                                  <p:stCondLst>
                                    <p:cond delay="500"/>
                                  </p:stCondLst>
                                  <p:childTnLst>
                                    <p:set>
                                      <p:cBhvr>
                                        <p:cTn id="21" dur="1" fill="hold">
                                          <p:stCondLst>
                                            <p:cond delay="0"/>
                                          </p:stCondLst>
                                        </p:cTn>
                                        <p:tgtEl>
                                          <p:spTgt spid="22"/>
                                        </p:tgtEl>
                                        <p:attrNameLst>
                                          <p:attrName>style.visibility</p:attrName>
                                        </p:attrNameLst>
                                      </p:cBhvr>
                                      <p:to>
                                        <p:strVal val="visible"/>
                                      </p:to>
                                    </p:set>
                                  </p:childTnLst>
                                </p:cTn>
                              </p:par>
                            </p:childTnLst>
                          </p:cTn>
                        </p:par>
                        <p:par>
                          <p:cTn id="22" fill="hold">
                            <p:stCondLst>
                              <p:cond delay="500"/>
                            </p:stCondLst>
                            <p:childTnLst>
                              <p:par>
                                <p:cTn id="23" presetID="1" presetClass="entr" presetSubtype="0" fill="hold" nodeType="afterEffect">
                                  <p:stCondLst>
                                    <p:cond delay="50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grpId="0" nodeType="withEffect">
                                  <p:stCondLst>
                                    <p:cond delay="500"/>
                                  </p:stCondLst>
                                  <p:childTnLst>
                                    <p:set>
                                      <p:cBhvr>
                                        <p:cTn id="26" dur="1" fill="hold">
                                          <p:stCondLst>
                                            <p:cond delay="0"/>
                                          </p:stCondLst>
                                        </p:cTn>
                                        <p:tgtEl>
                                          <p:spTgt spid="17"/>
                                        </p:tgtEl>
                                        <p:attrNameLst>
                                          <p:attrName>style.visibility</p:attrName>
                                        </p:attrNameLst>
                                      </p:cBhvr>
                                      <p:to>
                                        <p:strVal val="visible"/>
                                      </p:to>
                                    </p:set>
                                  </p:childTnLst>
                                </p:cTn>
                              </p:par>
                            </p:childTnLst>
                          </p:cTn>
                        </p:par>
                        <p:par>
                          <p:cTn id="27" fill="hold">
                            <p:stCondLst>
                              <p:cond delay="1000"/>
                            </p:stCondLst>
                            <p:childTnLst>
                              <p:par>
                                <p:cTn id="28" presetID="1" presetClass="entr" presetSubtype="0" fill="hold" nodeType="afterEffect">
                                  <p:stCondLst>
                                    <p:cond delay="500"/>
                                  </p:stCondLst>
                                  <p:childTnLst>
                                    <p:set>
                                      <p:cBhvr>
                                        <p:cTn id="29" dur="1" fill="hold">
                                          <p:stCondLst>
                                            <p:cond delay="0"/>
                                          </p:stCondLst>
                                        </p:cTn>
                                        <p:tgtEl>
                                          <p:spTgt spid="38"/>
                                        </p:tgtEl>
                                        <p:attrNameLst>
                                          <p:attrName>style.visibility</p:attrName>
                                        </p:attrNameLst>
                                      </p:cBhvr>
                                      <p:to>
                                        <p:strVal val="visible"/>
                                      </p:to>
                                    </p:set>
                                  </p:childTnLst>
                                </p:cTn>
                              </p:par>
                              <p:par>
                                <p:cTn id="30" presetID="1" presetClass="entr" presetSubtype="0" fill="hold" grpId="0" nodeType="withEffect">
                                  <p:stCondLst>
                                    <p:cond delay="500"/>
                                  </p:stCondLst>
                                  <p:childTnLst>
                                    <p:set>
                                      <p:cBhvr>
                                        <p:cTn id="31" dur="1" fill="hold">
                                          <p:stCondLst>
                                            <p:cond delay="0"/>
                                          </p:stCondLst>
                                        </p:cTn>
                                        <p:tgtEl>
                                          <p:spTgt spid="20"/>
                                        </p:tgtEl>
                                        <p:attrNameLst>
                                          <p:attrName>style.visibility</p:attrName>
                                        </p:attrNameLst>
                                      </p:cBhvr>
                                      <p:to>
                                        <p:strVal val="visible"/>
                                      </p:to>
                                    </p:set>
                                  </p:childTnLst>
                                </p:cTn>
                              </p:par>
                            </p:childTnLst>
                          </p:cTn>
                        </p:par>
                        <p:par>
                          <p:cTn id="32" fill="hold">
                            <p:stCondLst>
                              <p:cond delay="1500"/>
                            </p:stCondLst>
                            <p:childTnLst>
                              <p:par>
                                <p:cTn id="33" presetID="1" presetClass="entr" presetSubtype="0" fill="hold" nodeType="afterEffect">
                                  <p:stCondLst>
                                    <p:cond delay="500"/>
                                  </p:stCondLst>
                                  <p:childTnLst>
                                    <p:set>
                                      <p:cBhvr>
                                        <p:cTn id="34" dur="1" fill="hold">
                                          <p:stCondLst>
                                            <p:cond delay="0"/>
                                          </p:stCondLst>
                                        </p:cTn>
                                        <p:tgtEl>
                                          <p:spTgt spid="39"/>
                                        </p:tgtEl>
                                        <p:attrNameLst>
                                          <p:attrName>style.visibility</p:attrName>
                                        </p:attrNameLst>
                                      </p:cBhvr>
                                      <p:to>
                                        <p:strVal val="visible"/>
                                      </p:to>
                                    </p:set>
                                  </p:childTnLst>
                                </p:cTn>
                              </p:par>
                              <p:par>
                                <p:cTn id="35" presetID="1" presetClass="entr" presetSubtype="0" fill="hold" grpId="0" nodeType="withEffect">
                                  <p:stCondLst>
                                    <p:cond delay="500"/>
                                  </p:stCondLst>
                                  <p:childTnLst>
                                    <p:set>
                                      <p:cBhvr>
                                        <p:cTn id="36" dur="1" fill="hold">
                                          <p:stCondLst>
                                            <p:cond delay="0"/>
                                          </p:stCondLst>
                                        </p:cTn>
                                        <p:tgtEl>
                                          <p:spTgt spid="3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0" grpId="0"/>
      <p:bldP spid="21" grpId="0"/>
      <p:bldP spid="22" grpId="0"/>
      <p:bldP spid="32" grpId="0"/>
      <p:bldP spid="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bject 37"/>
          <p:cNvSpPr/>
          <p:nvPr/>
        </p:nvSpPr>
        <p:spPr>
          <a:xfrm>
            <a:off x="7465821" y="3795116"/>
            <a:ext cx="17681" cy="17546"/>
          </a:xfrm>
          <a:custGeom>
            <a:avLst/>
            <a:gdLst/>
            <a:ahLst/>
            <a:cxnLst/>
            <a:rect l="l" t="t" r="r" b="b"/>
            <a:pathLst>
              <a:path w="25146" h="24955">
                <a:moveTo>
                  <a:pt x="21335" y="3721"/>
                </a:moveTo>
                <a:lnTo>
                  <a:pt x="18795" y="1244"/>
                </a:lnTo>
                <a:lnTo>
                  <a:pt x="15874" y="0"/>
                </a:lnTo>
                <a:lnTo>
                  <a:pt x="12572" y="0"/>
                </a:lnTo>
                <a:lnTo>
                  <a:pt x="9270" y="0"/>
                </a:lnTo>
                <a:lnTo>
                  <a:pt x="6349" y="1282"/>
                </a:lnTo>
                <a:lnTo>
                  <a:pt x="3809" y="3822"/>
                </a:lnTo>
                <a:lnTo>
                  <a:pt x="1269" y="6362"/>
                </a:lnTo>
                <a:lnTo>
                  <a:pt x="0" y="9283"/>
                </a:lnTo>
                <a:lnTo>
                  <a:pt x="0" y="12585"/>
                </a:lnTo>
                <a:lnTo>
                  <a:pt x="0" y="16002"/>
                </a:lnTo>
                <a:lnTo>
                  <a:pt x="1269" y="18935"/>
                </a:lnTo>
                <a:lnTo>
                  <a:pt x="3809" y="21336"/>
                </a:lnTo>
                <a:lnTo>
                  <a:pt x="6349" y="23761"/>
                </a:lnTo>
                <a:lnTo>
                  <a:pt x="9270" y="24955"/>
                </a:lnTo>
                <a:lnTo>
                  <a:pt x="12572" y="24955"/>
                </a:lnTo>
                <a:lnTo>
                  <a:pt x="15874" y="24955"/>
                </a:lnTo>
                <a:lnTo>
                  <a:pt x="18795" y="23761"/>
                </a:lnTo>
                <a:lnTo>
                  <a:pt x="21335" y="21336"/>
                </a:lnTo>
                <a:lnTo>
                  <a:pt x="23875" y="18935"/>
                </a:lnTo>
                <a:lnTo>
                  <a:pt x="25145" y="15951"/>
                </a:lnTo>
                <a:lnTo>
                  <a:pt x="25145" y="12382"/>
                </a:lnTo>
                <a:lnTo>
                  <a:pt x="25145" y="9093"/>
                </a:lnTo>
                <a:lnTo>
                  <a:pt x="23875" y="6197"/>
                </a:lnTo>
                <a:lnTo>
                  <a:pt x="21335" y="3721"/>
                </a:lnTo>
                <a:close/>
              </a:path>
            </a:pathLst>
          </a:custGeom>
          <a:ln w="3175">
            <a:solidFill>
              <a:srgbClr val="5A5B5D"/>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 name="object 36"/>
          <p:cNvSpPr/>
          <p:nvPr/>
        </p:nvSpPr>
        <p:spPr>
          <a:xfrm>
            <a:off x="7465821" y="3841336"/>
            <a:ext cx="17681" cy="17546"/>
          </a:xfrm>
          <a:custGeom>
            <a:avLst/>
            <a:gdLst/>
            <a:ahLst/>
            <a:cxnLst/>
            <a:rect l="l" t="t" r="r" b="b"/>
            <a:pathLst>
              <a:path w="25146" h="24955">
                <a:moveTo>
                  <a:pt x="21335" y="3619"/>
                </a:moveTo>
                <a:lnTo>
                  <a:pt x="18795" y="1206"/>
                </a:lnTo>
                <a:lnTo>
                  <a:pt x="15874" y="0"/>
                </a:lnTo>
                <a:lnTo>
                  <a:pt x="12572" y="0"/>
                </a:lnTo>
                <a:lnTo>
                  <a:pt x="9270" y="0"/>
                </a:lnTo>
                <a:lnTo>
                  <a:pt x="6349" y="1206"/>
                </a:lnTo>
                <a:lnTo>
                  <a:pt x="3809" y="3619"/>
                </a:lnTo>
                <a:lnTo>
                  <a:pt x="1269" y="6032"/>
                </a:lnTo>
                <a:lnTo>
                  <a:pt x="0" y="8890"/>
                </a:lnTo>
                <a:lnTo>
                  <a:pt x="0" y="12179"/>
                </a:lnTo>
                <a:lnTo>
                  <a:pt x="0" y="15748"/>
                </a:lnTo>
                <a:lnTo>
                  <a:pt x="1269" y="18757"/>
                </a:lnTo>
                <a:lnTo>
                  <a:pt x="3809" y="21234"/>
                </a:lnTo>
                <a:lnTo>
                  <a:pt x="6349" y="23710"/>
                </a:lnTo>
                <a:lnTo>
                  <a:pt x="9270" y="24955"/>
                </a:lnTo>
                <a:lnTo>
                  <a:pt x="12572" y="24955"/>
                </a:lnTo>
                <a:lnTo>
                  <a:pt x="15874" y="24955"/>
                </a:lnTo>
                <a:lnTo>
                  <a:pt x="18795" y="23672"/>
                </a:lnTo>
                <a:lnTo>
                  <a:pt x="21335" y="21132"/>
                </a:lnTo>
                <a:lnTo>
                  <a:pt x="23875" y="18605"/>
                </a:lnTo>
                <a:lnTo>
                  <a:pt x="25145" y="15608"/>
                </a:lnTo>
                <a:lnTo>
                  <a:pt x="25145" y="12179"/>
                </a:lnTo>
                <a:lnTo>
                  <a:pt x="25145" y="8890"/>
                </a:lnTo>
                <a:lnTo>
                  <a:pt x="23875" y="6032"/>
                </a:lnTo>
                <a:lnTo>
                  <a:pt x="21335" y="3619"/>
                </a:lnTo>
                <a:close/>
              </a:path>
            </a:pathLst>
          </a:custGeom>
          <a:ln w="3175">
            <a:solidFill>
              <a:srgbClr val="5A5B5D"/>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object 28"/>
          <p:cNvSpPr/>
          <p:nvPr/>
        </p:nvSpPr>
        <p:spPr>
          <a:xfrm>
            <a:off x="7197328" y="273013"/>
            <a:ext cx="202266" cy="219938"/>
          </a:xfrm>
          <a:custGeom>
            <a:avLst/>
            <a:gdLst/>
            <a:ahLst/>
            <a:cxnLst/>
            <a:rect l="l" t="t" r="r" b="b"/>
            <a:pathLst>
              <a:path w="287667" h="312801">
                <a:moveTo>
                  <a:pt x="279527" y="232981"/>
                </a:moveTo>
                <a:lnTo>
                  <a:pt x="276916" y="240546"/>
                </a:lnTo>
                <a:lnTo>
                  <a:pt x="271028" y="253498"/>
                </a:lnTo>
                <a:lnTo>
                  <a:pt x="263732" y="264989"/>
                </a:lnTo>
                <a:lnTo>
                  <a:pt x="255011" y="274826"/>
                </a:lnTo>
                <a:lnTo>
                  <a:pt x="244844" y="282815"/>
                </a:lnTo>
                <a:lnTo>
                  <a:pt x="233214" y="288761"/>
                </a:lnTo>
                <a:lnTo>
                  <a:pt x="220100" y="292471"/>
                </a:lnTo>
                <a:lnTo>
                  <a:pt x="205486" y="293750"/>
                </a:lnTo>
                <a:lnTo>
                  <a:pt x="114566" y="293750"/>
                </a:lnTo>
                <a:lnTo>
                  <a:pt x="107728" y="293248"/>
                </a:lnTo>
                <a:lnTo>
                  <a:pt x="97959" y="288007"/>
                </a:lnTo>
                <a:lnTo>
                  <a:pt x="93852" y="275935"/>
                </a:lnTo>
                <a:lnTo>
                  <a:pt x="93014" y="255638"/>
                </a:lnTo>
                <a:lnTo>
                  <a:pt x="93014" y="157327"/>
                </a:lnTo>
                <a:lnTo>
                  <a:pt x="183959" y="157327"/>
                </a:lnTo>
                <a:lnTo>
                  <a:pt x="196111" y="158269"/>
                </a:lnTo>
                <a:lnTo>
                  <a:pt x="208856" y="162758"/>
                </a:lnTo>
                <a:lnTo>
                  <a:pt x="217578" y="171143"/>
                </a:lnTo>
                <a:lnTo>
                  <a:pt x="222963" y="183638"/>
                </a:lnTo>
                <a:lnTo>
                  <a:pt x="225691" y="200456"/>
                </a:lnTo>
                <a:lnTo>
                  <a:pt x="234276" y="200456"/>
                </a:lnTo>
                <a:lnTo>
                  <a:pt x="234276" y="95199"/>
                </a:lnTo>
                <a:lnTo>
                  <a:pt x="225691" y="95199"/>
                </a:lnTo>
                <a:lnTo>
                  <a:pt x="223826" y="107933"/>
                </a:lnTo>
                <a:lnTo>
                  <a:pt x="219273" y="121643"/>
                </a:lnTo>
                <a:lnTo>
                  <a:pt x="211670" y="131078"/>
                </a:lnTo>
                <a:lnTo>
                  <a:pt x="200178" y="136526"/>
                </a:lnTo>
                <a:lnTo>
                  <a:pt x="183959" y="138277"/>
                </a:lnTo>
                <a:lnTo>
                  <a:pt x="93014" y="138277"/>
                </a:lnTo>
                <a:lnTo>
                  <a:pt x="93014" y="50723"/>
                </a:lnTo>
                <a:lnTo>
                  <a:pt x="93622" y="31657"/>
                </a:lnTo>
                <a:lnTo>
                  <a:pt x="98530" y="21623"/>
                </a:lnTo>
                <a:lnTo>
                  <a:pt x="112407" y="19100"/>
                </a:lnTo>
                <a:lnTo>
                  <a:pt x="195286" y="19103"/>
                </a:lnTo>
                <a:lnTo>
                  <a:pt x="211403" y="20210"/>
                </a:lnTo>
                <a:lnTo>
                  <a:pt x="224822" y="23609"/>
                </a:lnTo>
                <a:lnTo>
                  <a:pt x="235629" y="29719"/>
                </a:lnTo>
                <a:lnTo>
                  <a:pt x="243912" y="38959"/>
                </a:lnTo>
                <a:lnTo>
                  <a:pt x="249756" y="51747"/>
                </a:lnTo>
                <a:lnTo>
                  <a:pt x="253250" y="68503"/>
                </a:lnTo>
                <a:lnTo>
                  <a:pt x="261886" y="68503"/>
                </a:lnTo>
                <a:lnTo>
                  <a:pt x="257987" y="0"/>
                </a:lnTo>
                <a:lnTo>
                  <a:pt x="0" y="0"/>
                </a:lnTo>
                <a:lnTo>
                  <a:pt x="0" y="9016"/>
                </a:lnTo>
                <a:lnTo>
                  <a:pt x="1410" y="9021"/>
                </a:lnTo>
                <a:lnTo>
                  <a:pt x="18919" y="10203"/>
                </a:lnTo>
                <a:lnTo>
                  <a:pt x="31711" y="14202"/>
                </a:lnTo>
                <a:lnTo>
                  <a:pt x="40261" y="22059"/>
                </a:lnTo>
                <a:lnTo>
                  <a:pt x="45044" y="34817"/>
                </a:lnTo>
                <a:lnTo>
                  <a:pt x="46532" y="53517"/>
                </a:lnTo>
                <a:lnTo>
                  <a:pt x="46527" y="260779"/>
                </a:lnTo>
                <a:lnTo>
                  <a:pt x="44838" y="279017"/>
                </a:lnTo>
                <a:lnTo>
                  <a:pt x="39817" y="291402"/>
                </a:lnTo>
                <a:lnTo>
                  <a:pt x="30988" y="298970"/>
                </a:lnTo>
                <a:lnTo>
                  <a:pt x="17874" y="302752"/>
                </a:lnTo>
                <a:lnTo>
                  <a:pt x="0" y="303783"/>
                </a:lnTo>
                <a:lnTo>
                  <a:pt x="0" y="312800"/>
                </a:lnTo>
                <a:lnTo>
                  <a:pt x="264439" y="312800"/>
                </a:lnTo>
                <a:lnTo>
                  <a:pt x="287667"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bject 29"/>
          <p:cNvSpPr/>
          <p:nvPr/>
        </p:nvSpPr>
        <p:spPr>
          <a:xfrm>
            <a:off x="7397748" y="273013"/>
            <a:ext cx="192604" cy="219938"/>
          </a:xfrm>
          <a:custGeom>
            <a:avLst/>
            <a:gdLst/>
            <a:ahLst/>
            <a:cxnLst/>
            <a:rect l="l" t="t" r="r" b="b"/>
            <a:pathLst>
              <a:path w="273926" h="312801">
                <a:moveTo>
                  <a:pt x="263626" y="230720"/>
                </a:moveTo>
                <a:lnTo>
                  <a:pt x="254350" y="250108"/>
                </a:lnTo>
                <a:lnTo>
                  <a:pt x="246935" y="261900"/>
                </a:lnTo>
                <a:lnTo>
                  <a:pt x="238716" y="271780"/>
                </a:lnTo>
                <a:lnTo>
                  <a:pt x="229476" y="279784"/>
                </a:lnTo>
                <a:lnTo>
                  <a:pt x="218997" y="285948"/>
                </a:lnTo>
                <a:lnTo>
                  <a:pt x="207064" y="290306"/>
                </a:lnTo>
                <a:lnTo>
                  <a:pt x="193459" y="292895"/>
                </a:lnTo>
                <a:lnTo>
                  <a:pt x="177965" y="293750"/>
                </a:lnTo>
                <a:lnTo>
                  <a:pt x="116319" y="293750"/>
                </a:lnTo>
                <a:lnTo>
                  <a:pt x="103518" y="291860"/>
                </a:lnTo>
                <a:lnTo>
                  <a:pt x="94331" y="284253"/>
                </a:lnTo>
                <a:lnTo>
                  <a:pt x="90713" y="271286"/>
                </a:lnTo>
                <a:lnTo>
                  <a:pt x="90081" y="253466"/>
                </a:lnTo>
                <a:lnTo>
                  <a:pt x="90087" y="52028"/>
                </a:lnTo>
                <a:lnTo>
                  <a:pt x="91780" y="33763"/>
                </a:lnTo>
                <a:lnTo>
                  <a:pt x="96794" y="21372"/>
                </a:lnTo>
                <a:lnTo>
                  <a:pt x="105612" y="13812"/>
                </a:lnTo>
                <a:lnTo>
                  <a:pt x="118716" y="10042"/>
                </a:lnTo>
                <a:lnTo>
                  <a:pt x="136588" y="9016"/>
                </a:lnTo>
                <a:lnTo>
                  <a:pt x="136588" y="0"/>
                </a:lnTo>
                <a:lnTo>
                  <a:pt x="0" y="0"/>
                </a:lnTo>
                <a:lnTo>
                  <a:pt x="0" y="9016"/>
                </a:lnTo>
                <a:lnTo>
                  <a:pt x="14966" y="10511"/>
                </a:lnTo>
                <a:lnTo>
                  <a:pt x="28155" y="14358"/>
                </a:lnTo>
                <a:lnTo>
                  <a:pt x="37006" y="21749"/>
                </a:lnTo>
                <a:lnTo>
                  <a:pt x="41980" y="34041"/>
                </a:lnTo>
                <a:lnTo>
                  <a:pt x="43535" y="52590"/>
                </a:lnTo>
                <a:lnTo>
                  <a:pt x="43535" y="260261"/>
                </a:lnTo>
                <a:lnTo>
                  <a:pt x="42426" y="276421"/>
                </a:lnTo>
                <a:lnTo>
                  <a:pt x="37999" y="289580"/>
                </a:lnTo>
                <a:lnTo>
                  <a:pt x="29760" y="297621"/>
                </a:lnTo>
                <a:lnTo>
                  <a:pt x="17247" y="301903"/>
                </a:lnTo>
                <a:lnTo>
                  <a:pt x="0" y="303783"/>
                </a:lnTo>
                <a:lnTo>
                  <a:pt x="0" y="312800"/>
                </a:lnTo>
                <a:lnTo>
                  <a:pt x="247650" y="312800"/>
                </a:lnTo>
                <a:lnTo>
                  <a:pt x="273926" y="232625"/>
                </a:lnTo>
                <a:lnTo>
                  <a:pt x="263626" y="23072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bject 30"/>
          <p:cNvSpPr/>
          <p:nvPr/>
        </p:nvSpPr>
        <p:spPr>
          <a:xfrm>
            <a:off x="7595780" y="267888"/>
            <a:ext cx="141160" cy="230162"/>
          </a:xfrm>
          <a:custGeom>
            <a:avLst/>
            <a:gdLst/>
            <a:ahLst/>
            <a:cxnLst/>
            <a:rect l="l" t="t" r="r" b="b"/>
            <a:pathLst>
              <a:path w="200761" h="327342">
                <a:moveTo>
                  <a:pt x="10321" y="68942"/>
                </a:moveTo>
                <a:lnTo>
                  <a:pt x="9067" y="84797"/>
                </a:lnTo>
                <a:lnTo>
                  <a:pt x="9094" y="86841"/>
                </a:lnTo>
                <a:lnTo>
                  <a:pt x="10343" y="98306"/>
                </a:lnTo>
                <a:lnTo>
                  <a:pt x="13392" y="108843"/>
                </a:lnTo>
                <a:lnTo>
                  <a:pt x="18155" y="118652"/>
                </a:lnTo>
                <a:lnTo>
                  <a:pt x="24544" y="127932"/>
                </a:lnTo>
                <a:lnTo>
                  <a:pt x="32474" y="136881"/>
                </a:lnTo>
                <a:lnTo>
                  <a:pt x="41858" y="145698"/>
                </a:lnTo>
                <a:lnTo>
                  <a:pt x="52609" y="154583"/>
                </a:lnTo>
                <a:lnTo>
                  <a:pt x="64641" y="163733"/>
                </a:lnTo>
                <a:lnTo>
                  <a:pt x="77867" y="173349"/>
                </a:lnTo>
                <a:lnTo>
                  <a:pt x="92202" y="183629"/>
                </a:lnTo>
                <a:lnTo>
                  <a:pt x="104017" y="192251"/>
                </a:lnTo>
                <a:lnTo>
                  <a:pt x="117107" y="202385"/>
                </a:lnTo>
                <a:lnTo>
                  <a:pt x="128553" y="212154"/>
                </a:lnTo>
                <a:lnTo>
                  <a:pt x="138219" y="221667"/>
                </a:lnTo>
                <a:lnTo>
                  <a:pt x="145972" y="231033"/>
                </a:lnTo>
                <a:lnTo>
                  <a:pt x="151675" y="240363"/>
                </a:lnTo>
                <a:lnTo>
                  <a:pt x="155196" y="249764"/>
                </a:lnTo>
                <a:lnTo>
                  <a:pt x="156400" y="259346"/>
                </a:lnTo>
                <a:lnTo>
                  <a:pt x="154334" y="274067"/>
                </a:lnTo>
                <a:lnTo>
                  <a:pt x="148555" y="286590"/>
                </a:lnTo>
                <a:lnTo>
                  <a:pt x="139643" y="296736"/>
                </a:lnTo>
                <a:lnTo>
                  <a:pt x="128181" y="304271"/>
                </a:lnTo>
                <a:lnTo>
                  <a:pt x="114751" y="308962"/>
                </a:lnTo>
                <a:lnTo>
                  <a:pt x="99936" y="310578"/>
                </a:lnTo>
                <a:lnTo>
                  <a:pt x="89934" y="309904"/>
                </a:lnTo>
                <a:lnTo>
                  <a:pt x="76906" y="306822"/>
                </a:lnTo>
                <a:lnTo>
                  <a:pt x="65028" y="301521"/>
                </a:lnTo>
                <a:lnTo>
                  <a:pt x="54235" y="294302"/>
                </a:lnTo>
                <a:lnTo>
                  <a:pt x="44462" y="285468"/>
                </a:lnTo>
                <a:lnTo>
                  <a:pt x="35645" y="275322"/>
                </a:lnTo>
                <a:lnTo>
                  <a:pt x="27718" y="264166"/>
                </a:lnTo>
                <a:lnTo>
                  <a:pt x="20618" y="252302"/>
                </a:lnTo>
                <a:lnTo>
                  <a:pt x="14278" y="240032"/>
                </a:lnTo>
                <a:lnTo>
                  <a:pt x="8636" y="227660"/>
                </a:lnTo>
                <a:lnTo>
                  <a:pt x="0" y="227660"/>
                </a:lnTo>
                <a:lnTo>
                  <a:pt x="16802" y="324192"/>
                </a:lnTo>
                <a:lnTo>
                  <a:pt x="25463" y="324192"/>
                </a:lnTo>
                <a:lnTo>
                  <a:pt x="26352" y="317449"/>
                </a:lnTo>
                <a:lnTo>
                  <a:pt x="31876" y="314299"/>
                </a:lnTo>
                <a:lnTo>
                  <a:pt x="37096" y="314299"/>
                </a:lnTo>
                <a:lnTo>
                  <a:pt x="41516" y="314915"/>
                </a:lnTo>
                <a:lnTo>
                  <a:pt x="50668" y="317201"/>
                </a:lnTo>
                <a:lnTo>
                  <a:pt x="62825" y="320407"/>
                </a:lnTo>
                <a:lnTo>
                  <a:pt x="77157" y="323713"/>
                </a:lnTo>
                <a:lnTo>
                  <a:pt x="92835" y="326298"/>
                </a:lnTo>
                <a:lnTo>
                  <a:pt x="109029" y="327342"/>
                </a:lnTo>
                <a:lnTo>
                  <a:pt x="109480" y="327341"/>
                </a:lnTo>
                <a:lnTo>
                  <a:pt x="124538" y="326156"/>
                </a:lnTo>
                <a:lnTo>
                  <a:pt x="138729" y="322841"/>
                </a:lnTo>
                <a:lnTo>
                  <a:pt x="151884" y="317559"/>
                </a:lnTo>
                <a:lnTo>
                  <a:pt x="163836" y="310469"/>
                </a:lnTo>
                <a:lnTo>
                  <a:pt x="174413" y="301732"/>
                </a:lnTo>
                <a:lnTo>
                  <a:pt x="183447" y="291509"/>
                </a:lnTo>
                <a:lnTo>
                  <a:pt x="190768" y="279961"/>
                </a:lnTo>
                <a:lnTo>
                  <a:pt x="196207" y="267249"/>
                </a:lnTo>
                <a:lnTo>
                  <a:pt x="199594" y="253534"/>
                </a:lnTo>
                <a:lnTo>
                  <a:pt x="200761" y="238975"/>
                </a:lnTo>
                <a:lnTo>
                  <a:pt x="200208" y="229802"/>
                </a:lnTo>
                <a:lnTo>
                  <a:pt x="197518" y="217185"/>
                </a:lnTo>
                <a:lnTo>
                  <a:pt x="192813" y="205469"/>
                </a:lnTo>
                <a:lnTo>
                  <a:pt x="186339" y="194585"/>
                </a:lnTo>
                <a:lnTo>
                  <a:pt x="178341" y="184463"/>
                </a:lnTo>
                <a:lnTo>
                  <a:pt x="169065" y="175032"/>
                </a:lnTo>
                <a:lnTo>
                  <a:pt x="158755" y="166225"/>
                </a:lnTo>
                <a:lnTo>
                  <a:pt x="147657" y="157969"/>
                </a:lnTo>
                <a:lnTo>
                  <a:pt x="136016" y="150196"/>
                </a:lnTo>
                <a:lnTo>
                  <a:pt x="124079" y="142836"/>
                </a:lnTo>
                <a:lnTo>
                  <a:pt x="114617" y="137112"/>
                </a:lnTo>
                <a:lnTo>
                  <a:pt x="99689" y="127857"/>
                </a:lnTo>
                <a:lnTo>
                  <a:pt x="86381" y="119077"/>
                </a:lnTo>
                <a:lnTo>
                  <a:pt x="74808" y="110584"/>
                </a:lnTo>
                <a:lnTo>
                  <a:pt x="65084" y="102185"/>
                </a:lnTo>
                <a:lnTo>
                  <a:pt x="57322" y="93693"/>
                </a:lnTo>
                <a:lnTo>
                  <a:pt x="51636" y="84916"/>
                </a:lnTo>
                <a:lnTo>
                  <a:pt x="48142" y="75664"/>
                </a:lnTo>
                <a:lnTo>
                  <a:pt x="46951" y="65747"/>
                </a:lnTo>
                <a:lnTo>
                  <a:pt x="47315" y="59506"/>
                </a:lnTo>
                <a:lnTo>
                  <a:pt x="51053" y="45528"/>
                </a:lnTo>
                <a:lnTo>
                  <a:pt x="58334" y="33757"/>
                </a:lnTo>
                <a:lnTo>
                  <a:pt x="68536" y="24710"/>
                </a:lnTo>
                <a:lnTo>
                  <a:pt x="81036" y="18903"/>
                </a:lnTo>
                <a:lnTo>
                  <a:pt x="95211" y="16852"/>
                </a:lnTo>
                <a:lnTo>
                  <a:pt x="95535" y="16853"/>
                </a:lnTo>
                <a:lnTo>
                  <a:pt x="109355" y="18312"/>
                </a:lnTo>
                <a:lnTo>
                  <a:pt x="121957" y="22352"/>
                </a:lnTo>
                <a:lnTo>
                  <a:pt x="133357" y="28658"/>
                </a:lnTo>
                <a:lnTo>
                  <a:pt x="143574" y="36919"/>
                </a:lnTo>
                <a:lnTo>
                  <a:pt x="152623" y="46820"/>
                </a:lnTo>
                <a:lnTo>
                  <a:pt x="160524" y="58051"/>
                </a:lnTo>
                <a:lnTo>
                  <a:pt x="167294" y="70297"/>
                </a:lnTo>
                <a:lnTo>
                  <a:pt x="172949" y="83245"/>
                </a:lnTo>
                <a:lnTo>
                  <a:pt x="177507" y="96583"/>
                </a:lnTo>
                <a:lnTo>
                  <a:pt x="186093" y="96583"/>
                </a:lnTo>
                <a:lnTo>
                  <a:pt x="176225" y="3314"/>
                </a:lnTo>
                <a:lnTo>
                  <a:pt x="167627" y="3314"/>
                </a:lnTo>
                <a:lnTo>
                  <a:pt x="168846" y="10477"/>
                </a:lnTo>
                <a:lnTo>
                  <a:pt x="167627" y="14592"/>
                </a:lnTo>
                <a:lnTo>
                  <a:pt x="158018" y="14521"/>
                </a:lnTo>
                <a:lnTo>
                  <a:pt x="148019" y="12591"/>
                </a:lnTo>
                <a:lnTo>
                  <a:pt x="137982" y="8937"/>
                </a:lnTo>
                <a:lnTo>
                  <a:pt x="126710" y="4796"/>
                </a:lnTo>
                <a:lnTo>
                  <a:pt x="113009" y="1405"/>
                </a:lnTo>
                <a:lnTo>
                  <a:pt x="95681" y="0"/>
                </a:lnTo>
                <a:lnTo>
                  <a:pt x="87648" y="311"/>
                </a:lnTo>
                <a:lnTo>
                  <a:pt x="73426" y="2477"/>
                </a:lnTo>
                <a:lnTo>
                  <a:pt x="60081" y="6636"/>
                </a:lnTo>
                <a:lnTo>
                  <a:pt x="47824" y="12709"/>
                </a:lnTo>
                <a:lnTo>
                  <a:pt x="36869" y="20614"/>
                </a:lnTo>
                <a:lnTo>
                  <a:pt x="27428" y="30271"/>
                </a:lnTo>
                <a:lnTo>
                  <a:pt x="19714" y="41598"/>
                </a:lnTo>
                <a:lnTo>
                  <a:pt x="13941" y="54516"/>
                </a:lnTo>
                <a:lnTo>
                  <a:pt x="10321" y="68942"/>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object 31"/>
          <p:cNvSpPr/>
          <p:nvPr/>
        </p:nvSpPr>
        <p:spPr>
          <a:xfrm>
            <a:off x="7737814" y="273013"/>
            <a:ext cx="202338" cy="219938"/>
          </a:xfrm>
          <a:custGeom>
            <a:avLst/>
            <a:gdLst/>
            <a:ahLst/>
            <a:cxnLst/>
            <a:rect l="l" t="t" r="r" b="b"/>
            <a:pathLst>
              <a:path w="287769" h="312801">
                <a:moveTo>
                  <a:pt x="279552" y="232981"/>
                </a:moveTo>
                <a:lnTo>
                  <a:pt x="276943" y="240536"/>
                </a:lnTo>
                <a:lnTo>
                  <a:pt x="271058" y="253490"/>
                </a:lnTo>
                <a:lnTo>
                  <a:pt x="263768" y="264984"/>
                </a:lnTo>
                <a:lnTo>
                  <a:pt x="255054" y="274822"/>
                </a:lnTo>
                <a:lnTo>
                  <a:pt x="244894" y="282812"/>
                </a:lnTo>
                <a:lnTo>
                  <a:pt x="233266" y="288760"/>
                </a:lnTo>
                <a:lnTo>
                  <a:pt x="220150" y="292470"/>
                </a:lnTo>
                <a:lnTo>
                  <a:pt x="205524" y="293750"/>
                </a:lnTo>
                <a:lnTo>
                  <a:pt x="114617" y="293750"/>
                </a:lnTo>
                <a:lnTo>
                  <a:pt x="107743" y="293243"/>
                </a:lnTo>
                <a:lnTo>
                  <a:pt x="97971" y="287995"/>
                </a:lnTo>
                <a:lnTo>
                  <a:pt x="93848" y="275924"/>
                </a:lnTo>
                <a:lnTo>
                  <a:pt x="93002" y="255638"/>
                </a:lnTo>
                <a:lnTo>
                  <a:pt x="93002" y="157327"/>
                </a:lnTo>
                <a:lnTo>
                  <a:pt x="183972" y="157327"/>
                </a:lnTo>
                <a:lnTo>
                  <a:pt x="196132" y="158270"/>
                </a:lnTo>
                <a:lnTo>
                  <a:pt x="208870" y="162761"/>
                </a:lnTo>
                <a:lnTo>
                  <a:pt x="217590" y="171146"/>
                </a:lnTo>
                <a:lnTo>
                  <a:pt x="222977" y="183640"/>
                </a:lnTo>
                <a:lnTo>
                  <a:pt x="225717" y="200456"/>
                </a:lnTo>
                <a:lnTo>
                  <a:pt x="234302" y="200456"/>
                </a:lnTo>
                <a:lnTo>
                  <a:pt x="234302" y="95199"/>
                </a:lnTo>
                <a:lnTo>
                  <a:pt x="225717" y="95199"/>
                </a:lnTo>
                <a:lnTo>
                  <a:pt x="223839" y="107942"/>
                </a:lnTo>
                <a:lnTo>
                  <a:pt x="219288" y="121649"/>
                </a:lnTo>
                <a:lnTo>
                  <a:pt x="211694" y="131080"/>
                </a:lnTo>
                <a:lnTo>
                  <a:pt x="200206" y="136526"/>
                </a:lnTo>
                <a:lnTo>
                  <a:pt x="183972" y="138277"/>
                </a:lnTo>
                <a:lnTo>
                  <a:pt x="93002" y="138277"/>
                </a:lnTo>
                <a:lnTo>
                  <a:pt x="93002" y="50723"/>
                </a:lnTo>
                <a:lnTo>
                  <a:pt x="93614" y="31635"/>
                </a:lnTo>
                <a:lnTo>
                  <a:pt x="98538" y="21619"/>
                </a:lnTo>
                <a:lnTo>
                  <a:pt x="112445" y="19100"/>
                </a:lnTo>
                <a:lnTo>
                  <a:pt x="195307" y="19104"/>
                </a:lnTo>
                <a:lnTo>
                  <a:pt x="211444" y="20221"/>
                </a:lnTo>
                <a:lnTo>
                  <a:pt x="224871" y="23628"/>
                </a:lnTo>
                <a:lnTo>
                  <a:pt x="235677" y="29742"/>
                </a:lnTo>
                <a:lnTo>
                  <a:pt x="243952" y="38981"/>
                </a:lnTo>
                <a:lnTo>
                  <a:pt x="249784" y="51762"/>
                </a:lnTo>
                <a:lnTo>
                  <a:pt x="253263" y="68503"/>
                </a:lnTo>
                <a:lnTo>
                  <a:pt x="261861" y="68503"/>
                </a:lnTo>
                <a:lnTo>
                  <a:pt x="258025" y="0"/>
                </a:lnTo>
                <a:lnTo>
                  <a:pt x="0" y="0"/>
                </a:lnTo>
                <a:lnTo>
                  <a:pt x="0" y="9016"/>
                </a:lnTo>
                <a:lnTo>
                  <a:pt x="1382" y="9021"/>
                </a:lnTo>
                <a:lnTo>
                  <a:pt x="18909" y="10200"/>
                </a:lnTo>
                <a:lnTo>
                  <a:pt x="31704" y="14197"/>
                </a:lnTo>
                <a:lnTo>
                  <a:pt x="40248" y="22053"/>
                </a:lnTo>
                <a:lnTo>
                  <a:pt x="45022" y="34812"/>
                </a:lnTo>
                <a:lnTo>
                  <a:pt x="46507" y="53517"/>
                </a:lnTo>
                <a:lnTo>
                  <a:pt x="46501" y="260748"/>
                </a:lnTo>
                <a:lnTo>
                  <a:pt x="44822" y="278999"/>
                </a:lnTo>
                <a:lnTo>
                  <a:pt x="39815" y="291394"/>
                </a:lnTo>
                <a:lnTo>
                  <a:pt x="30996" y="298967"/>
                </a:lnTo>
                <a:lnTo>
                  <a:pt x="17886" y="302752"/>
                </a:lnTo>
                <a:lnTo>
                  <a:pt x="0" y="303783"/>
                </a:lnTo>
                <a:lnTo>
                  <a:pt x="0" y="312800"/>
                </a:lnTo>
                <a:lnTo>
                  <a:pt x="264502" y="312800"/>
                </a:lnTo>
                <a:lnTo>
                  <a:pt x="287769" y="236232"/>
                </a:lnTo>
                <a:lnTo>
                  <a:pt x="279552"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object 32"/>
          <p:cNvSpPr/>
          <p:nvPr/>
        </p:nvSpPr>
        <p:spPr>
          <a:xfrm>
            <a:off x="7923469" y="273014"/>
            <a:ext cx="228341" cy="222528"/>
          </a:xfrm>
          <a:custGeom>
            <a:avLst/>
            <a:gdLst/>
            <a:ahLst/>
            <a:cxnLst/>
            <a:rect l="l" t="t" r="r" b="b"/>
            <a:pathLst>
              <a:path w="324751" h="316484">
                <a:moveTo>
                  <a:pt x="91997" y="24011"/>
                </a:moveTo>
                <a:lnTo>
                  <a:pt x="99871" y="13459"/>
                </a:lnTo>
                <a:lnTo>
                  <a:pt x="114130" y="9572"/>
                </a:lnTo>
                <a:lnTo>
                  <a:pt x="127977" y="9016"/>
                </a:lnTo>
                <a:lnTo>
                  <a:pt x="127977" y="0"/>
                </a:lnTo>
                <a:lnTo>
                  <a:pt x="0" y="0"/>
                </a:lnTo>
                <a:lnTo>
                  <a:pt x="0" y="9016"/>
                </a:lnTo>
                <a:lnTo>
                  <a:pt x="2948" y="9122"/>
                </a:lnTo>
                <a:lnTo>
                  <a:pt x="15857" y="12204"/>
                </a:lnTo>
                <a:lnTo>
                  <a:pt x="26953" y="19165"/>
                </a:lnTo>
                <a:lnTo>
                  <a:pt x="35356" y="29476"/>
                </a:lnTo>
                <a:lnTo>
                  <a:pt x="42551" y="42746"/>
                </a:lnTo>
                <a:lnTo>
                  <a:pt x="48256" y="54127"/>
                </a:lnTo>
                <a:lnTo>
                  <a:pt x="53680" y="65620"/>
                </a:lnTo>
                <a:lnTo>
                  <a:pt x="58887" y="77198"/>
                </a:lnTo>
                <a:lnTo>
                  <a:pt x="63944" y="88835"/>
                </a:lnTo>
                <a:lnTo>
                  <a:pt x="68916" y="100505"/>
                </a:lnTo>
                <a:lnTo>
                  <a:pt x="73868" y="112181"/>
                </a:lnTo>
                <a:lnTo>
                  <a:pt x="78866" y="123837"/>
                </a:lnTo>
                <a:lnTo>
                  <a:pt x="161975" y="316483"/>
                </a:lnTo>
                <a:lnTo>
                  <a:pt x="168401" y="316483"/>
                </a:lnTo>
                <a:lnTo>
                  <a:pt x="268338" y="86550"/>
                </a:lnTo>
                <a:lnTo>
                  <a:pt x="270549" y="81247"/>
                </a:lnTo>
                <a:lnTo>
                  <a:pt x="275260" y="69665"/>
                </a:lnTo>
                <a:lnTo>
                  <a:pt x="280885" y="56348"/>
                </a:lnTo>
                <a:lnTo>
                  <a:pt x="287239" y="42690"/>
                </a:lnTo>
                <a:lnTo>
                  <a:pt x="294141" y="30083"/>
                </a:lnTo>
                <a:lnTo>
                  <a:pt x="301406" y="19918"/>
                </a:lnTo>
                <a:lnTo>
                  <a:pt x="308851" y="13588"/>
                </a:lnTo>
                <a:lnTo>
                  <a:pt x="314007" y="10883"/>
                </a:lnTo>
                <a:lnTo>
                  <a:pt x="319557" y="10020"/>
                </a:lnTo>
                <a:lnTo>
                  <a:pt x="324751" y="9016"/>
                </a:lnTo>
                <a:lnTo>
                  <a:pt x="324751" y="0"/>
                </a:lnTo>
                <a:lnTo>
                  <a:pt x="233476" y="0"/>
                </a:lnTo>
                <a:lnTo>
                  <a:pt x="233476" y="9016"/>
                </a:lnTo>
                <a:lnTo>
                  <a:pt x="250754" y="11440"/>
                </a:lnTo>
                <a:lnTo>
                  <a:pt x="262460" y="16957"/>
                </a:lnTo>
                <a:lnTo>
                  <a:pt x="266280" y="25387"/>
                </a:lnTo>
                <a:lnTo>
                  <a:pt x="266156" y="28939"/>
                </a:lnTo>
                <a:lnTo>
                  <a:pt x="264646" y="38693"/>
                </a:lnTo>
                <a:lnTo>
                  <a:pt x="260974" y="51036"/>
                </a:lnTo>
                <a:lnTo>
                  <a:pt x="254584" y="67132"/>
                </a:lnTo>
                <a:lnTo>
                  <a:pt x="179616" y="241617"/>
                </a:lnTo>
                <a:lnTo>
                  <a:pt x="117182" y="92976"/>
                </a:lnTo>
                <a:lnTo>
                  <a:pt x="113376" y="83986"/>
                </a:lnTo>
                <a:lnTo>
                  <a:pt x="106936" y="68608"/>
                </a:lnTo>
                <a:lnTo>
                  <a:pt x="101056" y="54194"/>
                </a:lnTo>
                <a:lnTo>
                  <a:pt x="96237" y="41751"/>
                </a:lnTo>
                <a:lnTo>
                  <a:pt x="92979" y="32283"/>
                </a:lnTo>
                <a:lnTo>
                  <a:pt x="91782" y="26796"/>
                </a:lnTo>
                <a:lnTo>
                  <a:pt x="91997" y="2401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bject 33"/>
          <p:cNvSpPr/>
          <p:nvPr/>
        </p:nvSpPr>
        <p:spPr>
          <a:xfrm>
            <a:off x="8153924" y="273013"/>
            <a:ext cx="98146" cy="219938"/>
          </a:xfrm>
          <a:custGeom>
            <a:avLst/>
            <a:gdLst/>
            <a:ahLst/>
            <a:cxnLst/>
            <a:rect l="l" t="t" r="r" b="b"/>
            <a:pathLst>
              <a:path w="139585" h="312801">
                <a:moveTo>
                  <a:pt x="46570" y="259397"/>
                </a:moveTo>
                <a:lnTo>
                  <a:pt x="44869" y="279043"/>
                </a:lnTo>
                <a:lnTo>
                  <a:pt x="39840" y="291415"/>
                </a:lnTo>
                <a:lnTo>
                  <a:pt x="31003" y="298975"/>
                </a:lnTo>
                <a:lnTo>
                  <a:pt x="17881" y="302753"/>
                </a:lnTo>
                <a:lnTo>
                  <a:pt x="0" y="303783"/>
                </a:lnTo>
                <a:lnTo>
                  <a:pt x="0" y="312800"/>
                </a:lnTo>
                <a:lnTo>
                  <a:pt x="139585" y="312800"/>
                </a:lnTo>
                <a:lnTo>
                  <a:pt x="139585" y="303783"/>
                </a:lnTo>
                <a:lnTo>
                  <a:pt x="138180" y="303779"/>
                </a:lnTo>
                <a:lnTo>
                  <a:pt x="120634" y="302594"/>
                </a:lnTo>
                <a:lnTo>
                  <a:pt x="107812" y="298593"/>
                </a:lnTo>
                <a:lnTo>
                  <a:pt x="99240" y="290746"/>
                </a:lnTo>
                <a:lnTo>
                  <a:pt x="94444" y="278024"/>
                </a:lnTo>
                <a:lnTo>
                  <a:pt x="92951" y="259397"/>
                </a:lnTo>
                <a:lnTo>
                  <a:pt x="92959" y="51875"/>
                </a:lnTo>
                <a:lnTo>
                  <a:pt x="94681" y="33676"/>
                </a:lnTo>
                <a:lnTo>
                  <a:pt x="99733" y="21330"/>
                </a:lnTo>
                <a:lnTo>
                  <a:pt x="108586" y="13797"/>
                </a:lnTo>
                <a:lnTo>
                  <a:pt x="121713" y="10038"/>
                </a:lnTo>
                <a:lnTo>
                  <a:pt x="139585" y="9016"/>
                </a:lnTo>
                <a:lnTo>
                  <a:pt x="139585" y="0"/>
                </a:lnTo>
                <a:lnTo>
                  <a:pt x="0" y="0"/>
                </a:lnTo>
                <a:lnTo>
                  <a:pt x="0" y="9016"/>
                </a:lnTo>
                <a:lnTo>
                  <a:pt x="1454" y="9021"/>
                </a:lnTo>
                <a:lnTo>
                  <a:pt x="18959" y="10207"/>
                </a:lnTo>
                <a:lnTo>
                  <a:pt x="31749" y="14209"/>
                </a:lnTo>
                <a:lnTo>
                  <a:pt x="40299" y="22068"/>
                </a:lnTo>
                <a:lnTo>
                  <a:pt x="45081" y="34823"/>
                </a:lnTo>
                <a:lnTo>
                  <a:pt x="46570" y="53517"/>
                </a:lnTo>
                <a:lnTo>
                  <a:pt x="46570" y="25939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34"/>
          <p:cNvSpPr/>
          <p:nvPr/>
        </p:nvSpPr>
        <p:spPr>
          <a:xfrm>
            <a:off x="8265583" y="273013"/>
            <a:ext cx="202319" cy="219938"/>
          </a:xfrm>
          <a:custGeom>
            <a:avLst/>
            <a:gdLst/>
            <a:ahLst/>
            <a:cxnLst/>
            <a:rect l="l" t="t" r="r" b="b"/>
            <a:pathLst>
              <a:path w="287743" h="312801">
                <a:moveTo>
                  <a:pt x="279527" y="232981"/>
                </a:moveTo>
                <a:lnTo>
                  <a:pt x="276917" y="240565"/>
                </a:lnTo>
                <a:lnTo>
                  <a:pt x="271048" y="253513"/>
                </a:lnTo>
                <a:lnTo>
                  <a:pt x="263772" y="265000"/>
                </a:lnTo>
                <a:lnTo>
                  <a:pt x="255065" y="274833"/>
                </a:lnTo>
                <a:lnTo>
                  <a:pt x="244903" y="282819"/>
                </a:lnTo>
                <a:lnTo>
                  <a:pt x="233264" y="288763"/>
                </a:lnTo>
                <a:lnTo>
                  <a:pt x="220124" y="292471"/>
                </a:lnTo>
                <a:lnTo>
                  <a:pt x="205460" y="293750"/>
                </a:lnTo>
                <a:lnTo>
                  <a:pt x="114579" y="293750"/>
                </a:lnTo>
                <a:lnTo>
                  <a:pt x="107757" y="293250"/>
                </a:lnTo>
                <a:lnTo>
                  <a:pt x="97991" y="288011"/>
                </a:lnTo>
                <a:lnTo>
                  <a:pt x="93888" y="275940"/>
                </a:lnTo>
                <a:lnTo>
                  <a:pt x="93052" y="255638"/>
                </a:lnTo>
                <a:lnTo>
                  <a:pt x="93052" y="157327"/>
                </a:lnTo>
                <a:lnTo>
                  <a:pt x="183908" y="157327"/>
                </a:lnTo>
                <a:lnTo>
                  <a:pt x="196122" y="158276"/>
                </a:lnTo>
                <a:lnTo>
                  <a:pt x="208868" y="162773"/>
                </a:lnTo>
                <a:lnTo>
                  <a:pt x="217594" y="171159"/>
                </a:lnTo>
                <a:lnTo>
                  <a:pt x="222980" y="183649"/>
                </a:lnTo>
                <a:lnTo>
                  <a:pt x="225704" y="200456"/>
                </a:lnTo>
                <a:lnTo>
                  <a:pt x="234340" y="200456"/>
                </a:lnTo>
                <a:lnTo>
                  <a:pt x="234340" y="95199"/>
                </a:lnTo>
                <a:lnTo>
                  <a:pt x="225704" y="95199"/>
                </a:lnTo>
                <a:lnTo>
                  <a:pt x="223860" y="107980"/>
                </a:lnTo>
                <a:lnTo>
                  <a:pt x="219304" y="121669"/>
                </a:lnTo>
                <a:lnTo>
                  <a:pt x="211672" y="131089"/>
                </a:lnTo>
                <a:lnTo>
                  <a:pt x="200145" y="136528"/>
                </a:lnTo>
                <a:lnTo>
                  <a:pt x="183908" y="138277"/>
                </a:lnTo>
                <a:lnTo>
                  <a:pt x="93052" y="138277"/>
                </a:lnTo>
                <a:lnTo>
                  <a:pt x="93052" y="50723"/>
                </a:lnTo>
                <a:lnTo>
                  <a:pt x="93667" y="31624"/>
                </a:lnTo>
                <a:lnTo>
                  <a:pt x="98599" y="21617"/>
                </a:lnTo>
                <a:lnTo>
                  <a:pt x="112522" y="19100"/>
                </a:lnTo>
                <a:lnTo>
                  <a:pt x="195377" y="19104"/>
                </a:lnTo>
                <a:lnTo>
                  <a:pt x="211528" y="20228"/>
                </a:lnTo>
                <a:lnTo>
                  <a:pt x="224950" y="23640"/>
                </a:lnTo>
                <a:lnTo>
                  <a:pt x="235741" y="29756"/>
                </a:lnTo>
                <a:lnTo>
                  <a:pt x="244002" y="38995"/>
                </a:lnTo>
                <a:lnTo>
                  <a:pt x="249831" y="51771"/>
                </a:lnTo>
                <a:lnTo>
                  <a:pt x="253326" y="68503"/>
                </a:lnTo>
                <a:lnTo>
                  <a:pt x="261861" y="68503"/>
                </a:lnTo>
                <a:lnTo>
                  <a:pt x="258025" y="0"/>
                </a:lnTo>
                <a:lnTo>
                  <a:pt x="0" y="0"/>
                </a:lnTo>
                <a:lnTo>
                  <a:pt x="0" y="9016"/>
                </a:lnTo>
                <a:lnTo>
                  <a:pt x="1385" y="9021"/>
                </a:lnTo>
                <a:lnTo>
                  <a:pt x="18934" y="10200"/>
                </a:lnTo>
                <a:lnTo>
                  <a:pt x="31731" y="14197"/>
                </a:lnTo>
                <a:lnTo>
                  <a:pt x="40266" y="22053"/>
                </a:lnTo>
                <a:lnTo>
                  <a:pt x="45028" y="34812"/>
                </a:lnTo>
                <a:lnTo>
                  <a:pt x="46507" y="53517"/>
                </a:lnTo>
                <a:lnTo>
                  <a:pt x="46501" y="260748"/>
                </a:lnTo>
                <a:lnTo>
                  <a:pt x="44829" y="278999"/>
                </a:lnTo>
                <a:lnTo>
                  <a:pt x="39833" y="291394"/>
                </a:lnTo>
                <a:lnTo>
                  <a:pt x="31024" y="298967"/>
                </a:lnTo>
                <a:lnTo>
                  <a:pt x="17910" y="302752"/>
                </a:lnTo>
                <a:lnTo>
                  <a:pt x="0" y="303783"/>
                </a:lnTo>
                <a:lnTo>
                  <a:pt x="0" y="312800"/>
                </a:lnTo>
                <a:lnTo>
                  <a:pt x="264439" y="312800"/>
                </a:lnTo>
                <a:lnTo>
                  <a:pt x="287743"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object 35"/>
          <p:cNvSpPr/>
          <p:nvPr/>
        </p:nvSpPr>
        <p:spPr>
          <a:xfrm>
            <a:off x="8467537" y="273015"/>
            <a:ext cx="221045" cy="219938"/>
          </a:xfrm>
          <a:custGeom>
            <a:avLst/>
            <a:gdLst/>
            <a:ahLst/>
            <a:cxnLst/>
            <a:rect l="l" t="t" r="r" b="b"/>
            <a:pathLst>
              <a:path w="314375" h="312801">
                <a:moveTo>
                  <a:pt x="314375" y="303783"/>
                </a:moveTo>
                <a:lnTo>
                  <a:pt x="300670" y="299079"/>
                </a:lnTo>
                <a:lnTo>
                  <a:pt x="290550" y="293294"/>
                </a:lnTo>
                <a:lnTo>
                  <a:pt x="281779" y="285095"/>
                </a:lnTo>
                <a:lnTo>
                  <a:pt x="276504" y="278803"/>
                </a:lnTo>
                <a:lnTo>
                  <a:pt x="181749" y="161886"/>
                </a:lnTo>
                <a:lnTo>
                  <a:pt x="196480" y="158116"/>
                </a:lnTo>
                <a:lnTo>
                  <a:pt x="210046" y="153248"/>
                </a:lnTo>
                <a:lnTo>
                  <a:pt x="222306" y="147169"/>
                </a:lnTo>
                <a:lnTo>
                  <a:pt x="233118" y="139769"/>
                </a:lnTo>
                <a:lnTo>
                  <a:pt x="242342" y="130933"/>
                </a:lnTo>
                <a:lnTo>
                  <a:pt x="249835" y="120551"/>
                </a:lnTo>
                <a:lnTo>
                  <a:pt x="255456" y="108509"/>
                </a:lnTo>
                <a:lnTo>
                  <a:pt x="259064" y="94696"/>
                </a:lnTo>
                <a:lnTo>
                  <a:pt x="260517" y="78998"/>
                </a:lnTo>
                <a:lnTo>
                  <a:pt x="260540" y="76606"/>
                </a:lnTo>
                <a:lnTo>
                  <a:pt x="259020" y="58622"/>
                </a:lnTo>
                <a:lnTo>
                  <a:pt x="254681" y="43691"/>
                </a:lnTo>
                <a:lnTo>
                  <a:pt x="247856" y="31531"/>
                </a:lnTo>
                <a:lnTo>
                  <a:pt x="238877" y="21857"/>
                </a:lnTo>
                <a:lnTo>
                  <a:pt x="228075" y="14388"/>
                </a:lnTo>
                <a:lnTo>
                  <a:pt x="215784" y="8840"/>
                </a:lnTo>
                <a:lnTo>
                  <a:pt x="202336" y="4930"/>
                </a:lnTo>
                <a:lnTo>
                  <a:pt x="188062" y="2374"/>
                </a:lnTo>
                <a:lnTo>
                  <a:pt x="173296" y="890"/>
                </a:lnTo>
                <a:lnTo>
                  <a:pt x="158369" y="193"/>
                </a:lnTo>
                <a:lnTo>
                  <a:pt x="143614" y="2"/>
                </a:lnTo>
                <a:lnTo>
                  <a:pt x="0" y="0"/>
                </a:lnTo>
                <a:lnTo>
                  <a:pt x="0" y="9016"/>
                </a:lnTo>
                <a:lnTo>
                  <a:pt x="17847" y="10042"/>
                </a:lnTo>
                <a:lnTo>
                  <a:pt x="30948" y="13812"/>
                </a:lnTo>
                <a:lnTo>
                  <a:pt x="39774" y="21372"/>
                </a:lnTo>
                <a:lnTo>
                  <a:pt x="44801" y="33763"/>
                </a:lnTo>
                <a:lnTo>
                  <a:pt x="103533" y="18338"/>
                </a:lnTo>
                <a:lnTo>
                  <a:pt x="121766" y="16832"/>
                </a:lnTo>
                <a:lnTo>
                  <a:pt x="126542" y="16814"/>
                </a:lnTo>
                <a:lnTo>
                  <a:pt x="141816" y="17509"/>
                </a:lnTo>
                <a:lnTo>
                  <a:pt x="156370" y="19742"/>
                </a:lnTo>
                <a:lnTo>
                  <a:pt x="169834" y="23743"/>
                </a:lnTo>
                <a:lnTo>
                  <a:pt x="181839" y="29736"/>
                </a:lnTo>
                <a:lnTo>
                  <a:pt x="192017" y="37950"/>
                </a:lnTo>
                <a:lnTo>
                  <a:pt x="199998" y="48611"/>
                </a:lnTo>
                <a:lnTo>
                  <a:pt x="205414" y="61946"/>
                </a:lnTo>
                <a:lnTo>
                  <a:pt x="207894" y="78182"/>
                </a:lnTo>
                <a:lnTo>
                  <a:pt x="208013" y="83007"/>
                </a:lnTo>
                <a:lnTo>
                  <a:pt x="206455" y="99861"/>
                </a:lnTo>
                <a:lnTo>
                  <a:pt x="202008" y="114037"/>
                </a:lnTo>
                <a:lnTo>
                  <a:pt x="195011" y="125725"/>
                </a:lnTo>
                <a:lnTo>
                  <a:pt x="185804" y="135111"/>
                </a:lnTo>
                <a:lnTo>
                  <a:pt x="174724" y="142386"/>
                </a:lnTo>
                <a:lnTo>
                  <a:pt x="162113" y="147737"/>
                </a:lnTo>
                <a:lnTo>
                  <a:pt x="148307" y="151354"/>
                </a:lnTo>
                <a:lnTo>
                  <a:pt x="133648" y="153423"/>
                </a:lnTo>
                <a:lnTo>
                  <a:pt x="132219" y="173189"/>
                </a:lnTo>
                <a:lnTo>
                  <a:pt x="244652" y="312800"/>
                </a:lnTo>
                <a:lnTo>
                  <a:pt x="314375" y="312800"/>
                </a:lnTo>
                <a:lnTo>
                  <a:pt x="314375" y="303783"/>
                </a:lnTo>
                <a:close/>
              </a:path>
              <a:path w="314375" h="312801">
                <a:moveTo>
                  <a:pt x="139547" y="312800"/>
                </a:moveTo>
                <a:lnTo>
                  <a:pt x="139547" y="303783"/>
                </a:lnTo>
                <a:lnTo>
                  <a:pt x="121667" y="302754"/>
                </a:lnTo>
                <a:lnTo>
                  <a:pt x="108541" y="298978"/>
                </a:lnTo>
                <a:lnTo>
                  <a:pt x="99696" y="291423"/>
                </a:lnTo>
                <a:lnTo>
                  <a:pt x="94659" y="279060"/>
                </a:lnTo>
                <a:lnTo>
                  <a:pt x="92957" y="260855"/>
                </a:lnTo>
                <a:lnTo>
                  <a:pt x="92951" y="173189"/>
                </a:lnTo>
                <a:lnTo>
                  <a:pt x="132219" y="173189"/>
                </a:lnTo>
                <a:lnTo>
                  <a:pt x="133648" y="153423"/>
                </a:lnTo>
                <a:lnTo>
                  <a:pt x="118474" y="154135"/>
                </a:lnTo>
                <a:lnTo>
                  <a:pt x="92951" y="154139"/>
                </a:lnTo>
                <a:lnTo>
                  <a:pt x="92951" y="39408"/>
                </a:lnTo>
                <a:lnTo>
                  <a:pt x="95040" y="24720"/>
                </a:lnTo>
                <a:lnTo>
                  <a:pt x="103533" y="18338"/>
                </a:lnTo>
                <a:lnTo>
                  <a:pt x="44801" y="33763"/>
                </a:lnTo>
                <a:lnTo>
                  <a:pt x="46500" y="52028"/>
                </a:lnTo>
                <a:lnTo>
                  <a:pt x="46507" y="259397"/>
                </a:lnTo>
                <a:lnTo>
                  <a:pt x="45014" y="278046"/>
                </a:lnTo>
                <a:lnTo>
                  <a:pt x="40217" y="290775"/>
                </a:lnTo>
                <a:lnTo>
                  <a:pt x="31643" y="298617"/>
                </a:lnTo>
                <a:lnTo>
                  <a:pt x="18814" y="302607"/>
                </a:lnTo>
                <a:lnTo>
                  <a:pt x="1257" y="303780"/>
                </a:lnTo>
                <a:lnTo>
                  <a:pt x="0" y="303783"/>
                </a:lnTo>
                <a:lnTo>
                  <a:pt x="0" y="312800"/>
                </a:lnTo>
                <a:lnTo>
                  <a:pt x="139547" y="3128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object 26"/>
          <p:cNvSpPr/>
          <p:nvPr/>
        </p:nvSpPr>
        <p:spPr>
          <a:xfrm>
            <a:off x="473271" y="314717"/>
            <a:ext cx="137392" cy="172914"/>
          </a:xfrm>
          <a:custGeom>
            <a:avLst/>
            <a:gdLst/>
            <a:ahLst/>
            <a:cxnLst/>
            <a:rect l="l" t="t" r="r" b="b"/>
            <a:pathLst>
              <a:path w="195402" h="245922">
                <a:moveTo>
                  <a:pt x="35286" y="117306"/>
                </a:moveTo>
                <a:lnTo>
                  <a:pt x="36531" y="103026"/>
                </a:lnTo>
                <a:lnTo>
                  <a:pt x="39488" y="89346"/>
                </a:lnTo>
                <a:lnTo>
                  <a:pt x="44162" y="76478"/>
                </a:lnTo>
                <a:lnTo>
                  <a:pt x="50557" y="64635"/>
                </a:lnTo>
                <a:lnTo>
                  <a:pt x="58677" y="54030"/>
                </a:lnTo>
                <a:lnTo>
                  <a:pt x="68527" y="44876"/>
                </a:lnTo>
                <a:lnTo>
                  <a:pt x="80111" y="37385"/>
                </a:lnTo>
                <a:lnTo>
                  <a:pt x="93434" y="31772"/>
                </a:lnTo>
                <a:lnTo>
                  <a:pt x="108499" y="28247"/>
                </a:lnTo>
                <a:lnTo>
                  <a:pt x="125310" y="27025"/>
                </a:lnTo>
                <a:lnTo>
                  <a:pt x="131111" y="27142"/>
                </a:lnTo>
                <a:lnTo>
                  <a:pt x="143066" y="28077"/>
                </a:lnTo>
                <a:lnTo>
                  <a:pt x="155696" y="30052"/>
                </a:lnTo>
                <a:lnTo>
                  <a:pt x="168583" y="33191"/>
                </a:lnTo>
                <a:lnTo>
                  <a:pt x="181306" y="37623"/>
                </a:lnTo>
                <a:lnTo>
                  <a:pt x="193446" y="43472"/>
                </a:lnTo>
                <a:lnTo>
                  <a:pt x="195402" y="13715"/>
                </a:lnTo>
                <a:lnTo>
                  <a:pt x="184701" y="9126"/>
                </a:lnTo>
                <a:lnTo>
                  <a:pt x="173914" y="5608"/>
                </a:lnTo>
                <a:lnTo>
                  <a:pt x="161366" y="2704"/>
                </a:lnTo>
                <a:lnTo>
                  <a:pt x="147006" y="728"/>
                </a:lnTo>
                <a:lnTo>
                  <a:pt x="130784" y="0"/>
                </a:lnTo>
                <a:lnTo>
                  <a:pt x="126835" y="40"/>
                </a:lnTo>
                <a:lnTo>
                  <a:pt x="109616" y="1232"/>
                </a:lnTo>
                <a:lnTo>
                  <a:pt x="93617" y="4001"/>
                </a:lnTo>
                <a:lnTo>
                  <a:pt x="78846" y="8249"/>
                </a:lnTo>
                <a:lnTo>
                  <a:pt x="65312" y="13877"/>
                </a:lnTo>
                <a:lnTo>
                  <a:pt x="53024" y="20789"/>
                </a:lnTo>
                <a:lnTo>
                  <a:pt x="41992" y="28885"/>
                </a:lnTo>
                <a:lnTo>
                  <a:pt x="32223" y="38067"/>
                </a:lnTo>
                <a:lnTo>
                  <a:pt x="23728" y="48238"/>
                </a:lnTo>
                <a:lnTo>
                  <a:pt x="16515" y="59300"/>
                </a:lnTo>
                <a:lnTo>
                  <a:pt x="10594" y="71155"/>
                </a:lnTo>
                <a:lnTo>
                  <a:pt x="5972" y="83703"/>
                </a:lnTo>
                <a:lnTo>
                  <a:pt x="2660" y="96848"/>
                </a:lnTo>
                <a:lnTo>
                  <a:pt x="666" y="110492"/>
                </a:lnTo>
                <a:lnTo>
                  <a:pt x="0" y="124536"/>
                </a:lnTo>
                <a:lnTo>
                  <a:pt x="630" y="138065"/>
                </a:lnTo>
                <a:lnTo>
                  <a:pt x="3013" y="153464"/>
                </a:lnTo>
                <a:lnTo>
                  <a:pt x="7057" y="167764"/>
                </a:lnTo>
                <a:lnTo>
                  <a:pt x="12644" y="180943"/>
                </a:lnTo>
                <a:lnTo>
                  <a:pt x="19651" y="192976"/>
                </a:lnTo>
                <a:lnTo>
                  <a:pt x="27960" y="203841"/>
                </a:lnTo>
                <a:lnTo>
                  <a:pt x="37450" y="213514"/>
                </a:lnTo>
                <a:lnTo>
                  <a:pt x="48001" y="221973"/>
                </a:lnTo>
                <a:lnTo>
                  <a:pt x="59494" y="229194"/>
                </a:lnTo>
                <a:lnTo>
                  <a:pt x="71808" y="235155"/>
                </a:lnTo>
                <a:lnTo>
                  <a:pt x="84822" y="239831"/>
                </a:lnTo>
                <a:lnTo>
                  <a:pt x="98418" y="243199"/>
                </a:lnTo>
                <a:lnTo>
                  <a:pt x="112475" y="245238"/>
                </a:lnTo>
                <a:lnTo>
                  <a:pt x="126872" y="245922"/>
                </a:lnTo>
                <a:lnTo>
                  <a:pt x="132177" y="245840"/>
                </a:lnTo>
                <a:lnTo>
                  <a:pt x="144006" y="245133"/>
                </a:lnTo>
                <a:lnTo>
                  <a:pt x="156948" y="243572"/>
                </a:lnTo>
                <a:lnTo>
                  <a:pt x="170298" y="241002"/>
                </a:lnTo>
                <a:lnTo>
                  <a:pt x="183352" y="237269"/>
                </a:lnTo>
                <a:lnTo>
                  <a:pt x="195402" y="232219"/>
                </a:lnTo>
                <a:lnTo>
                  <a:pt x="193446" y="202056"/>
                </a:lnTo>
                <a:lnTo>
                  <a:pt x="188941" y="204345"/>
                </a:lnTo>
                <a:lnTo>
                  <a:pt x="175560" y="209939"/>
                </a:lnTo>
                <a:lnTo>
                  <a:pt x="162324" y="213968"/>
                </a:lnTo>
                <a:lnTo>
                  <a:pt x="149651" y="216618"/>
                </a:lnTo>
                <a:lnTo>
                  <a:pt x="137958" y="218072"/>
                </a:lnTo>
                <a:lnTo>
                  <a:pt x="127660" y="218516"/>
                </a:lnTo>
                <a:lnTo>
                  <a:pt x="118573" y="218118"/>
                </a:lnTo>
                <a:lnTo>
                  <a:pt x="104205" y="215746"/>
                </a:lnTo>
                <a:lnTo>
                  <a:pt x="90889" y="211362"/>
                </a:lnTo>
                <a:lnTo>
                  <a:pt x="78733" y="205105"/>
                </a:lnTo>
                <a:lnTo>
                  <a:pt x="67845" y="197115"/>
                </a:lnTo>
                <a:lnTo>
                  <a:pt x="58335" y="187532"/>
                </a:lnTo>
                <a:lnTo>
                  <a:pt x="50311" y="176496"/>
                </a:lnTo>
                <a:lnTo>
                  <a:pt x="43881" y="164147"/>
                </a:lnTo>
                <a:lnTo>
                  <a:pt x="39154" y="150626"/>
                </a:lnTo>
                <a:lnTo>
                  <a:pt x="36238" y="136071"/>
                </a:lnTo>
                <a:lnTo>
                  <a:pt x="35242" y="120624"/>
                </a:lnTo>
                <a:lnTo>
                  <a:pt x="35286" y="11730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object 27"/>
          <p:cNvSpPr/>
          <p:nvPr/>
        </p:nvSpPr>
        <p:spPr>
          <a:xfrm>
            <a:off x="629089"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1"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5" y="-88506"/>
                </a:lnTo>
                <a:lnTo>
                  <a:pt x="136270"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601" y="-65859"/>
                </a:lnTo>
                <a:lnTo>
                  <a:pt x="85750" y="-67360"/>
                </a:lnTo>
                <a:lnTo>
                  <a:pt x="93254" y="-66844"/>
                </a:lnTo>
                <a:lnTo>
                  <a:pt x="105137" y="-63160"/>
                </a:lnTo>
                <a:lnTo>
                  <a:pt x="114522" y="-55803"/>
                </a:lnTo>
                <a:lnTo>
                  <a:pt x="121328" y="-44622"/>
                </a:lnTo>
                <a:lnTo>
                  <a:pt x="125473" y="-29466"/>
                </a:lnTo>
                <a:lnTo>
                  <a:pt x="126872" y="-10185"/>
                </a:lnTo>
                <a:lnTo>
                  <a:pt x="126872"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4"/>
          <p:cNvSpPr/>
          <p:nvPr/>
        </p:nvSpPr>
        <p:spPr>
          <a:xfrm>
            <a:off x="775818" y="356571"/>
            <a:ext cx="75992" cy="127756"/>
          </a:xfrm>
          <a:custGeom>
            <a:avLst/>
            <a:gdLst/>
            <a:ahLst/>
            <a:cxnLst/>
            <a:rect l="l" t="t" r="r" b="b"/>
            <a:pathLst>
              <a:path w="108077" h="181698">
                <a:moveTo>
                  <a:pt x="83400" y="39560"/>
                </a:moveTo>
                <a:lnTo>
                  <a:pt x="108077" y="32499"/>
                </a:lnTo>
                <a:lnTo>
                  <a:pt x="107683" y="28587"/>
                </a:lnTo>
                <a:lnTo>
                  <a:pt x="107289" y="25844"/>
                </a:lnTo>
                <a:lnTo>
                  <a:pt x="106000" y="20626"/>
                </a:lnTo>
                <a:lnTo>
                  <a:pt x="99644" y="9293"/>
                </a:lnTo>
                <a:lnTo>
                  <a:pt x="88841" y="2355"/>
                </a:lnTo>
                <a:lnTo>
                  <a:pt x="73228" y="0"/>
                </a:lnTo>
                <a:lnTo>
                  <a:pt x="72122" y="19"/>
                </a:lnTo>
                <a:lnTo>
                  <a:pt x="58986" y="3260"/>
                </a:lnTo>
                <a:lnTo>
                  <a:pt x="47814" y="10886"/>
                </a:lnTo>
                <a:lnTo>
                  <a:pt x="38989" y="21199"/>
                </a:lnTo>
                <a:lnTo>
                  <a:pt x="32893" y="32499"/>
                </a:lnTo>
                <a:lnTo>
                  <a:pt x="27800" y="4305"/>
                </a:lnTo>
                <a:lnTo>
                  <a:pt x="0" y="4305"/>
                </a:lnTo>
                <a:lnTo>
                  <a:pt x="1562" y="18414"/>
                </a:lnTo>
                <a:lnTo>
                  <a:pt x="2339" y="26086"/>
                </a:lnTo>
                <a:lnTo>
                  <a:pt x="2957" y="38564"/>
                </a:lnTo>
                <a:lnTo>
                  <a:pt x="3136" y="52870"/>
                </a:lnTo>
                <a:lnTo>
                  <a:pt x="3136" y="181698"/>
                </a:lnTo>
                <a:lnTo>
                  <a:pt x="33286" y="181698"/>
                </a:lnTo>
                <a:lnTo>
                  <a:pt x="33286" y="68922"/>
                </a:lnTo>
                <a:lnTo>
                  <a:pt x="35886" y="62885"/>
                </a:lnTo>
                <a:lnTo>
                  <a:pt x="42221" y="50341"/>
                </a:lnTo>
                <a:lnTo>
                  <a:pt x="50365" y="38075"/>
                </a:lnTo>
                <a:lnTo>
                  <a:pt x="60017" y="28756"/>
                </a:lnTo>
                <a:lnTo>
                  <a:pt x="70878" y="25057"/>
                </a:lnTo>
                <a:lnTo>
                  <a:pt x="82232" y="25057"/>
                </a:lnTo>
                <a:lnTo>
                  <a:pt x="83400" y="36804"/>
                </a:lnTo>
                <a:lnTo>
                  <a:pt x="83400" y="3956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5"/>
          <p:cNvSpPr/>
          <p:nvPr/>
        </p:nvSpPr>
        <p:spPr>
          <a:xfrm>
            <a:off x="861154" y="356297"/>
            <a:ext cx="105728" cy="131337"/>
          </a:xfrm>
          <a:custGeom>
            <a:avLst/>
            <a:gdLst/>
            <a:ahLst/>
            <a:cxnLst/>
            <a:rect l="l" t="t" r="r" b="b"/>
            <a:pathLst>
              <a:path w="150368" h="186791">
                <a:moveTo>
                  <a:pt x="35010" y="62876"/>
                </a:moveTo>
                <a:lnTo>
                  <a:pt x="41098" y="46175"/>
                </a:lnTo>
                <a:lnTo>
                  <a:pt x="48702" y="35750"/>
                </a:lnTo>
                <a:lnTo>
                  <a:pt x="53657" y="30937"/>
                </a:lnTo>
                <a:lnTo>
                  <a:pt x="55600" y="28968"/>
                </a:lnTo>
                <a:lnTo>
                  <a:pt x="68922" y="25450"/>
                </a:lnTo>
                <a:lnTo>
                  <a:pt x="77139" y="25450"/>
                </a:lnTo>
                <a:lnTo>
                  <a:pt x="90999" y="26113"/>
                </a:lnTo>
                <a:lnTo>
                  <a:pt x="104434" y="29335"/>
                </a:lnTo>
                <a:lnTo>
                  <a:pt x="114238" y="36308"/>
                </a:lnTo>
                <a:lnTo>
                  <a:pt x="120413" y="48200"/>
                </a:lnTo>
                <a:lnTo>
                  <a:pt x="122961" y="66179"/>
                </a:lnTo>
                <a:lnTo>
                  <a:pt x="34455" y="66179"/>
                </a:lnTo>
                <a:lnTo>
                  <a:pt x="31330" y="89674"/>
                </a:lnTo>
                <a:lnTo>
                  <a:pt x="150367" y="89674"/>
                </a:lnTo>
                <a:lnTo>
                  <a:pt x="150367" y="89275"/>
                </a:lnTo>
                <a:lnTo>
                  <a:pt x="149692" y="70094"/>
                </a:lnTo>
                <a:lnTo>
                  <a:pt x="147602" y="53325"/>
                </a:lnTo>
                <a:lnTo>
                  <a:pt x="143927" y="38928"/>
                </a:lnTo>
                <a:lnTo>
                  <a:pt x="138497" y="26860"/>
                </a:lnTo>
                <a:lnTo>
                  <a:pt x="131144" y="17079"/>
                </a:lnTo>
                <a:lnTo>
                  <a:pt x="121697" y="9544"/>
                </a:lnTo>
                <a:lnTo>
                  <a:pt x="109986" y="4214"/>
                </a:lnTo>
                <a:lnTo>
                  <a:pt x="95842" y="1046"/>
                </a:lnTo>
                <a:lnTo>
                  <a:pt x="79095" y="0"/>
                </a:lnTo>
                <a:lnTo>
                  <a:pt x="69735" y="474"/>
                </a:lnTo>
                <a:lnTo>
                  <a:pt x="56568" y="2924"/>
                </a:lnTo>
                <a:lnTo>
                  <a:pt x="44434" y="7432"/>
                </a:lnTo>
                <a:lnTo>
                  <a:pt x="35010" y="62876"/>
                </a:lnTo>
                <a:close/>
              </a:path>
              <a:path w="150368" h="186791">
                <a:moveTo>
                  <a:pt x="0" y="93980"/>
                </a:moveTo>
                <a:lnTo>
                  <a:pt x="461" y="105315"/>
                </a:lnTo>
                <a:lnTo>
                  <a:pt x="2938" y="121659"/>
                </a:lnTo>
                <a:lnTo>
                  <a:pt x="7407" y="136345"/>
                </a:lnTo>
                <a:lnTo>
                  <a:pt x="13692" y="149304"/>
                </a:lnTo>
                <a:lnTo>
                  <a:pt x="21622" y="160463"/>
                </a:lnTo>
                <a:lnTo>
                  <a:pt x="31023" y="169752"/>
                </a:lnTo>
                <a:lnTo>
                  <a:pt x="41723" y="177100"/>
                </a:lnTo>
                <a:lnTo>
                  <a:pt x="53548" y="182437"/>
                </a:lnTo>
                <a:lnTo>
                  <a:pt x="66325" y="185691"/>
                </a:lnTo>
                <a:lnTo>
                  <a:pt x="79882" y="186791"/>
                </a:lnTo>
                <a:lnTo>
                  <a:pt x="88087" y="186632"/>
                </a:lnTo>
                <a:lnTo>
                  <a:pt x="103693" y="185288"/>
                </a:lnTo>
                <a:lnTo>
                  <a:pt x="116964" y="182744"/>
                </a:lnTo>
                <a:lnTo>
                  <a:pt x="128347" y="179203"/>
                </a:lnTo>
                <a:lnTo>
                  <a:pt x="138287" y="174867"/>
                </a:lnTo>
                <a:lnTo>
                  <a:pt x="147231" y="169938"/>
                </a:lnTo>
                <a:lnTo>
                  <a:pt x="144894" y="142544"/>
                </a:lnTo>
                <a:lnTo>
                  <a:pt x="139995" y="146247"/>
                </a:lnTo>
                <a:lnTo>
                  <a:pt x="129511" y="151889"/>
                </a:lnTo>
                <a:lnTo>
                  <a:pt x="116861" y="156570"/>
                </a:lnTo>
                <a:lnTo>
                  <a:pt x="103100" y="159765"/>
                </a:lnTo>
                <a:lnTo>
                  <a:pt x="89280" y="160947"/>
                </a:lnTo>
                <a:lnTo>
                  <a:pt x="75824" y="159821"/>
                </a:lnTo>
                <a:lnTo>
                  <a:pt x="62559" y="155850"/>
                </a:lnTo>
                <a:lnTo>
                  <a:pt x="51528" y="149086"/>
                </a:lnTo>
                <a:lnTo>
                  <a:pt x="42811" y="139602"/>
                </a:lnTo>
                <a:lnTo>
                  <a:pt x="36486" y="127470"/>
                </a:lnTo>
                <a:lnTo>
                  <a:pt x="32632" y="112763"/>
                </a:lnTo>
                <a:lnTo>
                  <a:pt x="31330" y="95554"/>
                </a:lnTo>
                <a:lnTo>
                  <a:pt x="31330" y="89674"/>
                </a:lnTo>
                <a:lnTo>
                  <a:pt x="34455" y="66179"/>
                </a:lnTo>
                <a:lnTo>
                  <a:pt x="35010" y="62876"/>
                </a:lnTo>
                <a:lnTo>
                  <a:pt x="44434" y="7432"/>
                </a:lnTo>
                <a:lnTo>
                  <a:pt x="33472" y="13966"/>
                </a:lnTo>
                <a:lnTo>
                  <a:pt x="23818" y="22495"/>
                </a:lnTo>
                <a:lnTo>
                  <a:pt x="15610" y="32988"/>
                </a:lnTo>
                <a:lnTo>
                  <a:pt x="8987" y="45415"/>
                </a:lnTo>
                <a:lnTo>
                  <a:pt x="4086" y="59743"/>
                </a:lnTo>
                <a:lnTo>
                  <a:pt x="1044" y="75941"/>
                </a:lnTo>
                <a:lnTo>
                  <a:pt x="0" y="9398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3"/>
          <p:cNvSpPr/>
          <p:nvPr/>
        </p:nvSpPr>
        <p:spPr>
          <a:xfrm>
            <a:off x="1050010" y="318031"/>
            <a:ext cx="110406" cy="166298"/>
          </a:xfrm>
          <a:custGeom>
            <a:avLst/>
            <a:gdLst/>
            <a:ahLst/>
            <a:cxnLst/>
            <a:rect l="l" t="t" r="r" b="b"/>
            <a:pathLst>
              <a:path w="157022" h="236512">
                <a:moveTo>
                  <a:pt x="71455" y="126006"/>
                </a:moveTo>
                <a:lnTo>
                  <a:pt x="55994" y="126873"/>
                </a:lnTo>
                <a:lnTo>
                  <a:pt x="45034" y="126873"/>
                </a:lnTo>
                <a:lnTo>
                  <a:pt x="30937" y="125298"/>
                </a:lnTo>
                <a:lnTo>
                  <a:pt x="30937" y="25057"/>
                </a:lnTo>
                <a:lnTo>
                  <a:pt x="0" y="0"/>
                </a:lnTo>
                <a:lnTo>
                  <a:pt x="0" y="236512"/>
                </a:lnTo>
                <a:lnTo>
                  <a:pt x="30937" y="236512"/>
                </a:lnTo>
                <a:lnTo>
                  <a:pt x="30937" y="150749"/>
                </a:lnTo>
                <a:lnTo>
                  <a:pt x="43178" y="151895"/>
                </a:lnTo>
                <a:lnTo>
                  <a:pt x="56058" y="152535"/>
                </a:lnTo>
                <a:lnTo>
                  <a:pt x="71455" y="126006"/>
                </a:lnTo>
                <a:close/>
              </a:path>
              <a:path w="157022" h="236512">
                <a:moveTo>
                  <a:pt x="30937" y="25057"/>
                </a:moveTo>
                <a:lnTo>
                  <a:pt x="66179" y="25057"/>
                </a:lnTo>
                <a:lnTo>
                  <a:pt x="81534" y="26150"/>
                </a:lnTo>
                <a:lnTo>
                  <a:pt x="96054" y="30091"/>
                </a:lnTo>
                <a:lnTo>
                  <a:pt x="107326" y="36913"/>
                </a:lnTo>
                <a:lnTo>
                  <a:pt x="115364" y="46630"/>
                </a:lnTo>
                <a:lnTo>
                  <a:pt x="120178" y="59251"/>
                </a:lnTo>
                <a:lnTo>
                  <a:pt x="121780" y="74790"/>
                </a:lnTo>
                <a:lnTo>
                  <a:pt x="121018" y="85191"/>
                </a:lnTo>
                <a:lnTo>
                  <a:pt x="116679" y="99384"/>
                </a:lnTo>
                <a:lnTo>
                  <a:pt x="108991" y="110212"/>
                </a:lnTo>
                <a:lnTo>
                  <a:pt x="98516" y="118025"/>
                </a:lnTo>
                <a:lnTo>
                  <a:pt x="85817" y="123173"/>
                </a:lnTo>
                <a:lnTo>
                  <a:pt x="71455" y="126006"/>
                </a:lnTo>
                <a:lnTo>
                  <a:pt x="56058" y="152535"/>
                </a:lnTo>
                <a:lnTo>
                  <a:pt x="67741" y="152704"/>
                </a:lnTo>
                <a:lnTo>
                  <a:pt x="72445" y="152586"/>
                </a:lnTo>
                <a:lnTo>
                  <a:pt x="86585" y="150820"/>
                </a:lnTo>
                <a:lnTo>
                  <a:pt x="100330" y="147037"/>
                </a:lnTo>
                <a:lnTo>
                  <a:pt x="113340" y="141366"/>
                </a:lnTo>
                <a:lnTo>
                  <a:pt x="125277" y="133933"/>
                </a:lnTo>
                <a:lnTo>
                  <a:pt x="135803" y="124865"/>
                </a:lnTo>
                <a:lnTo>
                  <a:pt x="144579" y="114289"/>
                </a:lnTo>
                <a:lnTo>
                  <a:pt x="151266" y="102333"/>
                </a:lnTo>
                <a:lnTo>
                  <a:pt x="155527" y="89125"/>
                </a:lnTo>
                <a:lnTo>
                  <a:pt x="157022" y="74790"/>
                </a:lnTo>
                <a:lnTo>
                  <a:pt x="156430" y="64454"/>
                </a:lnTo>
                <a:lnTo>
                  <a:pt x="153253" y="49732"/>
                </a:lnTo>
                <a:lnTo>
                  <a:pt x="147577" y="36821"/>
                </a:lnTo>
                <a:lnTo>
                  <a:pt x="139683" y="25766"/>
                </a:lnTo>
                <a:lnTo>
                  <a:pt x="129850" y="16616"/>
                </a:lnTo>
                <a:lnTo>
                  <a:pt x="118359" y="9417"/>
                </a:lnTo>
                <a:lnTo>
                  <a:pt x="105492" y="4217"/>
                </a:lnTo>
                <a:lnTo>
                  <a:pt x="91527" y="1062"/>
                </a:lnTo>
                <a:lnTo>
                  <a:pt x="76746" y="0"/>
                </a:lnTo>
                <a:lnTo>
                  <a:pt x="0" y="0"/>
                </a:lnTo>
                <a:lnTo>
                  <a:pt x="30937" y="2505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22"/>
          <p:cNvSpPr/>
          <p:nvPr/>
        </p:nvSpPr>
        <p:spPr>
          <a:xfrm>
            <a:off x="1196328" y="304538"/>
            <a:ext cx="0" cy="179790"/>
          </a:xfrm>
          <a:custGeom>
            <a:avLst/>
            <a:gdLst/>
            <a:ahLst/>
            <a:cxnLst/>
            <a:rect l="l" t="t" r="r" b="b"/>
            <a:pathLst>
              <a:path h="255701">
                <a:moveTo>
                  <a:pt x="0" y="0"/>
                </a:moveTo>
                <a:lnTo>
                  <a:pt x="0" y="255701"/>
                </a:lnTo>
              </a:path>
            </a:pathLst>
          </a:custGeom>
          <a:ln w="31419">
            <a:solidFill>
              <a:srgbClr val="F5821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21"/>
          <p:cNvSpPr/>
          <p:nvPr/>
        </p:nvSpPr>
        <p:spPr>
          <a:xfrm>
            <a:off x="1235550"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2"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6" y="-88506"/>
                </a:lnTo>
                <a:lnTo>
                  <a:pt x="136271"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595" y="-65859"/>
                </a:lnTo>
                <a:lnTo>
                  <a:pt x="85750" y="-67360"/>
                </a:lnTo>
                <a:lnTo>
                  <a:pt x="93254" y="-66844"/>
                </a:lnTo>
                <a:lnTo>
                  <a:pt x="105137" y="-63160"/>
                </a:lnTo>
                <a:lnTo>
                  <a:pt x="114522" y="-55803"/>
                </a:lnTo>
                <a:lnTo>
                  <a:pt x="121328" y="-44622"/>
                </a:lnTo>
                <a:lnTo>
                  <a:pt x="125473" y="-29466"/>
                </a:lnTo>
                <a:lnTo>
                  <a:pt x="126873" y="-10185"/>
                </a:lnTo>
                <a:lnTo>
                  <a:pt x="126873"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20"/>
          <p:cNvSpPr/>
          <p:nvPr/>
        </p:nvSpPr>
        <p:spPr>
          <a:xfrm>
            <a:off x="1382277" y="356293"/>
            <a:ext cx="103790" cy="128033"/>
          </a:xfrm>
          <a:custGeom>
            <a:avLst/>
            <a:gdLst/>
            <a:ahLst/>
            <a:cxnLst/>
            <a:rect l="l" t="t" r="r" b="b"/>
            <a:pathLst>
              <a:path w="147613" h="182092">
                <a:moveTo>
                  <a:pt x="62649" y="31724"/>
                </a:moveTo>
                <a:lnTo>
                  <a:pt x="65392" y="30162"/>
                </a:lnTo>
                <a:lnTo>
                  <a:pt x="77927" y="27025"/>
                </a:lnTo>
                <a:lnTo>
                  <a:pt x="87325" y="27025"/>
                </a:lnTo>
                <a:lnTo>
                  <a:pt x="103229" y="29547"/>
                </a:lnTo>
                <a:lnTo>
                  <a:pt x="112206" y="37199"/>
                </a:lnTo>
                <a:lnTo>
                  <a:pt x="116226" y="49942"/>
                </a:lnTo>
                <a:lnTo>
                  <a:pt x="117475" y="67741"/>
                </a:lnTo>
                <a:lnTo>
                  <a:pt x="117747" y="78307"/>
                </a:lnTo>
                <a:lnTo>
                  <a:pt x="117877" y="106135"/>
                </a:lnTo>
                <a:lnTo>
                  <a:pt x="118031" y="121023"/>
                </a:lnTo>
                <a:lnTo>
                  <a:pt x="118013" y="141871"/>
                </a:lnTo>
                <a:lnTo>
                  <a:pt x="117776" y="152000"/>
                </a:lnTo>
                <a:lnTo>
                  <a:pt x="117345" y="164712"/>
                </a:lnTo>
                <a:lnTo>
                  <a:pt x="116687" y="182092"/>
                </a:lnTo>
                <a:lnTo>
                  <a:pt x="146837" y="182092"/>
                </a:lnTo>
                <a:lnTo>
                  <a:pt x="146944" y="174487"/>
                </a:lnTo>
                <a:lnTo>
                  <a:pt x="147097" y="162795"/>
                </a:lnTo>
                <a:lnTo>
                  <a:pt x="147276" y="147767"/>
                </a:lnTo>
                <a:lnTo>
                  <a:pt x="147447" y="131083"/>
                </a:lnTo>
                <a:lnTo>
                  <a:pt x="147574" y="114423"/>
                </a:lnTo>
                <a:lnTo>
                  <a:pt x="147613" y="71983"/>
                </a:lnTo>
                <a:lnTo>
                  <a:pt x="147275" y="59290"/>
                </a:lnTo>
                <a:lnTo>
                  <a:pt x="146456" y="46596"/>
                </a:lnTo>
                <a:lnTo>
                  <a:pt x="144273" y="33519"/>
                </a:lnTo>
                <a:lnTo>
                  <a:pt x="138664" y="20109"/>
                </a:lnTo>
                <a:lnTo>
                  <a:pt x="130182" y="10555"/>
                </a:lnTo>
                <a:lnTo>
                  <a:pt x="119084" y="4355"/>
                </a:lnTo>
                <a:lnTo>
                  <a:pt x="105627" y="1005"/>
                </a:lnTo>
                <a:lnTo>
                  <a:pt x="90068" y="0"/>
                </a:lnTo>
                <a:lnTo>
                  <a:pt x="87824" y="32"/>
                </a:lnTo>
                <a:lnTo>
                  <a:pt x="73699" y="1882"/>
                </a:lnTo>
                <a:lnTo>
                  <a:pt x="61466" y="6295"/>
                </a:lnTo>
                <a:lnTo>
                  <a:pt x="50763" y="12874"/>
                </a:lnTo>
                <a:lnTo>
                  <a:pt x="41228" y="21220"/>
                </a:lnTo>
                <a:lnTo>
                  <a:pt x="32499" y="30937"/>
                </a:lnTo>
                <a:lnTo>
                  <a:pt x="27800" y="4698"/>
                </a:lnTo>
                <a:lnTo>
                  <a:pt x="0" y="4698"/>
                </a:lnTo>
                <a:lnTo>
                  <a:pt x="1562" y="18808"/>
                </a:lnTo>
                <a:lnTo>
                  <a:pt x="2377" y="27075"/>
                </a:lnTo>
                <a:lnTo>
                  <a:pt x="2965" y="39633"/>
                </a:lnTo>
                <a:lnTo>
                  <a:pt x="3136" y="54038"/>
                </a:lnTo>
                <a:lnTo>
                  <a:pt x="3136" y="182092"/>
                </a:lnTo>
                <a:lnTo>
                  <a:pt x="33286" y="182092"/>
                </a:lnTo>
                <a:lnTo>
                  <a:pt x="33286" y="63055"/>
                </a:lnTo>
                <a:lnTo>
                  <a:pt x="36379" y="58995"/>
                </a:lnTo>
                <a:lnTo>
                  <a:pt x="46352" y="47354"/>
                </a:lnTo>
                <a:lnTo>
                  <a:pt x="56262" y="37087"/>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19"/>
          <p:cNvSpPr/>
          <p:nvPr/>
        </p:nvSpPr>
        <p:spPr>
          <a:xfrm>
            <a:off x="1521577" y="356293"/>
            <a:ext cx="103787" cy="128033"/>
          </a:xfrm>
          <a:custGeom>
            <a:avLst/>
            <a:gdLst/>
            <a:ahLst/>
            <a:cxnLst/>
            <a:rect l="l" t="t" r="r" b="b"/>
            <a:pathLst>
              <a:path w="147608" h="182092">
                <a:moveTo>
                  <a:pt x="62649" y="31724"/>
                </a:moveTo>
                <a:lnTo>
                  <a:pt x="65392" y="30162"/>
                </a:lnTo>
                <a:lnTo>
                  <a:pt x="77927" y="27025"/>
                </a:lnTo>
                <a:lnTo>
                  <a:pt x="87312" y="27025"/>
                </a:lnTo>
                <a:lnTo>
                  <a:pt x="103218" y="29547"/>
                </a:lnTo>
                <a:lnTo>
                  <a:pt x="112198" y="37199"/>
                </a:lnTo>
                <a:lnTo>
                  <a:pt x="116218" y="49942"/>
                </a:lnTo>
                <a:lnTo>
                  <a:pt x="117462" y="67741"/>
                </a:lnTo>
                <a:lnTo>
                  <a:pt x="117734" y="78307"/>
                </a:lnTo>
                <a:lnTo>
                  <a:pt x="117864" y="106135"/>
                </a:lnTo>
                <a:lnTo>
                  <a:pt x="118018" y="121023"/>
                </a:lnTo>
                <a:lnTo>
                  <a:pt x="118001" y="141871"/>
                </a:lnTo>
                <a:lnTo>
                  <a:pt x="117767" y="152000"/>
                </a:lnTo>
                <a:lnTo>
                  <a:pt x="117339" y="164712"/>
                </a:lnTo>
                <a:lnTo>
                  <a:pt x="116687" y="182092"/>
                </a:lnTo>
                <a:lnTo>
                  <a:pt x="146837" y="182092"/>
                </a:lnTo>
                <a:lnTo>
                  <a:pt x="146944" y="174487"/>
                </a:lnTo>
                <a:lnTo>
                  <a:pt x="147097" y="162795"/>
                </a:lnTo>
                <a:lnTo>
                  <a:pt x="147276" y="147767"/>
                </a:lnTo>
                <a:lnTo>
                  <a:pt x="147447" y="131083"/>
                </a:lnTo>
                <a:lnTo>
                  <a:pt x="147574" y="114423"/>
                </a:lnTo>
                <a:lnTo>
                  <a:pt x="147608" y="71984"/>
                </a:lnTo>
                <a:lnTo>
                  <a:pt x="147270" y="59290"/>
                </a:lnTo>
                <a:lnTo>
                  <a:pt x="146456" y="46596"/>
                </a:lnTo>
                <a:lnTo>
                  <a:pt x="144270" y="33508"/>
                </a:lnTo>
                <a:lnTo>
                  <a:pt x="138658" y="20103"/>
                </a:lnTo>
                <a:lnTo>
                  <a:pt x="130172" y="10552"/>
                </a:lnTo>
                <a:lnTo>
                  <a:pt x="119071" y="4354"/>
                </a:lnTo>
                <a:lnTo>
                  <a:pt x="105613" y="1004"/>
                </a:lnTo>
                <a:lnTo>
                  <a:pt x="90055" y="0"/>
                </a:lnTo>
                <a:lnTo>
                  <a:pt x="87812" y="32"/>
                </a:lnTo>
                <a:lnTo>
                  <a:pt x="73688" y="1882"/>
                </a:lnTo>
                <a:lnTo>
                  <a:pt x="61457" y="6295"/>
                </a:lnTo>
                <a:lnTo>
                  <a:pt x="50756" y="12874"/>
                </a:lnTo>
                <a:lnTo>
                  <a:pt x="41220" y="21220"/>
                </a:lnTo>
                <a:lnTo>
                  <a:pt x="32486" y="30937"/>
                </a:lnTo>
                <a:lnTo>
                  <a:pt x="27800" y="4698"/>
                </a:lnTo>
                <a:lnTo>
                  <a:pt x="0" y="4698"/>
                </a:lnTo>
                <a:lnTo>
                  <a:pt x="1549" y="18808"/>
                </a:lnTo>
                <a:lnTo>
                  <a:pt x="2372" y="27075"/>
                </a:lnTo>
                <a:lnTo>
                  <a:pt x="2964" y="39633"/>
                </a:lnTo>
                <a:lnTo>
                  <a:pt x="3136" y="54038"/>
                </a:lnTo>
                <a:lnTo>
                  <a:pt x="3136" y="182092"/>
                </a:lnTo>
                <a:lnTo>
                  <a:pt x="33274" y="182092"/>
                </a:lnTo>
                <a:lnTo>
                  <a:pt x="33274" y="63055"/>
                </a:lnTo>
                <a:lnTo>
                  <a:pt x="36372" y="58988"/>
                </a:lnTo>
                <a:lnTo>
                  <a:pt x="46348" y="47349"/>
                </a:lnTo>
                <a:lnTo>
                  <a:pt x="56261" y="37086"/>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8"/>
          <p:cNvSpPr/>
          <p:nvPr/>
        </p:nvSpPr>
        <p:spPr>
          <a:xfrm>
            <a:off x="1659762" y="307292"/>
            <a:ext cx="27816" cy="177040"/>
          </a:xfrm>
          <a:custGeom>
            <a:avLst/>
            <a:gdLst/>
            <a:ahLst/>
            <a:cxnLst/>
            <a:rect l="l" t="t" r="r" b="b"/>
            <a:pathLst>
              <a:path w="39560" h="251790">
                <a:moveTo>
                  <a:pt x="0" y="21526"/>
                </a:moveTo>
                <a:lnTo>
                  <a:pt x="482" y="25980"/>
                </a:lnTo>
                <a:lnTo>
                  <a:pt x="7360" y="38207"/>
                </a:lnTo>
                <a:lnTo>
                  <a:pt x="19583" y="43459"/>
                </a:lnTo>
                <a:lnTo>
                  <a:pt x="24294" y="42714"/>
                </a:lnTo>
                <a:lnTo>
                  <a:pt x="35117" y="34404"/>
                </a:lnTo>
                <a:lnTo>
                  <a:pt x="39560" y="21145"/>
                </a:lnTo>
                <a:lnTo>
                  <a:pt x="39123" y="17027"/>
                </a:lnTo>
                <a:lnTo>
                  <a:pt x="32080" y="5036"/>
                </a:lnTo>
                <a:lnTo>
                  <a:pt x="19583" y="0"/>
                </a:lnTo>
                <a:lnTo>
                  <a:pt x="15527" y="508"/>
                </a:lnTo>
                <a:lnTo>
                  <a:pt x="4404" y="8411"/>
                </a:lnTo>
                <a:lnTo>
                  <a:pt x="0" y="21526"/>
                </a:lnTo>
                <a:close/>
              </a:path>
              <a:path w="39560" h="251790">
                <a:moveTo>
                  <a:pt x="4711" y="74396"/>
                </a:moveTo>
                <a:lnTo>
                  <a:pt x="4711" y="251790"/>
                </a:lnTo>
                <a:lnTo>
                  <a:pt x="34861" y="251790"/>
                </a:lnTo>
                <a:lnTo>
                  <a:pt x="34861" y="74396"/>
                </a:lnTo>
                <a:lnTo>
                  <a:pt x="4711" y="7439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6"/>
          <p:cNvSpPr/>
          <p:nvPr/>
        </p:nvSpPr>
        <p:spPr>
          <a:xfrm>
            <a:off x="1720600" y="356293"/>
            <a:ext cx="103798" cy="128033"/>
          </a:xfrm>
          <a:custGeom>
            <a:avLst/>
            <a:gdLst/>
            <a:ahLst/>
            <a:cxnLst/>
            <a:rect l="l" t="t" r="r" b="b"/>
            <a:pathLst>
              <a:path w="147624" h="182092">
                <a:moveTo>
                  <a:pt x="62661" y="31724"/>
                </a:moveTo>
                <a:lnTo>
                  <a:pt x="65392" y="30162"/>
                </a:lnTo>
                <a:lnTo>
                  <a:pt x="77927" y="27025"/>
                </a:lnTo>
                <a:lnTo>
                  <a:pt x="87325" y="27025"/>
                </a:lnTo>
                <a:lnTo>
                  <a:pt x="103236" y="29549"/>
                </a:lnTo>
                <a:lnTo>
                  <a:pt x="112214" y="37202"/>
                </a:lnTo>
                <a:lnTo>
                  <a:pt x="116237" y="49945"/>
                </a:lnTo>
                <a:lnTo>
                  <a:pt x="117487" y="67741"/>
                </a:lnTo>
                <a:lnTo>
                  <a:pt x="117760" y="78307"/>
                </a:lnTo>
                <a:lnTo>
                  <a:pt x="117889" y="106135"/>
                </a:lnTo>
                <a:lnTo>
                  <a:pt x="118038" y="121023"/>
                </a:lnTo>
                <a:lnTo>
                  <a:pt x="118016" y="141871"/>
                </a:lnTo>
                <a:lnTo>
                  <a:pt x="117780" y="152000"/>
                </a:lnTo>
                <a:lnTo>
                  <a:pt x="117352" y="164712"/>
                </a:lnTo>
                <a:lnTo>
                  <a:pt x="116700" y="182092"/>
                </a:lnTo>
                <a:lnTo>
                  <a:pt x="146850" y="182092"/>
                </a:lnTo>
                <a:lnTo>
                  <a:pt x="146957" y="174487"/>
                </a:lnTo>
                <a:lnTo>
                  <a:pt x="147110" y="162795"/>
                </a:lnTo>
                <a:lnTo>
                  <a:pt x="147289" y="147767"/>
                </a:lnTo>
                <a:lnTo>
                  <a:pt x="147460" y="131083"/>
                </a:lnTo>
                <a:lnTo>
                  <a:pt x="147587" y="114423"/>
                </a:lnTo>
                <a:lnTo>
                  <a:pt x="147624" y="71983"/>
                </a:lnTo>
                <a:lnTo>
                  <a:pt x="147282" y="59290"/>
                </a:lnTo>
                <a:lnTo>
                  <a:pt x="146456" y="46596"/>
                </a:lnTo>
                <a:lnTo>
                  <a:pt x="144280" y="33529"/>
                </a:lnTo>
                <a:lnTo>
                  <a:pt x="138674" y="20115"/>
                </a:lnTo>
                <a:lnTo>
                  <a:pt x="130192" y="10559"/>
                </a:lnTo>
                <a:lnTo>
                  <a:pt x="119094" y="4357"/>
                </a:lnTo>
                <a:lnTo>
                  <a:pt x="105637" y="1005"/>
                </a:lnTo>
                <a:lnTo>
                  <a:pt x="90081" y="0"/>
                </a:lnTo>
                <a:lnTo>
                  <a:pt x="87837" y="32"/>
                </a:lnTo>
                <a:lnTo>
                  <a:pt x="73712" y="1882"/>
                </a:lnTo>
                <a:lnTo>
                  <a:pt x="61479" y="6295"/>
                </a:lnTo>
                <a:lnTo>
                  <a:pt x="50776" y="12874"/>
                </a:lnTo>
                <a:lnTo>
                  <a:pt x="41241" y="21220"/>
                </a:lnTo>
                <a:lnTo>
                  <a:pt x="32511" y="30937"/>
                </a:lnTo>
                <a:lnTo>
                  <a:pt x="27812" y="4698"/>
                </a:lnTo>
                <a:lnTo>
                  <a:pt x="0" y="4698"/>
                </a:lnTo>
                <a:lnTo>
                  <a:pt x="1574" y="18808"/>
                </a:lnTo>
                <a:lnTo>
                  <a:pt x="2389" y="27075"/>
                </a:lnTo>
                <a:lnTo>
                  <a:pt x="2978" y="39633"/>
                </a:lnTo>
                <a:lnTo>
                  <a:pt x="3149" y="54038"/>
                </a:lnTo>
                <a:lnTo>
                  <a:pt x="3149" y="182092"/>
                </a:lnTo>
                <a:lnTo>
                  <a:pt x="33286" y="182092"/>
                </a:lnTo>
                <a:lnTo>
                  <a:pt x="33286" y="63055"/>
                </a:lnTo>
                <a:lnTo>
                  <a:pt x="36385" y="58988"/>
                </a:lnTo>
                <a:lnTo>
                  <a:pt x="46360" y="47349"/>
                </a:lnTo>
                <a:lnTo>
                  <a:pt x="56274" y="37086"/>
                </a:lnTo>
                <a:lnTo>
                  <a:pt x="62661"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7"/>
          <p:cNvSpPr/>
          <p:nvPr/>
        </p:nvSpPr>
        <p:spPr>
          <a:xfrm>
            <a:off x="1852187" y="422106"/>
            <a:ext cx="34227" cy="124376"/>
          </a:xfrm>
          <a:custGeom>
            <a:avLst/>
            <a:gdLst/>
            <a:ahLst/>
            <a:cxnLst/>
            <a:rect l="l" t="t" r="r" b="b"/>
            <a:pathLst>
              <a:path w="48678" h="176891">
                <a:moveTo>
                  <a:pt x="36766" y="77831"/>
                </a:moveTo>
                <a:lnTo>
                  <a:pt x="48678" y="83292"/>
                </a:lnTo>
                <a:lnTo>
                  <a:pt x="38801" y="37607"/>
                </a:lnTo>
                <a:lnTo>
                  <a:pt x="34161" y="21483"/>
                </a:lnTo>
                <a:lnTo>
                  <a:pt x="32511" y="0"/>
                </a:lnTo>
                <a:lnTo>
                  <a:pt x="26161" y="70248"/>
                </a:lnTo>
                <a:lnTo>
                  <a:pt x="36766" y="77831"/>
                </a:lnTo>
                <a:close/>
              </a:path>
              <a:path w="48678" h="176891">
                <a:moveTo>
                  <a:pt x="968" y="19440"/>
                </a:moveTo>
                <a:lnTo>
                  <a:pt x="4267" y="35140"/>
                </a:lnTo>
                <a:lnTo>
                  <a:pt x="9704" y="48866"/>
                </a:lnTo>
                <a:lnTo>
                  <a:pt x="17071" y="60581"/>
                </a:lnTo>
                <a:lnTo>
                  <a:pt x="26161" y="70248"/>
                </a:lnTo>
                <a:lnTo>
                  <a:pt x="32511" y="0"/>
                </a:lnTo>
                <a:lnTo>
                  <a:pt x="32531" y="-2276"/>
                </a:lnTo>
                <a:lnTo>
                  <a:pt x="34572" y="-22375"/>
                </a:lnTo>
                <a:lnTo>
                  <a:pt x="39057" y="-37880"/>
                </a:lnTo>
                <a:lnTo>
                  <a:pt x="44671" y="-49218"/>
                </a:lnTo>
                <a:lnTo>
                  <a:pt x="50103" y="-56812"/>
                </a:lnTo>
                <a:lnTo>
                  <a:pt x="54038" y="-61086"/>
                </a:lnTo>
                <a:lnTo>
                  <a:pt x="69618" y="-66254"/>
                </a:lnTo>
                <a:lnTo>
                  <a:pt x="85763" y="-67754"/>
                </a:lnTo>
                <a:lnTo>
                  <a:pt x="93260" y="-67239"/>
                </a:lnTo>
                <a:lnTo>
                  <a:pt x="105142" y="-63556"/>
                </a:lnTo>
                <a:lnTo>
                  <a:pt x="114527" y="-56199"/>
                </a:lnTo>
                <a:lnTo>
                  <a:pt x="121331" y="-45018"/>
                </a:lnTo>
                <a:lnTo>
                  <a:pt x="125473" y="-29862"/>
                </a:lnTo>
                <a:lnTo>
                  <a:pt x="126872" y="-10579"/>
                </a:lnTo>
                <a:lnTo>
                  <a:pt x="126872" y="28575"/>
                </a:lnTo>
                <a:lnTo>
                  <a:pt x="123171" y="35166"/>
                </a:lnTo>
                <a:lnTo>
                  <a:pt x="114746" y="45769"/>
                </a:lnTo>
                <a:lnTo>
                  <a:pt x="104376" y="54231"/>
                </a:lnTo>
                <a:lnTo>
                  <a:pt x="92485" y="59834"/>
                </a:lnTo>
                <a:lnTo>
                  <a:pt x="79501" y="61861"/>
                </a:lnTo>
                <a:lnTo>
                  <a:pt x="78046" y="61848"/>
                </a:lnTo>
                <a:lnTo>
                  <a:pt x="66054" y="60492"/>
                </a:lnTo>
                <a:lnTo>
                  <a:pt x="55208" y="56444"/>
                </a:lnTo>
                <a:lnTo>
                  <a:pt x="45970" y="49038"/>
                </a:lnTo>
                <a:lnTo>
                  <a:pt x="38801" y="37607"/>
                </a:lnTo>
                <a:lnTo>
                  <a:pt x="48678" y="83292"/>
                </a:lnTo>
                <a:lnTo>
                  <a:pt x="61688" y="86596"/>
                </a:lnTo>
                <a:lnTo>
                  <a:pt x="75590" y="87706"/>
                </a:lnTo>
                <a:lnTo>
                  <a:pt x="82543" y="87459"/>
                </a:lnTo>
                <a:lnTo>
                  <a:pt x="96032" y="85208"/>
                </a:lnTo>
                <a:lnTo>
                  <a:pt x="107612" y="80630"/>
                </a:lnTo>
                <a:lnTo>
                  <a:pt x="117838" y="73753"/>
                </a:lnTo>
                <a:lnTo>
                  <a:pt x="127266" y="64604"/>
                </a:lnTo>
                <a:lnTo>
                  <a:pt x="127439" y="78176"/>
                </a:lnTo>
                <a:lnTo>
                  <a:pt x="127833" y="91163"/>
                </a:lnTo>
                <a:lnTo>
                  <a:pt x="128054" y="101015"/>
                </a:lnTo>
                <a:lnTo>
                  <a:pt x="127331" y="111049"/>
                </a:lnTo>
                <a:lnTo>
                  <a:pt x="122971" y="124692"/>
                </a:lnTo>
                <a:lnTo>
                  <a:pt x="114979" y="134530"/>
                </a:lnTo>
                <a:lnTo>
                  <a:pt x="103718" y="141007"/>
                </a:lnTo>
                <a:lnTo>
                  <a:pt x="89549" y="144568"/>
                </a:lnTo>
                <a:lnTo>
                  <a:pt x="72834" y="145656"/>
                </a:lnTo>
                <a:lnTo>
                  <a:pt x="70290" y="145636"/>
                </a:lnTo>
                <a:lnTo>
                  <a:pt x="53477" y="143803"/>
                </a:lnTo>
                <a:lnTo>
                  <a:pt x="42129" y="138170"/>
                </a:lnTo>
                <a:lnTo>
                  <a:pt x="35713" y="127562"/>
                </a:lnTo>
                <a:lnTo>
                  <a:pt x="33693" y="110807"/>
                </a:lnTo>
                <a:lnTo>
                  <a:pt x="2755" y="116687"/>
                </a:lnTo>
                <a:lnTo>
                  <a:pt x="4929" y="134144"/>
                </a:lnTo>
                <a:lnTo>
                  <a:pt x="10500" y="146856"/>
                </a:lnTo>
                <a:lnTo>
                  <a:pt x="19040" y="156561"/>
                </a:lnTo>
                <a:lnTo>
                  <a:pt x="30104" y="163568"/>
                </a:lnTo>
                <a:lnTo>
                  <a:pt x="43250" y="168189"/>
                </a:lnTo>
                <a:lnTo>
                  <a:pt x="58035" y="170734"/>
                </a:lnTo>
                <a:lnTo>
                  <a:pt x="74015" y="171513"/>
                </a:lnTo>
                <a:lnTo>
                  <a:pt x="81572" y="171343"/>
                </a:lnTo>
                <a:lnTo>
                  <a:pt x="98864" y="169483"/>
                </a:lnTo>
                <a:lnTo>
                  <a:pt x="114042" y="165632"/>
                </a:lnTo>
                <a:lnTo>
                  <a:pt x="127048" y="159865"/>
                </a:lnTo>
                <a:lnTo>
                  <a:pt x="137822" y="152258"/>
                </a:lnTo>
                <a:lnTo>
                  <a:pt x="146306" y="142885"/>
                </a:lnTo>
                <a:lnTo>
                  <a:pt x="152438" y="131822"/>
                </a:lnTo>
                <a:lnTo>
                  <a:pt x="156162" y="119144"/>
                </a:lnTo>
                <a:lnTo>
                  <a:pt x="157416" y="104927"/>
                </a:lnTo>
                <a:lnTo>
                  <a:pt x="157325" y="96305"/>
                </a:lnTo>
                <a:lnTo>
                  <a:pt x="157145" y="82259"/>
                </a:lnTo>
                <a:lnTo>
                  <a:pt x="157048" y="-63830"/>
                </a:lnTo>
                <a:lnTo>
                  <a:pt x="159778" y="-88899"/>
                </a:lnTo>
                <a:lnTo>
                  <a:pt x="136283" y="-88899"/>
                </a:lnTo>
                <a:lnTo>
                  <a:pt x="129628" y="-74790"/>
                </a:lnTo>
                <a:lnTo>
                  <a:pt x="121632" y="-82771"/>
                </a:lnTo>
                <a:lnTo>
                  <a:pt x="110116" y="-89118"/>
                </a:lnTo>
                <a:lnTo>
                  <a:pt x="97409" y="-92561"/>
                </a:lnTo>
                <a:lnTo>
                  <a:pt x="84581" y="-93598"/>
                </a:lnTo>
                <a:lnTo>
                  <a:pt x="81930" y="-93570"/>
                </a:lnTo>
                <a:lnTo>
                  <a:pt x="66639" y="-92197"/>
                </a:lnTo>
                <a:lnTo>
                  <a:pt x="52871" y="-88801"/>
                </a:lnTo>
                <a:lnTo>
                  <a:pt x="40647" y="-83443"/>
                </a:lnTo>
                <a:lnTo>
                  <a:pt x="29986" y="-76184"/>
                </a:lnTo>
                <a:lnTo>
                  <a:pt x="20908" y="-67084"/>
                </a:lnTo>
                <a:lnTo>
                  <a:pt x="13436" y="-56204"/>
                </a:lnTo>
                <a:lnTo>
                  <a:pt x="7588" y="-43604"/>
                </a:lnTo>
                <a:lnTo>
                  <a:pt x="3386" y="-29344"/>
                </a:lnTo>
                <a:lnTo>
                  <a:pt x="849" y="-13485"/>
                </a:lnTo>
                <a:lnTo>
                  <a:pt x="0" y="3911"/>
                </a:lnTo>
                <a:lnTo>
                  <a:pt x="968" y="1944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5"/>
          <p:cNvSpPr/>
          <p:nvPr/>
        </p:nvSpPr>
        <p:spPr>
          <a:xfrm>
            <a:off x="0" y="732235"/>
            <a:ext cx="9144000" cy="667878"/>
          </a:xfrm>
          <a:custGeom>
            <a:avLst/>
            <a:gdLst/>
            <a:ahLst/>
            <a:cxnLst/>
            <a:rect l="l" t="t" r="r" b="b"/>
            <a:pathLst>
              <a:path w="13004800" h="949871">
                <a:moveTo>
                  <a:pt x="0" y="949871"/>
                </a:moveTo>
                <a:lnTo>
                  <a:pt x="13004800" y="949871"/>
                </a:lnTo>
                <a:lnTo>
                  <a:pt x="13004800" y="0"/>
                </a:lnTo>
                <a:lnTo>
                  <a:pt x="0" y="0"/>
                </a:lnTo>
                <a:lnTo>
                  <a:pt x="0" y="94987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13"/>
          <p:cNvSpPr/>
          <p:nvPr/>
        </p:nvSpPr>
        <p:spPr>
          <a:xfrm>
            <a:off x="381816" y="3433000"/>
            <a:ext cx="2446376" cy="3278981"/>
          </a:xfrm>
          <a:custGeom>
            <a:avLst/>
            <a:gdLst/>
            <a:ahLst/>
            <a:cxnLst/>
            <a:rect l="l" t="t" r="r" b="b"/>
            <a:pathLst>
              <a:path w="3479291" h="4663439">
                <a:moveTo>
                  <a:pt x="0" y="0"/>
                </a:moveTo>
                <a:lnTo>
                  <a:pt x="0" y="4663440"/>
                </a:lnTo>
                <a:lnTo>
                  <a:pt x="3479291" y="4663440"/>
                </a:lnTo>
                <a:lnTo>
                  <a:pt x="3479291" y="0"/>
                </a:lnTo>
                <a:lnTo>
                  <a:pt x="0" y="0"/>
                </a:lnTo>
                <a:close/>
              </a:path>
            </a:pathLst>
          </a:custGeom>
          <a:solidFill>
            <a:srgbClr val="000000">
              <a:alpha val="35000"/>
            </a:srgbClr>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bject 14"/>
          <p:cNvSpPr/>
          <p:nvPr/>
        </p:nvSpPr>
        <p:spPr>
          <a:xfrm>
            <a:off x="431639" y="3474618"/>
            <a:ext cx="2348508" cy="3186925"/>
          </a:xfrm>
          <a:custGeom>
            <a:avLst/>
            <a:gdLst/>
            <a:ahLst/>
            <a:cxnLst/>
            <a:rect l="l" t="t" r="r" b="b"/>
            <a:pathLst>
              <a:path w="3340100" h="4532515">
                <a:moveTo>
                  <a:pt x="31" y="4405500"/>
                </a:moveTo>
                <a:lnTo>
                  <a:pt x="841" y="4447492"/>
                </a:lnTo>
                <a:lnTo>
                  <a:pt x="6735" y="4491345"/>
                </a:lnTo>
                <a:lnTo>
                  <a:pt x="31181" y="4521954"/>
                </a:lnTo>
                <a:lnTo>
                  <a:pt x="68505" y="4530563"/>
                </a:lnTo>
                <a:lnTo>
                  <a:pt x="127719" y="4532487"/>
                </a:lnTo>
                <a:lnTo>
                  <a:pt x="3340100" y="4532515"/>
                </a:lnTo>
                <a:lnTo>
                  <a:pt x="3340068" y="304421"/>
                </a:lnTo>
                <a:lnTo>
                  <a:pt x="3339258" y="262429"/>
                </a:lnTo>
                <a:lnTo>
                  <a:pt x="3333364" y="218576"/>
                </a:lnTo>
                <a:lnTo>
                  <a:pt x="3308918" y="187967"/>
                </a:lnTo>
                <a:lnTo>
                  <a:pt x="3271594" y="179358"/>
                </a:lnTo>
                <a:lnTo>
                  <a:pt x="3212380" y="177434"/>
                </a:lnTo>
                <a:lnTo>
                  <a:pt x="896327" y="177406"/>
                </a:lnTo>
                <a:lnTo>
                  <a:pt x="689381" y="0"/>
                </a:lnTo>
                <a:lnTo>
                  <a:pt x="482968" y="177406"/>
                </a:lnTo>
                <a:lnTo>
                  <a:pt x="0" y="177406"/>
                </a:lnTo>
                <a:lnTo>
                  <a:pt x="31" y="44055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12"/>
          <p:cNvSpPr/>
          <p:nvPr/>
        </p:nvSpPr>
        <p:spPr>
          <a:xfrm>
            <a:off x="431634" y="1553935"/>
            <a:ext cx="2348516" cy="1839345"/>
          </a:xfrm>
          <a:prstGeom prst="rect">
            <a:avLst/>
          </a:prstGeom>
          <a:blipFill>
            <a:blip r:embed="rId2" cstate="print"/>
            <a:stretch>
              <a:fillRect/>
            </a:stretch>
          </a:blip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11"/>
          <p:cNvSpPr txBox="1"/>
          <p:nvPr/>
        </p:nvSpPr>
        <p:spPr>
          <a:xfrm>
            <a:off x="422710" y="935020"/>
            <a:ext cx="1191504"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283" normalizeH="0" baseline="0" noProof="0" dirty="0">
                <a:ln>
                  <a:noFill/>
                </a:ln>
                <a:solidFill>
                  <a:srgbClr val="FFFFFF"/>
                </a:solidFill>
                <a:effectLst/>
                <a:uLnTx/>
                <a:uFillTx/>
                <a:latin typeface="Times New Roman"/>
                <a:ea typeface="+mn-ea"/>
                <a:cs typeface="Times New Roman"/>
              </a:rPr>
              <a:t>PATIENT</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0" name="object 10"/>
          <p:cNvSpPr txBox="1"/>
          <p:nvPr/>
        </p:nvSpPr>
        <p:spPr>
          <a:xfrm>
            <a:off x="1627305" y="935020"/>
            <a:ext cx="1208218"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262" normalizeH="0" baseline="0" noProof="0" dirty="0">
                <a:ln>
                  <a:noFill/>
                </a:ln>
                <a:solidFill>
                  <a:srgbClr val="FFFFFF"/>
                </a:solidFill>
                <a:effectLst/>
                <a:uLnTx/>
                <a:uFillTx/>
                <a:latin typeface="Times New Roman"/>
                <a:ea typeface="+mn-ea"/>
                <a:cs typeface="Times New Roman"/>
              </a:rPr>
              <a:t>PROFILE</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 name="object 9"/>
          <p:cNvSpPr txBox="1"/>
          <p:nvPr/>
        </p:nvSpPr>
        <p:spPr>
          <a:xfrm>
            <a:off x="2995638" y="1562760"/>
            <a:ext cx="1830204" cy="981679"/>
          </a:xfrm>
          <a:prstGeom prst="rect">
            <a:avLst/>
          </a:prstGeom>
        </p:spPr>
        <p:txBody>
          <a:bodyPr wrap="square" lIns="0" tIns="8505" rIns="0" bIns="0" rtlCol="0">
            <a:noAutofit/>
          </a:bodyPr>
          <a:lstStyle/>
          <a:p>
            <a:pPr marL="8929" marR="23102" lvl="0" indent="0" algn="l" defTabSz="642915" rtl="0" eaLnBrk="1" fontAlgn="auto" latinLnBrk="0" hangingPunct="1">
              <a:lnSpc>
                <a:spcPts val="1339"/>
              </a:lnSpc>
              <a:spcBef>
                <a:spcPts val="0"/>
              </a:spcBef>
              <a:spcAft>
                <a:spcPts val="0"/>
              </a:spcAft>
              <a:buClrTx/>
              <a:buSzTx/>
              <a:buFontTx/>
              <a:buNone/>
              <a:tabLst/>
              <a:defRPr/>
            </a:pPr>
            <a:r>
              <a:rPr kumimoji="0" sz="1336" b="1" i="0" u="none" strike="noStrike" kern="1200" cap="none" spc="-128" normalizeH="0" baseline="0" noProof="0" dirty="0">
                <a:ln>
                  <a:noFill/>
                </a:ln>
                <a:solidFill>
                  <a:srgbClr val="F5821F"/>
                </a:solidFill>
                <a:effectLst/>
                <a:uLnTx/>
                <a:uFillTx/>
                <a:latin typeface="Times New Roman"/>
                <a:ea typeface="+mn-ea"/>
                <a:cs typeface="Times New Roman"/>
              </a:rPr>
              <a:t>GENERAL HEALTH</a:t>
            </a:r>
            <a:endParaRPr kumimoji="0" sz="1336"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0" lvl="0" indent="0" algn="l" defTabSz="642915" rtl="0" eaLnBrk="1" fontAlgn="auto" latinLnBrk="0" hangingPunct="1">
              <a:lnSpc>
                <a:spcPct val="95825"/>
              </a:lnSpc>
              <a:spcBef>
                <a:spcPts val="558"/>
              </a:spcBef>
              <a:spcAft>
                <a:spcPts val="0"/>
              </a:spcAft>
              <a:buClrTx/>
              <a:buSzTx/>
              <a:buFontTx/>
              <a:buNone/>
              <a:tabLst/>
              <a:defRPr/>
            </a:pPr>
            <a:r>
              <a:rPr kumimoji="0" sz="1055" b="1" i="0" u="none" strike="noStrike" kern="1200" cap="none" spc="0" normalizeH="0" baseline="0" noProof="0" dirty="0">
                <a:ln>
                  <a:noFill/>
                </a:ln>
                <a:solidFill>
                  <a:srgbClr val="5A5B5D"/>
                </a:solidFill>
                <a:effectLst/>
                <a:uLnTx/>
                <a:uFillTx/>
                <a:latin typeface="Times New Roman"/>
                <a:ea typeface="+mn-ea"/>
                <a:cs typeface="Times New Roman"/>
              </a:rPr>
              <a:t>Health Maintenance Behaviors:</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3102" lvl="0" indent="0" algn="l" defTabSz="642915" rtl="0" eaLnBrk="1" fontAlgn="auto" latinLnBrk="0" hangingPunct="1">
              <a:lnSpc>
                <a:spcPct val="95825"/>
              </a:lnSpc>
              <a:spcBef>
                <a:spcPts val="53"/>
              </a:spcBef>
              <a:spcAft>
                <a:spcPts val="0"/>
              </a:spcAft>
              <a:buClrTx/>
              <a:buSzTx/>
              <a:buFontTx/>
              <a:buNone/>
              <a:tabLst/>
              <a:defRPr/>
            </a:pPr>
            <a:r>
              <a:rPr kumimoji="0" sz="1055" b="0" i="0" u="none" strike="noStrike" kern="1200" cap="none" spc="9" normalizeH="0" baseline="0" noProof="0" dirty="0">
                <a:ln>
                  <a:noFill/>
                </a:ln>
                <a:solidFill>
                  <a:srgbClr val="5A5B5D"/>
                </a:solidFill>
                <a:effectLst/>
                <a:uLnTx/>
                <a:uFillTx/>
                <a:latin typeface="Times New Roman"/>
                <a:ea typeface="+mn-ea"/>
                <a:cs typeface="Times New Roman"/>
              </a:rPr>
              <a:t>healthy diet, social activities</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3102" lvl="0" indent="0" algn="l" defTabSz="642915" rtl="0" eaLnBrk="1" fontAlgn="auto" latinLnBrk="0" hangingPunct="1">
              <a:lnSpc>
                <a:spcPct val="95825"/>
              </a:lnSpc>
              <a:spcBef>
                <a:spcPts val="686"/>
              </a:spcBef>
              <a:spcAft>
                <a:spcPts val="0"/>
              </a:spcAft>
              <a:buClrTx/>
              <a:buSzTx/>
              <a:buFontTx/>
              <a:buNone/>
              <a:tabLst/>
              <a:defRPr/>
            </a:pPr>
            <a:r>
              <a:rPr kumimoji="0" sz="1055" b="1" i="0" u="none" strike="noStrike" kern="1200" cap="none" spc="-15" normalizeH="0" baseline="0" noProof="0" dirty="0">
                <a:ln>
                  <a:noFill/>
                </a:ln>
                <a:solidFill>
                  <a:srgbClr val="5A5B5D"/>
                </a:solidFill>
                <a:effectLst/>
                <a:uLnTx/>
                <a:uFillTx/>
                <a:latin typeface="Times New Roman"/>
                <a:ea typeface="+mn-ea"/>
                <a:cs typeface="Times New Roman"/>
              </a:rPr>
              <a:t>Normal Bedtime/Wake Time:</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3102" lvl="0" indent="0" algn="l" defTabSz="642915" rtl="0" eaLnBrk="1" fontAlgn="auto" latinLnBrk="0" hangingPunct="1">
              <a:lnSpc>
                <a:spcPct val="95825"/>
              </a:lnSpc>
              <a:spcBef>
                <a:spcPts val="53"/>
              </a:spcBef>
              <a:spcAft>
                <a:spcPts val="0"/>
              </a:spcAft>
              <a:buClrTx/>
              <a:buSzTx/>
              <a:buFontTx/>
              <a:buNone/>
              <a:tabLst/>
              <a:defRPr/>
            </a:pPr>
            <a:r>
              <a:rPr kumimoji="0" sz="1055" b="0" i="0" u="none" strike="noStrike" kern="1200" cap="none" spc="17" normalizeH="0" baseline="0" noProof="0" dirty="0">
                <a:ln>
                  <a:noFill/>
                </a:ln>
                <a:solidFill>
                  <a:srgbClr val="5A5B5D"/>
                </a:solidFill>
                <a:effectLst/>
                <a:uLnTx/>
                <a:uFillTx/>
                <a:latin typeface="Times New Roman"/>
                <a:ea typeface="+mn-ea"/>
                <a:cs typeface="Times New Roman"/>
              </a:rPr>
              <a:t>11:00 pm to 7:00 am</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8" name="object 8"/>
          <p:cNvSpPr txBox="1"/>
          <p:nvPr/>
        </p:nvSpPr>
        <p:spPr>
          <a:xfrm>
            <a:off x="5763752" y="1830735"/>
            <a:ext cx="2195071" cy="634007"/>
          </a:xfrm>
          <a:prstGeom prst="rect">
            <a:avLst/>
          </a:prstGeom>
        </p:spPr>
        <p:txBody>
          <a:bodyPr wrap="square" lIns="0" tIns="6808" rIns="0" bIns="0" rtlCol="0">
            <a:noAutofit/>
          </a:bodyPr>
          <a:lstStyle/>
          <a:p>
            <a:pPr marL="8929" marR="23102" lvl="0" indent="0" algn="l" defTabSz="642915" rtl="0" eaLnBrk="1" fontAlgn="auto" latinLnBrk="0" hangingPunct="1">
              <a:lnSpc>
                <a:spcPts val="1072"/>
              </a:lnSpc>
              <a:spcBef>
                <a:spcPts val="0"/>
              </a:spcBef>
              <a:spcAft>
                <a:spcPts val="0"/>
              </a:spcAft>
              <a:buClrTx/>
              <a:buSzTx/>
              <a:buFontTx/>
              <a:buNone/>
              <a:tabLst/>
              <a:defRPr/>
            </a:pPr>
            <a:r>
              <a:rPr kumimoji="0" sz="1055" b="1" i="0" u="none" strike="noStrike" kern="1200" cap="none" spc="-4" normalizeH="0" baseline="0" noProof="0" dirty="0">
                <a:ln>
                  <a:noFill/>
                </a:ln>
                <a:solidFill>
                  <a:srgbClr val="5A5B5D"/>
                </a:solidFill>
                <a:effectLst/>
                <a:uLnTx/>
                <a:uFillTx/>
                <a:latin typeface="Times New Roman"/>
                <a:ea typeface="+mn-ea"/>
                <a:cs typeface="Times New Roman"/>
              </a:rPr>
              <a:t>Healing Pattern: </a:t>
            </a:r>
            <a:r>
              <a:rPr kumimoji="0" sz="1055" b="0" i="0" u="none" strike="noStrike" kern="1200" cap="none" spc="-4" normalizeH="0" baseline="0" noProof="0" dirty="0">
                <a:ln>
                  <a:noFill/>
                </a:ln>
                <a:solidFill>
                  <a:srgbClr val="5A5B5D"/>
                </a:solidFill>
                <a:effectLst/>
                <a:uLnTx/>
                <a:uFillTx/>
                <a:latin typeface="Times New Roman"/>
                <a:ea typeface="+mn-ea"/>
                <a:cs typeface="Times New Roman"/>
              </a:rPr>
              <a:t>Unsure</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0" lvl="0" indent="0" algn="l" defTabSz="642915" rtl="0" eaLnBrk="1" fontAlgn="auto" latinLnBrk="0" hangingPunct="1">
              <a:lnSpc>
                <a:spcPct val="95825"/>
              </a:lnSpc>
              <a:spcBef>
                <a:spcPts val="631"/>
              </a:spcBef>
              <a:spcAft>
                <a:spcPts val="0"/>
              </a:spcAft>
              <a:buClrTx/>
              <a:buSzTx/>
              <a:buFontTx/>
              <a:buNone/>
              <a:tabLst/>
              <a:defRPr/>
            </a:pPr>
            <a:r>
              <a:rPr kumimoji="0" sz="1055" b="1" i="0" u="none" strike="noStrike" kern="1200" cap="none" spc="0" normalizeH="0" baseline="0" noProof="0" dirty="0">
                <a:ln>
                  <a:noFill/>
                </a:ln>
                <a:solidFill>
                  <a:srgbClr val="5A5B5D"/>
                </a:solidFill>
                <a:effectLst/>
                <a:uLnTx/>
                <a:uFillTx/>
                <a:latin typeface="Times New Roman"/>
                <a:ea typeface="+mn-ea"/>
                <a:cs typeface="Times New Roman"/>
              </a:rPr>
              <a:t>Sleep Aids/Routine: </a:t>
            </a:r>
            <a:r>
              <a:rPr kumimoji="0" sz="1055" b="0" i="0" u="none" strike="noStrike" kern="1200" cap="none" spc="0" normalizeH="0" baseline="0" noProof="0" dirty="0">
                <a:ln>
                  <a:noFill/>
                </a:ln>
                <a:solidFill>
                  <a:srgbClr val="5A5B5D"/>
                </a:solidFill>
                <a:effectLst/>
                <a:uLnTx/>
                <a:uFillTx/>
                <a:latin typeface="Times New Roman"/>
                <a:ea typeface="+mn-ea"/>
                <a:cs typeface="Times New Roman"/>
              </a:rPr>
              <a:t>Dark room, music</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3102" lvl="0" indent="0" algn="l" defTabSz="642915" rtl="0" eaLnBrk="1" fontAlgn="auto" latinLnBrk="0" hangingPunct="1">
              <a:lnSpc>
                <a:spcPct val="95825"/>
              </a:lnSpc>
              <a:spcBef>
                <a:spcPts val="686"/>
              </a:spcBef>
              <a:spcAft>
                <a:spcPts val="0"/>
              </a:spcAft>
              <a:buClrTx/>
              <a:buSzTx/>
              <a:buFontTx/>
              <a:buNone/>
              <a:tabLst/>
              <a:defRPr/>
            </a:pPr>
            <a:r>
              <a:rPr kumimoji="0" sz="1055" b="1" i="0" u="none" strike="noStrike" kern="1200" cap="none" spc="-21" normalizeH="0" baseline="0" noProof="0" dirty="0">
                <a:ln>
                  <a:noFill/>
                </a:ln>
                <a:solidFill>
                  <a:srgbClr val="5A5B5D"/>
                </a:solidFill>
                <a:effectLst/>
                <a:uLnTx/>
                <a:uFillTx/>
                <a:latin typeface="Times New Roman"/>
                <a:ea typeface="+mn-ea"/>
                <a:cs typeface="Times New Roman"/>
              </a:rPr>
              <a:t>Usual Activity Tolerance: </a:t>
            </a:r>
            <a:r>
              <a:rPr kumimoji="0" sz="1055" b="0" i="0" u="none" strike="noStrike" kern="1200" cap="none" spc="-21" normalizeH="0" baseline="0" noProof="0" dirty="0">
                <a:ln>
                  <a:noFill/>
                </a:ln>
                <a:solidFill>
                  <a:srgbClr val="5A5B5D"/>
                </a:solidFill>
                <a:effectLst/>
                <a:uLnTx/>
                <a:uFillTx/>
                <a:latin typeface="Times New Roman"/>
                <a:ea typeface="+mn-ea"/>
                <a:cs typeface="Times New Roman"/>
              </a:rPr>
              <a:t>Good</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7" name="object 7"/>
          <p:cNvSpPr txBox="1"/>
          <p:nvPr/>
        </p:nvSpPr>
        <p:spPr>
          <a:xfrm>
            <a:off x="2995638" y="2839706"/>
            <a:ext cx="4730662" cy="1062046"/>
          </a:xfrm>
          <a:prstGeom prst="rect">
            <a:avLst/>
          </a:prstGeom>
        </p:spPr>
        <p:txBody>
          <a:bodyPr wrap="square" lIns="0" tIns="8505" rIns="0" bIns="0" rtlCol="0">
            <a:noAutofit/>
          </a:bodyPr>
          <a:lstStyle/>
          <a:p>
            <a:pPr marL="8929" marR="20091" lvl="0" indent="0" algn="l" defTabSz="642915" rtl="0" eaLnBrk="1" fontAlgn="auto" latinLnBrk="0" hangingPunct="1">
              <a:lnSpc>
                <a:spcPts val="1339"/>
              </a:lnSpc>
              <a:spcBef>
                <a:spcPts val="0"/>
              </a:spcBef>
              <a:spcAft>
                <a:spcPts val="0"/>
              </a:spcAft>
              <a:buClrTx/>
              <a:buSzTx/>
              <a:buFontTx/>
              <a:buNone/>
              <a:tabLst/>
              <a:defRPr/>
            </a:pPr>
            <a:r>
              <a:rPr kumimoji="0" sz="1336" b="1" i="0" u="none" strike="noStrike" kern="1200" cap="none" spc="-46" normalizeH="0" baseline="0" noProof="0" dirty="0">
                <a:ln>
                  <a:noFill/>
                </a:ln>
                <a:solidFill>
                  <a:srgbClr val="F5821F"/>
                </a:solidFill>
                <a:effectLst/>
                <a:uLnTx/>
                <a:uFillTx/>
                <a:latin typeface="Times New Roman"/>
                <a:ea typeface="+mn-ea"/>
                <a:cs typeface="Times New Roman"/>
              </a:rPr>
              <a:t>RISK SCREENS</a:t>
            </a:r>
            <a:endParaRPr kumimoji="0" sz="1336"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0091" lvl="0" indent="0" algn="l" defTabSz="642915" rtl="0" eaLnBrk="1" fontAlgn="auto" latinLnBrk="0" hangingPunct="1">
              <a:lnSpc>
                <a:spcPct val="95825"/>
              </a:lnSpc>
              <a:spcBef>
                <a:spcPts val="558"/>
              </a:spcBef>
              <a:spcAft>
                <a:spcPts val="0"/>
              </a:spcAft>
              <a:buClrTx/>
              <a:buSzTx/>
              <a:buFontTx/>
              <a:buNone/>
              <a:tabLst/>
              <a:defRPr/>
            </a:pPr>
            <a:r>
              <a:rPr kumimoji="0" sz="1055" b="1" i="0" u="none" strike="noStrike" kern="1200" cap="none" spc="4" normalizeH="0" baseline="0" noProof="0" dirty="0">
                <a:ln>
                  <a:noFill/>
                </a:ln>
                <a:solidFill>
                  <a:srgbClr val="5A5B5D"/>
                </a:solidFill>
                <a:effectLst/>
                <a:uLnTx/>
                <a:uFillTx/>
                <a:latin typeface="Times New Roman"/>
                <a:ea typeface="+mn-ea"/>
                <a:cs typeface="Times New Roman"/>
              </a:rPr>
              <a:t>Nutrition Risk Screen: </a:t>
            </a:r>
            <a:r>
              <a:rPr kumimoji="0" sz="1055" b="0" i="0" u="none" strike="noStrike" kern="1200" cap="none" spc="4" normalizeH="0" baseline="0" noProof="0" dirty="0">
                <a:ln>
                  <a:noFill/>
                </a:ln>
                <a:solidFill>
                  <a:srgbClr val="5A5B5D"/>
                </a:solidFill>
                <a:effectLst/>
                <a:uLnTx/>
                <a:uFillTx/>
                <a:latin typeface="Times New Roman"/>
                <a:ea typeface="+mn-ea"/>
                <a:cs typeface="Times New Roman"/>
              </a:rPr>
              <a:t>No indicators present</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0091" lvl="0" indent="0" algn="l" defTabSz="642915" rtl="0" eaLnBrk="1" fontAlgn="auto" latinLnBrk="0" hangingPunct="1">
              <a:lnSpc>
                <a:spcPct val="95825"/>
              </a:lnSpc>
              <a:spcBef>
                <a:spcPts val="686"/>
              </a:spcBef>
              <a:spcAft>
                <a:spcPts val="0"/>
              </a:spcAft>
              <a:buClrTx/>
              <a:buSzTx/>
              <a:buFontTx/>
              <a:buNone/>
              <a:tabLst/>
              <a:defRPr/>
            </a:pPr>
            <a:r>
              <a:rPr kumimoji="0" sz="1055" b="1" i="0" u="none" strike="noStrike" kern="1200" cap="none" spc="13" normalizeH="0" baseline="0" noProof="0" dirty="0">
                <a:ln>
                  <a:noFill/>
                </a:ln>
                <a:solidFill>
                  <a:srgbClr val="5A5B5D"/>
                </a:solidFill>
                <a:effectLst/>
                <a:uLnTx/>
                <a:uFillTx/>
                <a:latin typeface="Times New Roman"/>
                <a:ea typeface="+mn-ea"/>
                <a:cs typeface="Times New Roman"/>
              </a:rPr>
              <a:t>Depression Screen:</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0091" lvl="0" indent="0" algn="l" defTabSz="642915" rtl="0" eaLnBrk="1" fontAlgn="auto" latinLnBrk="0" hangingPunct="1">
              <a:lnSpc>
                <a:spcPct val="95825"/>
              </a:lnSpc>
              <a:spcBef>
                <a:spcPts val="264"/>
              </a:spcBef>
              <a:spcAft>
                <a:spcPts val="0"/>
              </a:spcAft>
              <a:buClrTx/>
              <a:buSzTx/>
              <a:buFontTx/>
              <a:buNone/>
              <a:tabLst/>
              <a:defRPr/>
            </a:pPr>
            <a:r>
              <a:rPr kumimoji="0" sz="1055" b="1" i="0" u="none" strike="noStrike" kern="1200" cap="none" spc="2" normalizeH="0" baseline="0" noProof="0" dirty="0">
                <a:ln>
                  <a:noFill/>
                </a:ln>
                <a:solidFill>
                  <a:srgbClr val="5A5B5D"/>
                </a:solidFill>
                <a:effectLst/>
                <a:uLnTx/>
                <a:uFillTx/>
                <a:latin typeface="Times New Roman"/>
                <a:ea typeface="+mn-ea"/>
                <a:cs typeface="Times New Roman"/>
              </a:rPr>
              <a:t>Over the past 2 weeks, have you felt down, depressed or hopeless?: </a:t>
            </a:r>
            <a:r>
              <a:rPr kumimoji="0" sz="1055" b="0" i="0" u="none" strike="noStrike" kern="1200" cap="none" spc="2" normalizeH="0" baseline="0" noProof="0" dirty="0">
                <a:ln>
                  <a:noFill/>
                </a:ln>
                <a:solidFill>
                  <a:srgbClr val="5A5B5D"/>
                </a:solidFill>
                <a:effectLst/>
                <a:uLnTx/>
                <a:uFillTx/>
                <a:latin typeface="Times New Roman"/>
                <a:ea typeface="+mn-ea"/>
                <a:cs typeface="Times New Roman"/>
              </a:rPr>
              <a:t>No</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0" lvl="0" indent="0" algn="l" defTabSz="642915" rtl="0" eaLnBrk="1" fontAlgn="auto" latinLnBrk="0" hangingPunct="1">
              <a:lnSpc>
                <a:spcPct val="95825"/>
              </a:lnSpc>
              <a:spcBef>
                <a:spcPts val="475"/>
              </a:spcBef>
              <a:spcAft>
                <a:spcPts val="0"/>
              </a:spcAft>
              <a:buClrTx/>
              <a:buSzTx/>
              <a:buFontTx/>
              <a:buNone/>
              <a:tabLst/>
              <a:defRPr/>
            </a:pPr>
            <a:r>
              <a:rPr kumimoji="0" sz="1055" b="1" i="0" u="none" strike="noStrike" kern="1200" cap="none" spc="0" normalizeH="0" baseline="0" noProof="0" dirty="0">
                <a:ln>
                  <a:noFill/>
                </a:ln>
                <a:solidFill>
                  <a:srgbClr val="5A5B5D"/>
                </a:solidFill>
                <a:effectLst/>
                <a:uLnTx/>
                <a:uFillTx/>
                <a:latin typeface="Times New Roman"/>
                <a:ea typeface="+mn-ea"/>
                <a:cs typeface="Times New Roman"/>
              </a:rPr>
              <a:t>Over the past 2 weeks, have you felt little interest or pleasure in doing things?</a:t>
            </a:r>
            <a:r>
              <a:rPr kumimoji="0" sz="1055" b="0" i="0" u="none" strike="noStrike" kern="1200" cap="none" spc="0" normalizeH="0" baseline="0" noProof="0" dirty="0">
                <a:ln>
                  <a:noFill/>
                </a:ln>
                <a:solidFill>
                  <a:srgbClr val="5A5B5D"/>
                </a:solidFill>
                <a:effectLst/>
                <a:uLnTx/>
                <a:uFillTx/>
                <a:latin typeface="Times New Roman"/>
                <a:ea typeface="+mn-ea"/>
                <a:cs typeface="Times New Roman"/>
              </a:rPr>
              <a:t>: No</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6" name="object 6"/>
          <p:cNvSpPr txBox="1"/>
          <p:nvPr/>
        </p:nvSpPr>
        <p:spPr>
          <a:xfrm>
            <a:off x="2995638" y="4223641"/>
            <a:ext cx="2449983" cy="838759"/>
          </a:xfrm>
          <a:prstGeom prst="rect">
            <a:avLst/>
          </a:prstGeom>
        </p:spPr>
        <p:txBody>
          <a:bodyPr wrap="square" lIns="0" tIns="8505" rIns="0" bIns="0" rtlCol="0">
            <a:noAutofit/>
          </a:bodyPr>
          <a:lstStyle/>
          <a:p>
            <a:pPr marL="8929" marR="23102" lvl="0" indent="0" algn="l" defTabSz="642915" rtl="0" eaLnBrk="1" fontAlgn="auto" latinLnBrk="0" hangingPunct="1">
              <a:lnSpc>
                <a:spcPts val="1339"/>
              </a:lnSpc>
              <a:spcBef>
                <a:spcPts val="0"/>
              </a:spcBef>
              <a:spcAft>
                <a:spcPts val="0"/>
              </a:spcAft>
              <a:buClrTx/>
              <a:buSzTx/>
              <a:buFontTx/>
              <a:buNone/>
              <a:tabLst/>
              <a:defRPr/>
            </a:pPr>
            <a:r>
              <a:rPr kumimoji="0" sz="1336" b="1" i="0" u="none" strike="noStrike" kern="1200" cap="none" spc="-41" normalizeH="0" baseline="0" noProof="0" dirty="0">
                <a:ln>
                  <a:noFill/>
                </a:ln>
                <a:solidFill>
                  <a:srgbClr val="F5821F"/>
                </a:solidFill>
                <a:effectLst/>
                <a:uLnTx/>
                <a:uFillTx/>
                <a:latin typeface="Times New Roman"/>
                <a:ea typeface="+mn-ea"/>
                <a:cs typeface="Times New Roman"/>
              </a:rPr>
              <a:t>HEALTH MANAGEMENT</a:t>
            </a:r>
            <a:endParaRPr kumimoji="0" sz="1336"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0" lvl="0" indent="0" algn="l" defTabSz="642915" rtl="0" eaLnBrk="1" fontAlgn="auto" latinLnBrk="0" hangingPunct="1">
              <a:lnSpc>
                <a:spcPct val="95825"/>
              </a:lnSpc>
              <a:spcBef>
                <a:spcPts val="558"/>
              </a:spcBef>
              <a:spcAft>
                <a:spcPts val="0"/>
              </a:spcAft>
              <a:buClrTx/>
              <a:buSzTx/>
              <a:buFontTx/>
              <a:buNone/>
              <a:tabLst/>
              <a:defRPr/>
            </a:pPr>
            <a:r>
              <a:rPr kumimoji="0" sz="1055" b="1" i="0" u="none" strike="noStrike" kern="1200" cap="none" spc="-1" normalizeH="0" baseline="0" noProof="0" dirty="0">
                <a:ln>
                  <a:noFill/>
                </a:ln>
                <a:solidFill>
                  <a:srgbClr val="5A5B5D"/>
                </a:solidFill>
                <a:effectLst/>
                <a:uLnTx/>
                <a:uFillTx/>
                <a:latin typeface="Times New Roman"/>
                <a:ea typeface="+mn-ea"/>
                <a:cs typeface="Times New Roman"/>
              </a:rPr>
              <a:t>Symptoms/Conditions Managed at Home:</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3102" lvl="0" indent="0" algn="l" defTabSz="642915" rtl="0" eaLnBrk="1" fontAlgn="auto" latinLnBrk="0" hangingPunct="1">
              <a:lnSpc>
                <a:spcPct val="95825"/>
              </a:lnSpc>
              <a:spcBef>
                <a:spcPts val="53"/>
              </a:spcBef>
              <a:spcAft>
                <a:spcPts val="0"/>
              </a:spcAft>
              <a:buClrTx/>
              <a:buSzTx/>
              <a:buFontTx/>
              <a:buNone/>
              <a:tabLst/>
              <a:defRPr/>
            </a:pPr>
            <a:r>
              <a:rPr kumimoji="0" sz="1055" b="0" i="0" u="none" strike="noStrike" kern="1200" cap="none" spc="20" normalizeH="0" baseline="0" noProof="0" dirty="0">
                <a:ln>
                  <a:noFill/>
                </a:ln>
                <a:solidFill>
                  <a:srgbClr val="5A5B5D"/>
                </a:solidFill>
                <a:effectLst/>
                <a:uLnTx/>
                <a:uFillTx/>
                <a:latin typeface="Times New Roman"/>
                <a:ea typeface="+mn-ea"/>
                <a:cs typeface="Times New Roman"/>
              </a:rPr>
              <a:t>Hypertension</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3102" lvl="0" indent="0" algn="l" defTabSz="642915" rtl="0" eaLnBrk="1" fontAlgn="auto" latinLnBrk="0" hangingPunct="1">
              <a:lnSpc>
                <a:spcPct val="95825"/>
              </a:lnSpc>
              <a:spcBef>
                <a:spcPts val="825"/>
              </a:spcBef>
              <a:spcAft>
                <a:spcPts val="0"/>
              </a:spcAft>
              <a:buClrTx/>
              <a:buSzTx/>
              <a:buFontTx/>
              <a:buNone/>
              <a:tabLst/>
              <a:defRPr/>
            </a:pPr>
            <a:r>
              <a:rPr kumimoji="0" sz="1055" b="1" i="0" u="none" strike="noStrike" kern="1200" cap="none" spc="-8" normalizeH="0" baseline="0" noProof="0" dirty="0">
                <a:ln>
                  <a:noFill/>
                </a:ln>
                <a:solidFill>
                  <a:srgbClr val="5A5B5D"/>
                </a:solidFill>
                <a:effectLst/>
                <a:uLnTx/>
                <a:uFillTx/>
                <a:latin typeface="Times New Roman"/>
                <a:ea typeface="+mn-ea"/>
                <a:cs typeface="Times New Roman"/>
              </a:rPr>
              <a:t>Barriers to Managing Health: </a:t>
            </a:r>
            <a:r>
              <a:rPr kumimoji="0" sz="1055" b="0" i="0" u="none" strike="noStrike" kern="1200" cap="none" spc="-8" normalizeH="0" baseline="0" noProof="0" dirty="0">
                <a:ln>
                  <a:noFill/>
                </a:ln>
                <a:solidFill>
                  <a:srgbClr val="5A5B5D"/>
                </a:solidFill>
                <a:effectLst/>
                <a:uLnTx/>
                <a:uFillTx/>
                <a:latin typeface="Times New Roman"/>
                <a:ea typeface="+mn-ea"/>
                <a:cs typeface="Times New Roman"/>
              </a:rPr>
              <a:t>None</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5" name="object 5"/>
          <p:cNvSpPr txBox="1"/>
          <p:nvPr/>
        </p:nvSpPr>
        <p:spPr>
          <a:xfrm>
            <a:off x="5763886" y="4491481"/>
            <a:ext cx="2306315" cy="312538"/>
          </a:xfrm>
          <a:prstGeom prst="rect">
            <a:avLst/>
          </a:prstGeom>
        </p:spPr>
        <p:txBody>
          <a:bodyPr wrap="square" lIns="0" tIns="6808" rIns="0" bIns="0" rtlCol="0">
            <a:noAutofit/>
          </a:bodyPr>
          <a:lstStyle/>
          <a:p>
            <a:pPr marL="8929" marR="0" lvl="0" indent="0" algn="l" defTabSz="642915" rtl="0" eaLnBrk="1" fontAlgn="auto" latinLnBrk="0" hangingPunct="1">
              <a:lnSpc>
                <a:spcPts val="1072"/>
              </a:lnSpc>
              <a:spcBef>
                <a:spcPts val="0"/>
              </a:spcBef>
              <a:spcAft>
                <a:spcPts val="0"/>
              </a:spcAft>
              <a:buClrTx/>
              <a:buSzTx/>
              <a:buFontTx/>
              <a:buNone/>
              <a:tabLst/>
              <a:defRPr/>
            </a:pPr>
            <a:r>
              <a:rPr kumimoji="0" sz="1055" b="1" i="0" u="none" strike="noStrike" kern="1200" cap="none" spc="-7" normalizeH="0" baseline="0" noProof="0" dirty="0">
                <a:ln>
                  <a:noFill/>
                </a:ln>
                <a:solidFill>
                  <a:srgbClr val="5A5B5D"/>
                </a:solidFill>
                <a:effectLst/>
                <a:uLnTx/>
                <a:uFillTx/>
                <a:latin typeface="Times New Roman"/>
                <a:ea typeface="+mn-ea"/>
                <a:cs typeface="Times New Roman"/>
              </a:rPr>
              <a:t>Cardiovascular Management Strategies:</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0091" lvl="0" indent="0" algn="l" defTabSz="642915" rtl="0" eaLnBrk="1" fontAlgn="auto" latinLnBrk="0" hangingPunct="1">
              <a:lnSpc>
                <a:spcPct val="95825"/>
              </a:lnSpc>
              <a:spcBef>
                <a:spcPts val="0"/>
              </a:spcBef>
              <a:spcAft>
                <a:spcPts val="0"/>
              </a:spcAft>
              <a:buClrTx/>
              <a:buSzTx/>
              <a:buFontTx/>
              <a:buNone/>
              <a:tabLst/>
              <a:defRPr/>
            </a:pPr>
            <a:r>
              <a:rPr kumimoji="0" sz="1055" b="0" i="0" u="none" strike="noStrike" kern="1200" cap="none" spc="16" normalizeH="0" baseline="0" noProof="0" dirty="0">
                <a:ln>
                  <a:noFill/>
                </a:ln>
                <a:solidFill>
                  <a:srgbClr val="5A5B5D"/>
                </a:solidFill>
                <a:effectLst/>
                <a:uLnTx/>
                <a:uFillTx/>
                <a:latin typeface="Times New Roman"/>
                <a:ea typeface="+mn-ea"/>
                <a:cs typeface="Times New Roman"/>
              </a:rPr>
              <a:t>Diet modification; medication therapy</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4" name="object 4"/>
          <p:cNvSpPr txBox="1"/>
          <p:nvPr/>
        </p:nvSpPr>
        <p:spPr>
          <a:xfrm>
            <a:off x="2995638" y="5402359"/>
            <a:ext cx="2408086" cy="1062046"/>
          </a:xfrm>
          <a:prstGeom prst="rect">
            <a:avLst/>
          </a:prstGeom>
        </p:spPr>
        <p:txBody>
          <a:bodyPr wrap="square" lIns="0" tIns="8505" rIns="0" bIns="0" rtlCol="0">
            <a:noAutofit/>
          </a:bodyPr>
          <a:lstStyle/>
          <a:p>
            <a:pPr marL="8929" marR="0" lvl="0" indent="0" algn="l" defTabSz="642915" rtl="0" eaLnBrk="1" fontAlgn="auto" latinLnBrk="0" hangingPunct="1">
              <a:lnSpc>
                <a:spcPts val="1339"/>
              </a:lnSpc>
              <a:spcBef>
                <a:spcPts val="0"/>
              </a:spcBef>
              <a:spcAft>
                <a:spcPts val="0"/>
              </a:spcAft>
              <a:buClrTx/>
              <a:buSzTx/>
              <a:buFontTx/>
              <a:buNone/>
              <a:tabLst/>
              <a:defRPr/>
            </a:pPr>
            <a:r>
              <a:rPr kumimoji="0" sz="1336" b="1" i="0" u="none" strike="noStrike" kern="1200" cap="none" spc="-100" normalizeH="0" baseline="0" noProof="0" dirty="0">
                <a:ln>
                  <a:noFill/>
                </a:ln>
                <a:solidFill>
                  <a:srgbClr val="F5821F"/>
                </a:solidFill>
                <a:effectLst/>
                <a:uLnTx/>
                <a:uFillTx/>
                <a:latin typeface="Times New Roman"/>
                <a:ea typeface="+mn-ea"/>
                <a:cs typeface="Times New Roman"/>
              </a:rPr>
              <a:t>RELATIONSHIP/ENVIRONMENT</a:t>
            </a:r>
            <a:endParaRPr kumimoji="0" sz="1336"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5449" lvl="0" indent="0" algn="l" defTabSz="642915" rtl="0" eaLnBrk="1" fontAlgn="auto" latinLnBrk="0" hangingPunct="1">
              <a:lnSpc>
                <a:spcPct val="95825"/>
              </a:lnSpc>
              <a:spcBef>
                <a:spcPts val="558"/>
              </a:spcBef>
              <a:spcAft>
                <a:spcPts val="0"/>
              </a:spcAft>
              <a:buClrTx/>
              <a:buSzTx/>
              <a:buFontTx/>
              <a:buNone/>
              <a:tabLst/>
              <a:defRPr/>
            </a:pPr>
            <a:r>
              <a:rPr kumimoji="0" sz="1055" b="1" i="0" u="none" strike="noStrike" kern="1200" cap="none" spc="-4" normalizeH="0" baseline="0" noProof="0" dirty="0">
                <a:ln>
                  <a:noFill/>
                </a:ln>
                <a:solidFill>
                  <a:srgbClr val="5A5B5D"/>
                </a:solidFill>
                <a:effectLst/>
                <a:uLnTx/>
                <a:uFillTx/>
                <a:latin typeface="Times New Roman"/>
                <a:ea typeface="+mn-ea"/>
                <a:cs typeface="Times New Roman"/>
              </a:rPr>
              <a:t>Primary Source of Support/Comfort:</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5449" lvl="0" indent="0" algn="l" defTabSz="642915" rtl="0" eaLnBrk="1" fontAlgn="auto" latinLnBrk="0" hangingPunct="1">
              <a:lnSpc>
                <a:spcPct val="95825"/>
              </a:lnSpc>
              <a:spcBef>
                <a:spcPts val="53"/>
              </a:spcBef>
              <a:spcAft>
                <a:spcPts val="0"/>
              </a:spcAft>
              <a:buClrTx/>
              <a:buSzTx/>
              <a:buFontTx/>
              <a:buNone/>
              <a:tabLst/>
              <a:defRPr/>
            </a:pPr>
            <a:r>
              <a:rPr kumimoji="0" sz="1055" b="0" i="0" u="none" strike="noStrike" kern="1200" cap="none" spc="15" normalizeH="0" baseline="0" noProof="0" dirty="0">
                <a:ln>
                  <a:noFill/>
                </a:ln>
                <a:solidFill>
                  <a:srgbClr val="5A5B5D"/>
                </a:solidFill>
                <a:effectLst/>
                <a:uLnTx/>
                <a:uFillTx/>
                <a:latin typeface="Times New Roman"/>
                <a:ea typeface="+mn-ea"/>
                <a:cs typeface="Times New Roman"/>
              </a:rPr>
              <a:t>Spouse, children (1 daughter, 2 sons)</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5449" lvl="0" indent="0" algn="l" defTabSz="642915" rtl="0" eaLnBrk="1" fontAlgn="auto" latinLnBrk="0" hangingPunct="1">
              <a:lnSpc>
                <a:spcPct val="95825"/>
              </a:lnSpc>
              <a:spcBef>
                <a:spcPts val="686"/>
              </a:spcBef>
              <a:spcAft>
                <a:spcPts val="0"/>
              </a:spcAft>
              <a:buClrTx/>
              <a:buSzTx/>
              <a:buFontTx/>
              <a:buNone/>
              <a:tabLst/>
              <a:defRPr/>
            </a:pPr>
            <a:r>
              <a:rPr kumimoji="0" sz="1055" b="1" i="0" u="none" strike="noStrike" kern="1200" cap="none" spc="-4" normalizeH="0" baseline="0" noProof="0" dirty="0">
                <a:ln>
                  <a:noFill/>
                </a:ln>
                <a:solidFill>
                  <a:srgbClr val="5A5B5D"/>
                </a:solidFill>
                <a:effectLst/>
                <a:uLnTx/>
                <a:uFillTx/>
                <a:latin typeface="Times New Roman"/>
                <a:ea typeface="+mn-ea"/>
                <a:cs typeface="Times New Roman"/>
              </a:rPr>
              <a:t>Environment Concerns: </a:t>
            </a:r>
            <a:r>
              <a:rPr kumimoji="0" sz="1055" b="0" i="0" u="none" strike="noStrike" kern="1200" cap="none" spc="-4" normalizeH="0" baseline="0" noProof="0" dirty="0">
                <a:ln>
                  <a:noFill/>
                </a:ln>
                <a:solidFill>
                  <a:srgbClr val="5A5B5D"/>
                </a:solidFill>
                <a:effectLst/>
                <a:uLnTx/>
                <a:uFillTx/>
                <a:latin typeface="Times New Roman"/>
                <a:ea typeface="+mn-ea"/>
                <a:cs typeface="Times New Roman"/>
              </a:rPr>
              <a:t>None</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5449" lvl="0" indent="0" algn="l" defTabSz="642915" rtl="0" eaLnBrk="1" fontAlgn="auto" latinLnBrk="0" hangingPunct="1">
              <a:lnSpc>
                <a:spcPct val="95825"/>
              </a:lnSpc>
              <a:spcBef>
                <a:spcPts val="686"/>
              </a:spcBef>
              <a:spcAft>
                <a:spcPts val="0"/>
              </a:spcAft>
              <a:buClrTx/>
              <a:buSzTx/>
              <a:buFontTx/>
              <a:buNone/>
              <a:tabLst/>
              <a:defRPr/>
            </a:pPr>
            <a:r>
              <a:rPr kumimoji="0" sz="1055" b="1" i="0" u="none" strike="noStrike" kern="1200" cap="none" spc="-23" normalizeH="0" baseline="0" noProof="0" dirty="0">
                <a:ln>
                  <a:noFill/>
                </a:ln>
                <a:solidFill>
                  <a:srgbClr val="5A5B5D"/>
                </a:solidFill>
                <a:effectLst/>
                <a:uLnTx/>
                <a:uFillTx/>
                <a:latin typeface="Times New Roman"/>
                <a:ea typeface="+mn-ea"/>
                <a:cs typeface="Times New Roman"/>
              </a:rPr>
              <a:t>Lives With: </a:t>
            </a:r>
            <a:r>
              <a:rPr kumimoji="0" sz="1055" b="0" i="0" u="none" strike="noStrike" kern="1200" cap="none" spc="-23" normalizeH="0" baseline="0" noProof="0" dirty="0">
                <a:ln>
                  <a:noFill/>
                </a:ln>
                <a:solidFill>
                  <a:srgbClr val="5A5B5D"/>
                </a:solidFill>
                <a:effectLst/>
                <a:uLnTx/>
                <a:uFillTx/>
                <a:latin typeface="Times New Roman"/>
                <a:ea typeface="+mn-ea"/>
                <a:cs typeface="Times New Roman"/>
              </a:rPr>
              <a:t>Wife, Joan</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3" name="object 3"/>
          <p:cNvSpPr txBox="1"/>
          <p:nvPr/>
        </p:nvSpPr>
        <p:spPr>
          <a:xfrm>
            <a:off x="5763887" y="5670333"/>
            <a:ext cx="2287830" cy="794742"/>
          </a:xfrm>
          <a:prstGeom prst="rect">
            <a:avLst/>
          </a:prstGeom>
        </p:spPr>
        <p:txBody>
          <a:bodyPr wrap="square" lIns="0" tIns="6808" rIns="0" bIns="0" rtlCol="0">
            <a:noAutofit/>
          </a:bodyPr>
          <a:lstStyle/>
          <a:p>
            <a:pPr marL="8929" marR="20091" lvl="0" indent="0" algn="l" defTabSz="642915" rtl="0" eaLnBrk="1" fontAlgn="auto" latinLnBrk="0" hangingPunct="1">
              <a:lnSpc>
                <a:spcPts val="1072"/>
              </a:lnSpc>
              <a:spcBef>
                <a:spcPts val="0"/>
              </a:spcBef>
              <a:spcAft>
                <a:spcPts val="0"/>
              </a:spcAft>
              <a:buClrTx/>
              <a:buSzTx/>
              <a:buFontTx/>
              <a:buNone/>
              <a:tabLst/>
              <a:defRPr/>
            </a:pPr>
            <a:r>
              <a:rPr kumimoji="0" sz="1055" b="1" i="0" u="none" strike="noStrike" kern="1200" cap="none" spc="-6" normalizeH="0" baseline="0" noProof="0" dirty="0">
                <a:ln>
                  <a:noFill/>
                </a:ln>
                <a:solidFill>
                  <a:srgbClr val="5A5B5D"/>
                </a:solidFill>
                <a:effectLst/>
                <a:uLnTx/>
                <a:uFillTx/>
                <a:latin typeface="Times New Roman"/>
                <a:ea typeface="+mn-ea"/>
                <a:cs typeface="Times New Roman"/>
              </a:rPr>
              <a:t>Financial Concerns: </a:t>
            </a:r>
            <a:r>
              <a:rPr kumimoji="0" sz="1055" b="0" i="0" u="none" strike="noStrike" kern="1200" cap="none" spc="-6" normalizeH="0" baseline="0" noProof="0" dirty="0">
                <a:ln>
                  <a:noFill/>
                </a:ln>
                <a:solidFill>
                  <a:srgbClr val="5A5B5D"/>
                </a:solidFill>
                <a:effectLst/>
                <a:uLnTx/>
                <a:uFillTx/>
                <a:latin typeface="Times New Roman"/>
                <a:ea typeface="+mn-ea"/>
                <a:cs typeface="Times New Roman"/>
              </a:rPr>
              <a:t>None</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0091" lvl="0" indent="0" algn="l" defTabSz="642915" rtl="0" eaLnBrk="1" fontAlgn="auto" latinLnBrk="0" hangingPunct="1">
              <a:lnSpc>
                <a:spcPct val="95825"/>
              </a:lnSpc>
              <a:spcBef>
                <a:spcPts val="631"/>
              </a:spcBef>
              <a:spcAft>
                <a:spcPts val="0"/>
              </a:spcAft>
              <a:buClrTx/>
              <a:buSzTx/>
              <a:buFontTx/>
              <a:buNone/>
              <a:tabLst/>
              <a:defRPr/>
            </a:pPr>
            <a:r>
              <a:rPr kumimoji="0" sz="1055" b="1" i="0" u="none" strike="noStrike" kern="1200" cap="none" spc="-8" normalizeH="0" baseline="0" noProof="0" dirty="0">
                <a:ln>
                  <a:noFill/>
                </a:ln>
                <a:solidFill>
                  <a:srgbClr val="5A5B5D"/>
                </a:solidFill>
                <a:effectLst/>
                <a:uLnTx/>
                <a:uFillTx/>
                <a:latin typeface="Times New Roman"/>
                <a:ea typeface="+mn-ea"/>
                <a:cs typeface="Times New Roman"/>
              </a:rPr>
              <a:t>Primary Roles/Responsibilities: </a:t>
            </a:r>
            <a:r>
              <a:rPr kumimoji="0" sz="1055" b="0" i="0" u="none" strike="noStrike" kern="1200" cap="none" spc="-8" normalizeH="0" baseline="0" noProof="0" dirty="0">
                <a:ln>
                  <a:noFill/>
                </a:ln>
                <a:solidFill>
                  <a:srgbClr val="5A5B5D"/>
                </a:solidFill>
                <a:effectLst/>
                <a:uLnTx/>
                <a:uFillTx/>
                <a:latin typeface="Times New Roman"/>
                <a:ea typeface="+mn-ea"/>
                <a:cs typeface="Times New Roman"/>
              </a:rPr>
              <a:t>Retired</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0091" lvl="0" indent="0" algn="l" defTabSz="642915" rtl="0" eaLnBrk="1" fontAlgn="auto" latinLnBrk="0" hangingPunct="1">
              <a:lnSpc>
                <a:spcPct val="95825"/>
              </a:lnSpc>
              <a:spcBef>
                <a:spcPts val="686"/>
              </a:spcBef>
              <a:spcAft>
                <a:spcPts val="0"/>
              </a:spcAft>
              <a:buClrTx/>
              <a:buSzTx/>
              <a:buFontTx/>
              <a:buNone/>
              <a:tabLst/>
              <a:defRPr/>
            </a:pPr>
            <a:r>
              <a:rPr kumimoji="0" sz="1055" b="1" i="0" u="none" strike="noStrike" kern="1200" cap="none" spc="0" normalizeH="0" baseline="0" noProof="0" dirty="0">
                <a:ln>
                  <a:noFill/>
                </a:ln>
                <a:solidFill>
                  <a:srgbClr val="5A5B5D"/>
                </a:solidFill>
                <a:effectLst/>
                <a:uLnTx/>
                <a:uFillTx/>
                <a:latin typeface="Times New Roman"/>
                <a:ea typeface="+mn-ea"/>
                <a:cs typeface="Times New Roman"/>
              </a:rPr>
              <a:t>Home Accessibility Concerns:</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0" lvl="0" indent="0" algn="l" defTabSz="642915" rtl="0" eaLnBrk="1" fontAlgn="auto" latinLnBrk="0" hangingPunct="1">
              <a:lnSpc>
                <a:spcPct val="95825"/>
              </a:lnSpc>
              <a:spcBef>
                <a:spcPts val="53"/>
              </a:spcBef>
              <a:spcAft>
                <a:spcPts val="0"/>
              </a:spcAft>
              <a:buClrTx/>
              <a:buSzTx/>
              <a:buFontTx/>
              <a:buNone/>
              <a:tabLst/>
              <a:defRPr/>
            </a:pPr>
            <a:r>
              <a:rPr kumimoji="0" sz="1055" b="0" i="0" u="none" strike="noStrike" kern="1200" cap="none" spc="21" normalizeH="0" baseline="0" noProof="0" dirty="0">
                <a:ln>
                  <a:noFill/>
                </a:ln>
                <a:solidFill>
                  <a:srgbClr val="5A5B5D"/>
                </a:solidFill>
                <a:effectLst/>
                <a:uLnTx/>
                <a:uFillTx/>
                <a:latin typeface="Times New Roman"/>
                <a:ea typeface="+mn-ea"/>
                <a:cs typeface="Times New Roman"/>
              </a:rPr>
              <a:t>Stairs to enter home; stairs within home</a:t>
            </a:r>
            <a:endParaRPr kumimoji="0" sz="105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2" name="object 2"/>
          <p:cNvSpPr txBox="1"/>
          <p:nvPr/>
        </p:nvSpPr>
        <p:spPr>
          <a:xfrm>
            <a:off x="381816" y="3433000"/>
            <a:ext cx="2446376" cy="3278981"/>
          </a:xfrm>
          <a:prstGeom prst="rect">
            <a:avLst/>
          </a:prstGeom>
        </p:spPr>
        <p:txBody>
          <a:bodyPr wrap="square" lIns="0" tIns="2505" rIns="0" bIns="0" rtlCol="0">
            <a:noAutofit/>
          </a:bodyPr>
          <a:lstStyle/>
          <a:p>
            <a:pPr marL="0" marR="0" lvl="0" indent="0" algn="l" defTabSz="642915" rtl="0" eaLnBrk="1" fontAlgn="auto" latinLnBrk="0" hangingPunct="1">
              <a:lnSpc>
                <a:spcPts val="598"/>
              </a:lnSpc>
              <a:spcBef>
                <a:spcPts val="0"/>
              </a:spcBef>
              <a:spcAft>
                <a:spcPts val="0"/>
              </a:spcAft>
              <a:buClrTx/>
              <a:buSzTx/>
              <a:buFontTx/>
              <a:buNone/>
              <a:tabLst/>
              <a:defRPr/>
            </a:pPr>
            <a:endParaRPr kumimoji="0" sz="598" b="0" i="0" u="none" strike="noStrike" kern="1200" cap="none" spc="0" normalizeH="0" baseline="0" noProof="0" dirty="0">
              <a:ln>
                <a:noFill/>
              </a:ln>
              <a:solidFill>
                <a:prstClr val="black"/>
              </a:solidFill>
              <a:effectLst/>
              <a:uLnTx/>
              <a:uFillTx/>
              <a:latin typeface="Calibri"/>
              <a:ea typeface="+mn-ea"/>
              <a:cs typeface="+mn-cs"/>
            </a:endParaRPr>
          </a:p>
          <a:p>
            <a:pPr marL="210550" marR="0" lvl="0" indent="0" algn="l" defTabSz="642915" rtl="0" eaLnBrk="1" fontAlgn="auto" latinLnBrk="0" hangingPunct="1">
              <a:lnSpc>
                <a:spcPct val="95825"/>
              </a:lnSpc>
              <a:spcBef>
                <a:spcPts val="1406"/>
              </a:spcBef>
              <a:spcAft>
                <a:spcPts val="0"/>
              </a:spcAft>
              <a:buClrTx/>
              <a:buSzTx/>
              <a:buFontTx/>
              <a:buNone/>
              <a:tabLst/>
              <a:defRPr/>
            </a:pPr>
            <a:r>
              <a:rPr kumimoji="0" sz="1195" b="1" i="0" u="none" strike="noStrike" kern="1200" cap="none" spc="-2" normalizeH="0" baseline="0" noProof="0" dirty="0">
                <a:ln>
                  <a:noFill/>
                </a:ln>
                <a:solidFill>
                  <a:srgbClr val="FFFFFF"/>
                </a:solidFill>
                <a:effectLst/>
                <a:uLnTx/>
                <a:uFillTx/>
                <a:latin typeface="Times New Roman"/>
                <a:ea typeface="+mn-ea"/>
                <a:cs typeface="Times New Roman"/>
              </a:rPr>
              <a:t>Name: </a:t>
            </a:r>
            <a:r>
              <a:rPr kumimoji="0" sz="1195" b="0" i="0" u="none" strike="noStrike" kern="1200" cap="none" spc="-2" normalizeH="0" baseline="0" noProof="0" dirty="0">
                <a:ln>
                  <a:noFill/>
                </a:ln>
                <a:solidFill>
                  <a:srgbClr val="FFFFFF"/>
                </a:solidFill>
                <a:effectLst/>
                <a:uLnTx/>
                <a:uFillTx/>
                <a:latin typeface="Times New Roman"/>
                <a:ea typeface="+mn-ea"/>
                <a:cs typeface="Times New Roman"/>
              </a:rPr>
              <a:t>Walter Jones</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2" normalizeH="0" baseline="0" noProof="0" dirty="0">
                <a:ln>
                  <a:noFill/>
                </a:ln>
                <a:solidFill>
                  <a:srgbClr val="FFFFFF"/>
                </a:solidFill>
                <a:effectLst/>
                <a:uLnTx/>
                <a:uFillTx/>
                <a:latin typeface="Times New Roman"/>
                <a:ea typeface="+mn-ea"/>
                <a:cs typeface="Times New Roman"/>
              </a:rPr>
              <a:t>Gender: </a:t>
            </a:r>
            <a:r>
              <a:rPr kumimoji="0" sz="1195" b="0" i="0" u="none" strike="noStrike" kern="1200" cap="none" spc="-12" normalizeH="0" baseline="0" noProof="0" dirty="0">
                <a:ln>
                  <a:noFill/>
                </a:ln>
                <a:solidFill>
                  <a:srgbClr val="FFFFFF"/>
                </a:solidFill>
                <a:effectLst/>
                <a:uLnTx/>
                <a:uFillTx/>
                <a:latin typeface="Times New Roman"/>
                <a:ea typeface="+mn-ea"/>
                <a:cs typeface="Times New Roman"/>
              </a:rPr>
              <a:t>Male</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23" normalizeH="0" baseline="0" noProof="0" dirty="0">
                <a:ln>
                  <a:noFill/>
                </a:ln>
                <a:solidFill>
                  <a:srgbClr val="FFFFFF"/>
                </a:solidFill>
                <a:effectLst/>
                <a:uLnTx/>
                <a:uFillTx/>
                <a:latin typeface="Times New Roman"/>
                <a:ea typeface="+mn-ea"/>
                <a:cs typeface="Times New Roman"/>
              </a:rPr>
              <a:t>Age: </a:t>
            </a:r>
            <a:r>
              <a:rPr kumimoji="0" sz="1195" b="0" i="0" u="none" strike="noStrike" kern="1200" cap="none" spc="-23" normalizeH="0" baseline="0" noProof="0" dirty="0">
                <a:ln>
                  <a:noFill/>
                </a:ln>
                <a:solidFill>
                  <a:srgbClr val="FFFFFF"/>
                </a:solidFill>
                <a:effectLst/>
                <a:uLnTx/>
                <a:uFillTx/>
                <a:latin typeface="Times New Roman"/>
                <a:ea typeface="+mn-ea"/>
                <a:cs typeface="Times New Roman"/>
              </a:rPr>
              <a:t>65</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6" normalizeH="0" baseline="0" noProof="0" dirty="0">
                <a:ln>
                  <a:noFill/>
                </a:ln>
                <a:solidFill>
                  <a:srgbClr val="FFFFFF"/>
                </a:solidFill>
                <a:effectLst/>
                <a:uLnTx/>
                <a:uFillTx/>
                <a:latin typeface="Times New Roman"/>
                <a:ea typeface="+mn-ea"/>
                <a:cs typeface="Times New Roman"/>
              </a:rPr>
              <a:t>Height: 6' 2"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7" normalizeH="0" baseline="0" noProof="0" dirty="0">
                <a:ln>
                  <a:noFill/>
                </a:ln>
                <a:solidFill>
                  <a:srgbClr val="FFFFFF"/>
                </a:solidFill>
                <a:effectLst/>
                <a:uLnTx/>
                <a:uFillTx/>
                <a:latin typeface="Times New Roman"/>
                <a:ea typeface="+mn-ea"/>
                <a:cs typeface="Times New Roman"/>
              </a:rPr>
              <a:t>Weight: 210 lb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lang="en-US" sz="1195" b="1" i="1" u="none" strike="noStrike" kern="1200" cap="none" spc="-28" normalizeH="0" baseline="0" noProof="0" dirty="0">
                <a:ln>
                  <a:noFill/>
                </a:ln>
                <a:solidFill>
                  <a:srgbClr val="FFFFFF"/>
                </a:solidFill>
                <a:effectLst/>
                <a:uLnTx/>
                <a:uFillTx/>
                <a:latin typeface="Times New Roman"/>
                <a:ea typeface="+mn-ea"/>
                <a:cs typeface="Times New Roman"/>
              </a:rPr>
              <a:t>Pneumonia</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97"/>
              </a:spcBef>
              <a:spcAft>
                <a:spcPts val="0"/>
              </a:spcAft>
              <a:buClrTx/>
              <a:buSzTx/>
              <a:buFontTx/>
              <a:buNone/>
              <a:tabLst/>
              <a:defRPr/>
            </a:pPr>
            <a:r>
              <a:rPr kumimoji="0" sz="1195" b="1" i="0" u="none" strike="noStrike" kern="1200" cap="none" spc="-20" normalizeH="0" baseline="0" noProof="0" dirty="0">
                <a:ln>
                  <a:noFill/>
                </a:ln>
                <a:solidFill>
                  <a:srgbClr val="FFFFFF"/>
                </a:solidFill>
                <a:effectLst/>
                <a:uLnTx/>
                <a:uFillTx/>
                <a:latin typeface="Times New Roman"/>
                <a:ea typeface="+mn-ea"/>
                <a:cs typeface="Times New Roman"/>
              </a:rPr>
              <a:t>Primary Physician: </a:t>
            </a:r>
            <a:r>
              <a:rPr kumimoji="0" sz="1195" b="0" i="0" u="none" strike="noStrike" kern="1200" cap="none" spc="-20" normalizeH="0" baseline="0" noProof="0" dirty="0">
                <a:ln>
                  <a:noFill/>
                </a:ln>
                <a:solidFill>
                  <a:srgbClr val="FFFFFF"/>
                </a:solidFill>
                <a:effectLst/>
                <a:uLnTx/>
                <a:uFillTx/>
                <a:latin typeface="Times New Roman"/>
                <a:ea typeface="+mn-ea"/>
                <a:cs typeface="Times New Roman"/>
              </a:rPr>
              <a:t>Dr. Smith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5" normalizeH="0" baseline="0" noProof="0" dirty="0">
                <a:ln>
                  <a:noFill/>
                </a:ln>
                <a:solidFill>
                  <a:srgbClr val="FFFFFF"/>
                </a:solidFill>
                <a:effectLst/>
                <a:uLnTx/>
                <a:uFillTx/>
                <a:latin typeface="Times New Roman"/>
                <a:ea typeface="+mn-ea"/>
                <a:cs typeface="Times New Roman"/>
              </a:rPr>
              <a:t>Allergies: </a:t>
            </a:r>
            <a:r>
              <a:rPr kumimoji="0" sz="1195" b="0" i="0" u="none" strike="noStrike" kern="1200" cap="none" spc="-5" normalizeH="0" baseline="0" noProof="0" dirty="0">
                <a:ln>
                  <a:noFill/>
                </a:ln>
                <a:solidFill>
                  <a:srgbClr val="FFFFFF"/>
                </a:solidFill>
                <a:effectLst/>
                <a:uLnTx/>
                <a:uFillTx/>
                <a:latin typeface="Times New Roman"/>
                <a:ea typeface="+mn-ea"/>
                <a:cs typeface="Times New Roman"/>
              </a:rPr>
              <a:t>No Known Allergie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15" normalizeH="0" baseline="0" noProof="0" dirty="0">
                <a:ln>
                  <a:noFill/>
                </a:ln>
                <a:solidFill>
                  <a:srgbClr val="FFFFFF"/>
                </a:solidFill>
                <a:effectLst/>
                <a:uLnTx/>
                <a:uFillTx/>
                <a:latin typeface="Times New Roman"/>
                <a:ea typeface="+mn-ea"/>
                <a:cs typeface="Times New Roman"/>
              </a:rPr>
              <a:t>Pressure Ulcer POA: </a:t>
            </a:r>
            <a:r>
              <a:rPr kumimoji="0" sz="1195" b="0" i="0" u="none" strike="noStrike" kern="1200" cap="none" spc="-15" normalizeH="0" baseline="0" noProof="0" dirty="0">
                <a:ln>
                  <a:noFill/>
                </a:ln>
                <a:solidFill>
                  <a:srgbClr val="FFFFFF"/>
                </a:solidFill>
                <a:effectLst/>
                <a:uLnTx/>
                <a:uFillTx/>
                <a:latin typeface="Times New Roman"/>
                <a:ea typeface="+mn-ea"/>
                <a:cs typeface="Times New Roman"/>
              </a:rPr>
              <a:t>Negative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24" normalizeH="0" baseline="0" noProof="0" dirty="0">
                <a:ln>
                  <a:noFill/>
                </a:ln>
                <a:solidFill>
                  <a:srgbClr val="FFFFFF"/>
                </a:solidFill>
                <a:effectLst/>
                <a:uLnTx/>
                <a:uFillTx/>
                <a:latin typeface="Times New Roman"/>
                <a:ea typeface="+mn-ea"/>
                <a:cs typeface="Times New Roman"/>
              </a:rPr>
              <a:t>Last Braden Risk Score: </a:t>
            </a:r>
            <a:r>
              <a:rPr kumimoji="0" lang="en-US" sz="1195" b="0" i="0" u="none" strike="noStrike" kern="1200" cap="none" spc="-24" normalizeH="0" baseline="0" noProof="0" dirty="0">
                <a:ln>
                  <a:noFill/>
                </a:ln>
                <a:solidFill>
                  <a:srgbClr val="FFFFFF"/>
                </a:solidFill>
                <a:effectLst/>
                <a:uLnTx/>
                <a:uFillTx/>
                <a:latin typeface="Times New Roman"/>
                <a:ea typeface="+mn-ea"/>
                <a:cs typeface="Times New Roman"/>
              </a:rPr>
              <a:t>10</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99"/>
              </a:spcBef>
              <a:spcAft>
                <a:spcPts val="0"/>
              </a:spcAft>
              <a:buClrTx/>
              <a:buSzTx/>
              <a:buFontTx/>
              <a:buNone/>
              <a:tabLst/>
              <a:defRPr/>
            </a:pPr>
            <a:r>
              <a:rPr kumimoji="0" sz="1195" b="1" i="0" u="none" strike="noStrike" kern="1200" cap="none" spc="-28" normalizeH="0" baseline="0" noProof="0" dirty="0">
                <a:ln>
                  <a:noFill/>
                </a:ln>
                <a:solidFill>
                  <a:srgbClr val="FFFFFF"/>
                </a:solidFill>
                <a:effectLst/>
                <a:uLnTx/>
                <a:uFillTx/>
                <a:latin typeface="Times New Roman"/>
                <a:ea typeface="+mn-ea"/>
                <a:cs typeface="Times New Roman"/>
              </a:rPr>
              <a:t>Fall Risk Score: </a:t>
            </a:r>
            <a:r>
              <a:rPr kumimoji="0" sz="1195" b="0" i="0" u="none" strike="noStrike" kern="1200" cap="none" spc="-28" normalizeH="0" baseline="0" noProof="0" dirty="0">
                <a:ln>
                  <a:noFill/>
                </a:ln>
                <a:solidFill>
                  <a:srgbClr val="FFFFFF"/>
                </a:solidFill>
                <a:effectLst/>
                <a:uLnTx/>
                <a:uFillTx/>
                <a:latin typeface="Times New Roman"/>
                <a:ea typeface="+mn-ea"/>
                <a:cs typeface="Times New Roman"/>
              </a:rPr>
              <a:t>6</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4" normalizeH="0" baseline="0" noProof="0" dirty="0">
                <a:ln>
                  <a:noFill/>
                </a:ln>
                <a:solidFill>
                  <a:srgbClr val="FFFFFF"/>
                </a:solidFill>
                <a:effectLst/>
                <a:uLnTx/>
                <a:uFillTx/>
                <a:latin typeface="Times New Roman"/>
                <a:ea typeface="+mn-ea"/>
                <a:cs typeface="Times New Roman"/>
              </a:rPr>
              <a:t>Last Pain Score: </a:t>
            </a:r>
            <a:r>
              <a:rPr kumimoji="0" lang="en-US" sz="1195" b="0" i="0" u="none" strike="noStrike" kern="1200" cap="none" spc="-14" normalizeH="0" baseline="0" noProof="0" dirty="0">
                <a:ln>
                  <a:noFill/>
                </a:ln>
                <a:solidFill>
                  <a:srgbClr val="FFFFFF"/>
                </a:solidFill>
                <a:effectLst/>
                <a:uLnTx/>
                <a:uFillTx/>
                <a:latin typeface="Times New Roman"/>
                <a:ea typeface="+mn-ea"/>
                <a:cs typeface="Times New Roman"/>
              </a:rPr>
              <a:t>5</a:t>
            </a:r>
            <a:r>
              <a:rPr kumimoji="0" sz="1195" b="0" i="0" u="none" strike="noStrike" kern="1200" cap="none" spc="-14" normalizeH="0" baseline="0" noProof="0" dirty="0">
                <a:ln>
                  <a:noFill/>
                </a:ln>
                <a:solidFill>
                  <a:srgbClr val="FFFFFF"/>
                </a:solidFill>
                <a:effectLst/>
                <a:uLnTx/>
                <a:uFillTx/>
                <a:latin typeface="Times New Roman"/>
                <a:ea typeface="+mn-ea"/>
                <a:cs typeface="Times New Roman"/>
              </a:rPr>
              <a:t> (0-10)</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p:txBody>
      </p:sp>
    </p:spTree>
    <p:extLst>
      <p:ext uri="{BB962C8B-B14F-4D97-AF65-F5344CB8AC3E}">
        <p14:creationId xmlns:p14="http://schemas.microsoft.com/office/powerpoint/2010/main" val="4256244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bject 27"/>
          <p:cNvSpPr/>
          <p:nvPr/>
        </p:nvSpPr>
        <p:spPr>
          <a:xfrm>
            <a:off x="7197328" y="273013"/>
            <a:ext cx="202266" cy="219938"/>
          </a:xfrm>
          <a:custGeom>
            <a:avLst/>
            <a:gdLst/>
            <a:ahLst/>
            <a:cxnLst/>
            <a:rect l="l" t="t" r="r" b="b"/>
            <a:pathLst>
              <a:path w="287667" h="312801">
                <a:moveTo>
                  <a:pt x="279527" y="232981"/>
                </a:moveTo>
                <a:lnTo>
                  <a:pt x="276916" y="240546"/>
                </a:lnTo>
                <a:lnTo>
                  <a:pt x="271028" y="253498"/>
                </a:lnTo>
                <a:lnTo>
                  <a:pt x="263732" y="264989"/>
                </a:lnTo>
                <a:lnTo>
                  <a:pt x="255011" y="274826"/>
                </a:lnTo>
                <a:lnTo>
                  <a:pt x="244844" y="282815"/>
                </a:lnTo>
                <a:lnTo>
                  <a:pt x="233214" y="288761"/>
                </a:lnTo>
                <a:lnTo>
                  <a:pt x="220100" y="292471"/>
                </a:lnTo>
                <a:lnTo>
                  <a:pt x="205486" y="293750"/>
                </a:lnTo>
                <a:lnTo>
                  <a:pt x="114566" y="293750"/>
                </a:lnTo>
                <a:lnTo>
                  <a:pt x="107728" y="293248"/>
                </a:lnTo>
                <a:lnTo>
                  <a:pt x="97959" y="288007"/>
                </a:lnTo>
                <a:lnTo>
                  <a:pt x="93852" y="275935"/>
                </a:lnTo>
                <a:lnTo>
                  <a:pt x="93014" y="255638"/>
                </a:lnTo>
                <a:lnTo>
                  <a:pt x="93014" y="157327"/>
                </a:lnTo>
                <a:lnTo>
                  <a:pt x="183959" y="157327"/>
                </a:lnTo>
                <a:lnTo>
                  <a:pt x="196111" y="158269"/>
                </a:lnTo>
                <a:lnTo>
                  <a:pt x="208856" y="162758"/>
                </a:lnTo>
                <a:lnTo>
                  <a:pt x="217578" y="171143"/>
                </a:lnTo>
                <a:lnTo>
                  <a:pt x="222963" y="183638"/>
                </a:lnTo>
                <a:lnTo>
                  <a:pt x="225691" y="200456"/>
                </a:lnTo>
                <a:lnTo>
                  <a:pt x="234276" y="200456"/>
                </a:lnTo>
                <a:lnTo>
                  <a:pt x="234276" y="95199"/>
                </a:lnTo>
                <a:lnTo>
                  <a:pt x="225691" y="95199"/>
                </a:lnTo>
                <a:lnTo>
                  <a:pt x="223826" y="107933"/>
                </a:lnTo>
                <a:lnTo>
                  <a:pt x="219273" y="121643"/>
                </a:lnTo>
                <a:lnTo>
                  <a:pt x="211670" y="131078"/>
                </a:lnTo>
                <a:lnTo>
                  <a:pt x="200178" y="136526"/>
                </a:lnTo>
                <a:lnTo>
                  <a:pt x="183959" y="138277"/>
                </a:lnTo>
                <a:lnTo>
                  <a:pt x="93014" y="138277"/>
                </a:lnTo>
                <a:lnTo>
                  <a:pt x="93014" y="50723"/>
                </a:lnTo>
                <a:lnTo>
                  <a:pt x="93622" y="31657"/>
                </a:lnTo>
                <a:lnTo>
                  <a:pt x="98530" y="21623"/>
                </a:lnTo>
                <a:lnTo>
                  <a:pt x="112407" y="19100"/>
                </a:lnTo>
                <a:lnTo>
                  <a:pt x="195286" y="19103"/>
                </a:lnTo>
                <a:lnTo>
                  <a:pt x="211403" y="20210"/>
                </a:lnTo>
                <a:lnTo>
                  <a:pt x="224822" y="23609"/>
                </a:lnTo>
                <a:lnTo>
                  <a:pt x="235629" y="29719"/>
                </a:lnTo>
                <a:lnTo>
                  <a:pt x="243912" y="38959"/>
                </a:lnTo>
                <a:lnTo>
                  <a:pt x="249756" y="51747"/>
                </a:lnTo>
                <a:lnTo>
                  <a:pt x="253250" y="68503"/>
                </a:lnTo>
                <a:lnTo>
                  <a:pt x="261886" y="68503"/>
                </a:lnTo>
                <a:lnTo>
                  <a:pt x="257987" y="0"/>
                </a:lnTo>
                <a:lnTo>
                  <a:pt x="0" y="0"/>
                </a:lnTo>
                <a:lnTo>
                  <a:pt x="0" y="9016"/>
                </a:lnTo>
                <a:lnTo>
                  <a:pt x="1410" y="9021"/>
                </a:lnTo>
                <a:lnTo>
                  <a:pt x="18919" y="10203"/>
                </a:lnTo>
                <a:lnTo>
                  <a:pt x="31711" y="14202"/>
                </a:lnTo>
                <a:lnTo>
                  <a:pt x="40261" y="22059"/>
                </a:lnTo>
                <a:lnTo>
                  <a:pt x="45044" y="34817"/>
                </a:lnTo>
                <a:lnTo>
                  <a:pt x="46532" y="53517"/>
                </a:lnTo>
                <a:lnTo>
                  <a:pt x="46527" y="260779"/>
                </a:lnTo>
                <a:lnTo>
                  <a:pt x="44838" y="279017"/>
                </a:lnTo>
                <a:lnTo>
                  <a:pt x="39817" y="291402"/>
                </a:lnTo>
                <a:lnTo>
                  <a:pt x="30988" y="298970"/>
                </a:lnTo>
                <a:lnTo>
                  <a:pt x="17874" y="302752"/>
                </a:lnTo>
                <a:lnTo>
                  <a:pt x="0" y="303783"/>
                </a:lnTo>
                <a:lnTo>
                  <a:pt x="0" y="312800"/>
                </a:lnTo>
                <a:lnTo>
                  <a:pt x="264439" y="312800"/>
                </a:lnTo>
                <a:lnTo>
                  <a:pt x="287667"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object 28"/>
          <p:cNvSpPr/>
          <p:nvPr/>
        </p:nvSpPr>
        <p:spPr>
          <a:xfrm>
            <a:off x="7397748" y="273013"/>
            <a:ext cx="192604" cy="219938"/>
          </a:xfrm>
          <a:custGeom>
            <a:avLst/>
            <a:gdLst/>
            <a:ahLst/>
            <a:cxnLst/>
            <a:rect l="l" t="t" r="r" b="b"/>
            <a:pathLst>
              <a:path w="273926" h="312801">
                <a:moveTo>
                  <a:pt x="263626" y="230720"/>
                </a:moveTo>
                <a:lnTo>
                  <a:pt x="254350" y="250108"/>
                </a:lnTo>
                <a:lnTo>
                  <a:pt x="246935" y="261900"/>
                </a:lnTo>
                <a:lnTo>
                  <a:pt x="238716" y="271780"/>
                </a:lnTo>
                <a:lnTo>
                  <a:pt x="229476" y="279784"/>
                </a:lnTo>
                <a:lnTo>
                  <a:pt x="218997" y="285948"/>
                </a:lnTo>
                <a:lnTo>
                  <a:pt x="207064" y="290306"/>
                </a:lnTo>
                <a:lnTo>
                  <a:pt x="193459" y="292895"/>
                </a:lnTo>
                <a:lnTo>
                  <a:pt x="177965" y="293750"/>
                </a:lnTo>
                <a:lnTo>
                  <a:pt x="116319" y="293750"/>
                </a:lnTo>
                <a:lnTo>
                  <a:pt x="103518" y="291860"/>
                </a:lnTo>
                <a:lnTo>
                  <a:pt x="94331" y="284253"/>
                </a:lnTo>
                <a:lnTo>
                  <a:pt x="90713" y="271286"/>
                </a:lnTo>
                <a:lnTo>
                  <a:pt x="90081" y="253466"/>
                </a:lnTo>
                <a:lnTo>
                  <a:pt x="90087" y="52028"/>
                </a:lnTo>
                <a:lnTo>
                  <a:pt x="91780" y="33763"/>
                </a:lnTo>
                <a:lnTo>
                  <a:pt x="96794" y="21372"/>
                </a:lnTo>
                <a:lnTo>
                  <a:pt x="105612" y="13812"/>
                </a:lnTo>
                <a:lnTo>
                  <a:pt x="118716" y="10042"/>
                </a:lnTo>
                <a:lnTo>
                  <a:pt x="136588" y="9016"/>
                </a:lnTo>
                <a:lnTo>
                  <a:pt x="136588" y="0"/>
                </a:lnTo>
                <a:lnTo>
                  <a:pt x="0" y="0"/>
                </a:lnTo>
                <a:lnTo>
                  <a:pt x="0" y="9016"/>
                </a:lnTo>
                <a:lnTo>
                  <a:pt x="14966" y="10511"/>
                </a:lnTo>
                <a:lnTo>
                  <a:pt x="28155" y="14358"/>
                </a:lnTo>
                <a:lnTo>
                  <a:pt x="37006" y="21749"/>
                </a:lnTo>
                <a:lnTo>
                  <a:pt x="41980" y="34041"/>
                </a:lnTo>
                <a:lnTo>
                  <a:pt x="43535" y="52590"/>
                </a:lnTo>
                <a:lnTo>
                  <a:pt x="43535" y="260261"/>
                </a:lnTo>
                <a:lnTo>
                  <a:pt x="42426" y="276421"/>
                </a:lnTo>
                <a:lnTo>
                  <a:pt x="37999" y="289580"/>
                </a:lnTo>
                <a:lnTo>
                  <a:pt x="29760" y="297621"/>
                </a:lnTo>
                <a:lnTo>
                  <a:pt x="17247" y="301903"/>
                </a:lnTo>
                <a:lnTo>
                  <a:pt x="0" y="303783"/>
                </a:lnTo>
                <a:lnTo>
                  <a:pt x="0" y="312800"/>
                </a:lnTo>
                <a:lnTo>
                  <a:pt x="247650" y="312800"/>
                </a:lnTo>
                <a:lnTo>
                  <a:pt x="273926" y="232625"/>
                </a:lnTo>
                <a:lnTo>
                  <a:pt x="263626" y="23072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bject 29"/>
          <p:cNvSpPr/>
          <p:nvPr/>
        </p:nvSpPr>
        <p:spPr>
          <a:xfrm>
            <a:off x="7595780" y="267888"/>
            <a:ext cx="141160" cy="230162"/>
          </a:xfrm>
          <a:custGeom>
            <a:avLst/>
            <a:gdLst/>
            <a:ahLst/>
            <a:cxnLst/>
            <a:rect l="l" t="t" r="r" b="b"/>
            <a:pathLst>
              <a:path w="200761" h="327342">
                <a:moveTo>
                  <a:pt x="10321" y="68942"/>
                </a:moveTo>
                <a:lnTo>
                  <a:pt x="9067" y="84797"/>
                </a:lnTo>
                <a:lnTo>
                  <a:pt x="9094" y="86841"/>
                </a:lnTo>
                <a:lnTo>
                  <a:pt x="10343" y="98306"/>
                </a:lnTo>
                <a:lnTo>
                  <a:pt x="13392" y="108843"/>
                </a:lnTo>
                <a:lnTo>
                  <a:pt x="18155" y="118652"/>
                </a:lnTo>
                <a:lnTo>
                  <a:pt x="24544" y="127932"/>
                </a:lnTo>
                <a:lnTo>
                  <a:pt x="32474" y="136881"/>
                </a:lnTo>
                <a:lnTo>
                  <a:pt x="41858" y="145698"/>
                </a:lnTo>
                <a:lnTo>
                  <a:pt x="52609" y="154583"/>
                </a:lnTo>
                <a:lnTo>
                  <a:pt x="64641" y="163733"/>
                </a:lnTo>
                <a:lnTo>
                  <a:pt x="77867" y="173349"/>
                </a:lnTo>
                <a:lnTo>
                  <a:pt x="92202" y="183629"/>
                </a:lnTo>
                <a:lnTo>
                  <a:pt x="104017" y="192251"/>
                </a:lnTo>
                <a:lnTo>
                  <a:pt x="117107" y="202385"/>
                </a:lnTo>
                <a:lnTo>
                  <a:pt x="128553" y="212154"/>
                </a:lnTo>
                <a:lnTo>
                  <a:pt x="138219" y="221667"/>
                </a:lnTo>
                <a:lnTo>
                  <a:pt x="145972" y="231033"/>
                </a:lnTo>
                <a:lnTo>
                  <a:pt x="151675" y="240363"/>
                </a:lnTo>
                <a:lnTo>
                  <a:pt x="155196" y="249764"/>
                </a:lnTo>
                <a:lnTo>
                  <a:pt x="156400" y="259346"/>
                </a:lnTo>
                <a:lnTo>
                  <a:pt x="154334" y="274067"/>
                </a:lnTo>
                <a:lnTo>
                  <a:pt x="148555" y="286590"/>
                </a:lnTo>
                <a:lnTo>
                  <a:pt x="139643" y="296736"/>
                </a:lnTo>
                <a:lnTo>
                  <a:pt x="128181" y="304271"/>
                </a:lnTo>
                <a:lnTo>
                  <a:pt x="114751" y="308962"/>
                </a:lnTo>
                <a:lnTo>
                  <a:pt x="99936" y="310578"/>
                </a:lnTo>
                <a:lnTo>
                  <a:pt x="89934" y="309904"/>
                </a:lnTo>
                <a:lnTo>
                  <a:pt x="76906" y="306822"/>
                </a:lnTo>
                <a:lnTo>
                  <a:pt x="65028" y="301521"/>
                </a:lnTo>
                <a:lnTo>
                  <a:pt x="54235" y="294302"/>
                </a:lnTo>
                <a:lnTo>
                  <a:pt x="44462" y="285468"/>
                </a:lnTo>
                <a:lnTo>
                  <a:pt x="35645" y="275322"/>
                </a:lnTo>
                <a:lnTo>
                  <a:pt x="27718" y="264166"/>
                </a:lnTo>
                <a:lnTo>
                  <a:pt x="20618" y="252302"/>
                </a:lnTo>
                <a:lnTo>
                  <a:pt x="14278" y="240032"/>
                </a:lnTo>
                <a:lnTo>
                  <a:pt x="8636" y="227660"/>
                </a:lnTo>
                <a:lnTo>
                  <a:pt x="0" y="227660"/>
                </a:lnTo>
                <a:lnTo>
                  <a:pt x="16802" y="324192"/>
                </a:lnTo>
                <a:lnTo>
                  <a:pt x="25463" y="324192"/>
                </a:lnTo>
                <a:lnTo>
                  <a:pt x="26352" y="317449"/>
                </a:lnTo>
                <a:lnTo>
                  <a:pt x="31876" y="314299"/>
                </a:lnTo>
                <a:lnTo>
                  <a:pt x="37096" y="314299"/>
                </a:lnTo>
                <a:lnTo>
                  <a:pt x="41516" y="314915"/>
                </a:lnTo>
                <a:lnTo>
                  <a:pt x="50668" y="317201"/>
                </a:lnTo>
                <a:lnTo>
                  <a:pt x="62825" y="320407"/>
                </a:lnTo>
                <a:lnTo>
                  <a:pt x="77157" y="323713"/>
                </a:lnTo>
                <a:lnTo>
                  <a:pt x="92835" y="326298"/>
                </a:lnTo>
                <a:lnTo>
                  <a:pt x="109029" y="327342"/>
                </a:lnTo>
                <a:lnTo>
                  <a:pt x="109480" y="327341"/>
                </a:lnTo>
                <a:lnTo>
                  <a:pt x="124538" y="326156"/>
                </a:lnTo>
                <a:lnTo>
                  <a:pt x="138729" y="322841"/>
                </a:lnTo>
                <a:lnTo>
                  <a:pt x="151884" y="317559"/>
                </a:lnTo>
                <a:lnTo>
                  <a:pt x="163836" y="310469"/>
                </a:lnTo>
                <a:lnTo>
                  <a:pt x="174413" y="301732"/>
                </a:lnTo>
                <a:lnTo>
                  <a:pt x="183447" y="291509"/>
                </a:lnTo>
                <a:lnTo>
                  <a:pt x="190768" y="279961"/>
                </a:lnTo>
                <a:lnTo>
                  <a:pt x="196207" y="267249"/>
                </a:lnTo>
                <a:lnTo>
                  <a:pt x="199594" y="253534"/>
                </a:lnTo>
                <a:lnTo>
                  <a:pt x="200761" y="238975"/>
                </a:lnTo>
                <a:lnTo>
                  <a:pt x="200208" y="229802"/>
                </a:lnTo>
                <a:lnTo>
                  <a:pt x="197518" y="217185"/>
                </a:lnTo>
                <a:lnTo>
                  <a:pt x="192813" y="205469"/>
                </a:lnTo>
                <a:lnTo>
                  <a:pt x="186339" y="194585"/>
                </a:lnTo>
                <a:lnTo>
                  <a:pt x="178341" y="184463"/>
                </a:lnTo>
                <a:lnTo>
                  <a:pt x="169065" y="175032"/>
                </a:lnTo>
                <a:lnTo>
                  <a:pt x="158755" y="166225"/>
                </a:lnTo>
                <a:lnTo>
                  <a:pt x="147657" y="157969"/>
                </a:lnTo>
                <a:lnTo>
                  <a:pt x="136016" y="150196"/>
                </a:lnTo>
                <a:lnTo>
                  <a:pt x="124079" y="142836"/>
                </a:lnTo>
                <a:lnTo>
                  <a:pt x="114617" y="137112"/>
                </a:lnTo>
                <a:lnTo>
                  <a:pt x="99689" y="127857"/>
                </a:lnTo>
                <a:lnTo>
                  <a:pt x="86381" y="119077"/>
                </a:lnTo>
                <a:lnTo>
                  <a:pt x="74808" y="110584"/>
                </a:lnTo>
                <a:lnTo>
                  <a:pt x="65084" y="102185"/>
                </a:lnTo>
                <a:lnTo>
                  <a:pt x="57322" y="93693"/>
                </a:lnTo>
                <a:lnTo>
                  <a:pt x="51636" y="84916"/>
                </a:lnTo>
                <a:lnTo>
                  <a:pt x="48142" y="75664"/>
                </a:lnTo>
                <a:lnTo>
                  <a:pt x="46951" y="65747"/>
                </a:lnTo>
                <a:lnTo>
                  <a:pt x="47315" y="59506"/>
                </a:lnTo>
                <a:lnTo>
                  <a:pt x="51053" y="45528"/>
                </a:lnTo>
                <a:lnTo>
                  <a:pt x="58334" y="33757"/>
                </a:lnTo>
                <a:lnTo>
                  <a:pt x="68536" y="24710"/>
                </a:lnTo>
                <a:lnTo>
                  <a:pt x="81036" y="18903"/>
                </a:lnTo>
                <a:lnTo>
                  <a:pt x="95211" y="16852"/>
                </a:lnTo>
                <a:lnTo>
                  <a:pt x="95535" y="16853"/>
                </a:lnTo>
                <a:lnTo>
                  <a:pt x="109355" y="18312"/>
                </a:lnTo>
                <a:lnTo>
                  <a:pt x="121957" y="22352"/>
                </a:lnTo>
                <a:lnTo>
                  <a:pt x="133357" y="28658"/>
                </a:lnTo>
                <a:lnTo>
                  <a:pt x="143574" y="36919"/>
                </a:lnTo>
                <a:lnTo>
                  <a:pt x="152623" y="46820"/>
                </a:lnTo>
                <a:lnTo>
                  <a:pt x="160524" y="58051"/>
                </a:lnTo>
                <a:lnTo>
                  <a:pt x="167294" y="70297"/>
                </a:lnTo>
                <a:lnTo>
                  <a:pt x="172949" y="83245"/>
                </a:lnTo>
                <a:lnTo>
                  <a:pt x="177507" y="96583"/>
                </a:lnTo>
                <a:lnTo>
                  <a:pt x="186093" y="96583"/>
                </a:lnTo>
                <a:lnTo>
                  <a:pt x="176225" y="3314"/>
                </a:lnTo>
                <a:lnTo>
                  <a:pt x="167627" y="3314"/>
                </a:lnTo>
                <a:lnTo>
                  <a:pt x="168846" y="10477"/>
                </a:lnTo>
                <a:lnTo>
                  <a:pt x="167627" y="14592"/>
                </a:lnTo>
                <a:lnTo>
                  <a:pt x="158018" y="14521"/>
                </a:lnTo>
                <a:lnTo>
                  <a:pt x="148019" y="12591"/>
                </a:lnTo>
                <a:lnTo>
                  <a:pt x="137982" y="8937"/>
                </a:lnTo>
                <a:lnTo>
                  <a:pt x="126710" y="4796"/>
                </a:lnTo>
                <a:lnTo>
                  <a:pt x="113009" y="1405"/>
                </a:lnTo>
                <a:lnTo>
                  <a:pt x="95681" y="0"/>
                </a:lnTo>
                <a:lnTo>
                  <a:pt x="87648" y="311"/>
                </a:lnTo>
                <a:lnTo>
                  <a:pt x="73426" y="2477"/>
                </a:lnTo>
                <a:lnTo>
                  <a:pt x="60081" y="6636"/>
                </a:lnTo>
                <a:lnTo>
                  <a:pt x="47824" y="12709"/>
                </a:lnTo>
                <a:lnTo>
                  <a:pt x="36869" y="20614"/>
                </a:lnTo>
                <a:lnTo>
                  <a:pt x="27428" y="30271"/>
                </a:lnTo>
                <a:lnTo>
                  <a:pt x="19714" y="41598"/>
                </a:lnTo>
                <a:lnTo>
                  <a:pt x="13941" y="54516"/>
                </a:lnTo>
                <a:lnTo>
                  <a:pt x="10321" y="68942"/>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bject 30"/>
          <p:cNvSpPr/>
          <p:nvPr/>
        </p:nvSpPr>
        <p:spPr>
          <a:xfrm>
            <a:off x="7737814" y="273013"/>
            <a:ext cx="202338" cy="219938"/>
          </a:xfrm>
          <a:custGeom>
            <a:avLst/>
            <a:gdLst/>
            <a:ahLst/>
            <a:cxnLst/>
            <a:rect l="l" t="t" r="r" b="b"/>
            <a:pathLst>
              <a:path w="287769" h="312801">
                <a:moveTo>
                  <a:pt x="279552" y="232981"/>
                </a:moveTo>
                <a:lnTo>
                  <a:pt x="276943" y="240536"/>
                </a:lnTo>
                <a:lnTo>
                  <a:pt x="271058" y="253490"/>
                </a:lnTo>
                <a:lnTo>
                  <a:pt x="263768" y="264984"/>
                </a:lnTo>
                <a:lnTo>
                  <a:pt x="255054" y="274822"/>
                </a:lnTo>
                <a:lnTo>
                  <a:pt x="244894" y="282812"/>
                </a:lnTo>
                <a:lnTo>
                  <a:pt x="233266" y="288760"/>
                </a:lnTo>
                <a:lnTo>
                  <a:pt x="220150" y="292470"/>
                </a:lnTo>
                <a:lnTo>
                  <a:pt x="205524" y="293750"/>
                </a:lnTo>
                <a:lnTo>
                  <a:pt x="114617" y="293750"/>
                </a:lnTo>
                <a:lnTo>
                  <a:pt x="107743" y="293243"/>
                </a:lnTo>
                <a:lnTo>
                  <a:pt x="97971" y="287995"/>
                </a:lnTo>
                <a:lnTo>
                  <a:pt x="93848" y="275924"/>
                </a:lnTo>
                <a:lnTo>
                  <a:pt x="93002" y="255638"/>
                </a:lnTo>
                <a:lnTo>
                  <a:pt x="93002" y="157327"/>
                </a:lnTo>
                <a:lnTo>
                  <a:pt x="183972" y="157327"/>
                </a:lnTo>
                <a:lnTo>
                  <a:pt x="196132" y="158270"/>
                </a:lnTo>
                <a:lnTo>
                  <a:pt x="208870" y="162761"/>
                </a:lnTo>
                <a:lnTo>
                  <a:pt x="217590" y="171146"/>
                </a:lnTo>
                <a:lnTo>
                  <a:pt x="222977" y="183640"/>
                </a:lnTo>
                <a:lnTo>
                  <a:pt x="225717" y="200456"/>
                </a:lnTo>
                <a:lnTo>
                  <a:pt x="234302" y="200456"/>
                </a:lnTo>
                <a:lnTo>
                  <a:pt x="234302" y="95199"/>
                </a:lnTo>
                <a:lnTo>
                  <a:pt x="225717" y="95199"/>
                </a:lnTo>
                <a:lnTo>
                  <a:pt x="223839" y="107942"/>
                </a:lnTo>
                <a:lnTo>
                  <a:pt x="219288" y="121649"/>
                </a:lnTo>
                <a:lnTo>
                  <a:pt x="211694" y="131080"/>
                </a:lnTo>
                <a:lnTo>
                  <a:pt x="200206" y="136526"/>
                </a:lnTo>
                <a:lnTo>
                  <a:pt x="183972" y="138277"/>
                </a:lnTo>
                <a:lnTo>
                  <a:pt x="93002" y="138277"/>
                </a:lnTo>
                <a:lnTo>
                  <a:pt x="93002" y="50723"/>
                </a:lnTo>
                <a:lnTo>
                  <a:pt x="93614" y="31635"/>
                </a:lnTo>
                <a:lnTo>
                  <a:pt x="98538" y="21619"/>
                </a:lnTo>
                <a:lnTo>
                  <a:pt x="112445" y="19100"/>
                </a:lnTo>
                <a:lnTo>
                  <a:pt x="195307" y="19104"/>
                </a:lnTo>
                <a:lnTo>
                  <a:pt x="211444" y="20221"/>
                </a:lnTo>
                <a:lnTo>
                  <a:pt x="224871" y="23628"/>
                </a:lnTo>
                <a:lnTo>
                  <a:pt x="235677" y="29742"/>
                </a:lnTo>
                <a:lnTo>
                  <a:pt x="243952" y="38981"/>
                </a:lnTo>
                <a:lnTo>
                  <a:pt x="249784" y="51762"/>
                </a:lnTo>
                <a:lnTo>
                  <a:pt x="253263" y="68503"/>
                </a:lnTo>
                <a:lnTo>
                  <a:pt x="261861" y="68503"/>
                </a:lnTo>
                <a:lnTo>
                  <a:pt x="258025" y="0"/>
                </a:lnTo>
                <a:lnTo>
                  <a:pt x="0" y="0"/>
                </a:lnTo>
                <a:lnTo>
                  <a:pt x="0" y="9016"/>
                </a:lnTo>
                <a:lnTo>
                  <a:pt x="1382" y="9021"/>
                </a:lnTo>
                <a:lnTo>
                  <a:pt x="18909" y="10200"/>
                </a:lnTo>
                <a:lnTo>
                  <a:pt x="31704" y="14197"/>
                </a:lnTo>
                <a:lnTo>
                  <a:pt x="40248" y="22053"/>
                </a:lnTo>
                <a:lnTo>
                  <a:pt x="45022" y="34812"/>
                </a:lnTo>
                <a:lnTo>
                  <a:pt x="46507" y="53517"/>
                </a:lnTo>
                <a:lnTo>
                  <a:pt x="46501" y="260748"/>
                </a:lnTo>
                <a:lnTo>
                  <a:pt x="44822" y="278999"/>
                </a:lnTo>
                <a:lnTo>
                  <a:pt x="39815" y="291394"/>
                </a:lnTo>
                <a:lnTo>
                  <a:pt x="30996" y="298967"/>
                </a:lnTo>
                <a:lnTo>
                  <a:pt x="17886" y="302752"/>
                </a:lnTo>
                <a:lnTo>
                  <a:pt x="0" y="303783"/>
                </a:lnTo>
                <a:lnTo>
                  <a:pt x="0" y="312800"/>
                </a:lnTo>
                <a:lnTo>
                  <a:pt x="264502" y="312800"/>
                </a:lnTo>
                <a:lnTo>
                  <a:pt x="287769" y="236232"/>
                </a:lnTo>
                <a:lnTo>
                  <a:pt x="279552"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object 31"/>
          <p:cNvSpPr/>
          <p:nvPr/>
        </p:nvSpPr>
        <p:spPr>
          <a:xfrm>
            <a:off x="7923469" y="273014"/>
            <a:ext cx="228341" cy="222528"/>
          </a:xfrm>
          <a:custGeom>
            <a:avLst/>
            <a:gdLst/>
            <a:ahLst/>
            <a:cxnLst/>
            <a:rect l="l" t="t" r="r" b="b"/>
            <a:pathLst>
              <a:path w="324751" h="316484">
                <a:moveTo>
                  <a:pt x="91997" y="24011"/>
                </a:moveTo>
                <a:lnTo>
                  <a:pt x="99871" y="13459"/>
                </a:lnTo>
                <a:lnTo>
                  <a:pt x="114130" y="9572"/>
                </a:lnTo>
                <a:lnTo>
                  <a:pt x="127977" y="9016"/>
                </a:lnTo>
                <a:lnTo>
                  <a:pt x="127977" y="0"/>
                </a:lnTo>
                <a:lnTo>
                  <a:pt x="0" y="0"/>
                </a:lnTo>
                <a:lnTo>
                  <a:pt x="0" y="9016"/>
                </a:lnTo>
                <a:lnTo>
                  <a:pt x="2948" y="9122"/>
                </a:lnTo>
                <a:lnTo>
                  <a:pt x="15857" y="12204"/>
                </a:lnTo>
                <a:lnTo>
                  <a:pt x="26953" y="19165"/>
                </a:lnTo>
                <a:lnTo>
                  <a:pt x="35356" y="29476"/>
                </a:lnTo>
                <a:lnTo>
                  <a:pt x="42551" y="42746"/>
                </a:lnTo>
                <a:lnTo>
                  <a:pt x="48256" y="54127"/>
                </a:lnTo>
                <a:lnTo>
                  <a:pt x="53680" y="65620"/>
                </a:lnTo>
                <a:lnTo>
                  <a:pt x="58887" y="77198"/>
                </a:lnTo>
                <a:lnTo>
                  <a:pt x="63944" y="88835"/>
                </a:lnTo>
                <a:lnTo>
                  <a:pt x="68916" y="100505"/>
                </a:lnTo>
                <a:lnTo>
                  <a:pt x="73868" y="112181"/>
                </a:lnTo>
                <a:lnTo>
                  <a:pt x="78866" y="123837"/>
                </a:lnTo>
                <a:lnTo>
                  <a:pt x="161975" y="316483"/>
                </a:lnTo>
                <a:lnTo>
                  <a:pt x="168401" y="316483"/>
                </a:lnTo>
                <a:lnTo>
                  <a:pt x="268338" y="86550"/>
                </a:lnTo>
                <a:lnTo>
                  <a:pt x="270549" y="81247"/>
                </a:lnTo>
                <a:lnTo>
                  <a:pt x="275260" y="69665"/>
                </a:lnTo>
                <a:lnTo>
                  <a:pt x="280885" y="56348"/>
                </a:lnTo>
                <a:lnTo>
                  <a:pt x="287239" y="42690"/>
                </a:lnTo>
                <a:lnTo>
                  <a:pt x="294141" y="30083"/>
                </a:lnTo>
                <a:lnTo>
                  <a:pt x="301406" y="19918"/>
                </a:lnTo>
                <a:lnTo>
                  <a:pt x="308851" y="13588"/>
                </a:lnTo>
                <a:lnTo>
                  <a:pt x="314007" y="10883"/>
                </a:lnTo>
                <a:lnTo>
                  <a:pt x="319557" y="10020"/>
                </a:lnTo>
                <a:lnTo>
                  <a:pt x="324751" y="9016"/>
                </a:lnTo>
                <a:lnTo>
                  <a:pt x="324751" y="0"/>
                </a:lnTo>
                <a:lnTo>
                  <a:pt x="233476" y="0"/>
                </a:lnTo>
                <a:lnTo>
                  <a:pt x="233476" y="9016"/>
                </a:lnTo>
                <a:lnTo>
                  <a:pt x="250754" y="11440"/>
                </a:lnTo>
                <a:lnTo>
                  <a:pt x="262460" y="16957"/>
                </a:lnTo>
                <a:lnTo>
                  <a:pt x="266280" y="25387"/>
                </a:lnTo>
                <a:lnTo>
                  <a:pt x="266156" y="28939"/>
                </a:lnTo>
                <a:lnTo>
                  <a:pt x="264646" y="38693"/>
                </a:lnTo>
                <a:lnTo>
                  <a:pt x="260974" y="51036"/>
                </a:lnTo>
                <a:lnTo>
                  <a:pt x="254584" y="67132"/>
                </a:lnTo>
                <a:lnTo>
                  <a:pt x="179616" y="241617"/>
                </a:lnTo>
                <a:lnTo>
                  <a:pt x="117182" y="92976"/>
                </a:lnTo>
                <a:lnTo>
                  <a:pt x="113376" y="83986"/>
                </a:lnTo>
                <a:lnTo>
                  <a:pt x="106936" y="68608"/>
                </a:lnTo>
                <a:lnTo>
                  <a:pt x="101056" y="54194"/>
                </a:lnTo>
                <a:lnTo>
                  <a:pt x="96237" y="41751"/>
                </a:lnTo>
                <a:lnTo>
                  <a:pt x="92979" y="32283"/>
                </a:lnTo>
                <a:lnTo>
                  <a:pt x="91782" y="26796"/>
                </a:lnTo>
                <a:lnTo>
                  <a:pt x="91997" y="2401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object 32"/>
          <p:cNvSpPr/>
          <p:nvPr/>
        </p:nvSpPr>
        <p:spPr>
          <a:xfrm>
            <a:off x="8153924" y="273013"/>
            <a:ext cx="98146" cy="219938"/>
          </a:xfrm>
          <a:custGeom>
            <a:avLst/>
            <a:gdLst/>
            <a:ahLst/>
            <a:cxnLst/>
            <a:rect l="l" t="t" r="r" b="b"/>
            <a:pathLst>
              <a:path w="139585" h="312801">
                <a:moveTo>
                  <a:pt x="46570" y="259397"/>
                </a:moveTo>
                <a:lnTo>
                  <a:pt x="44869" y="279043"/>
                </a:lnTo>
                <a:lnTo>
                  <a:pt x="39840" y="291415"/>
                </a:lnTo>
                <a:lnTo>
                  <a:pt x="31003" y="298975"/>
                </a:lnTo>
                <a:lnTo>
                  <a:pt x="17881" y="302753"/>
                </a:lnTo>
                <a:lnTo>
                  <a:pt x="0" y="303783"/>
                </a:lnTo>
                <a:lnTo>
                  <a:pt x="0" y="312800"/>
                </a:lnTo>
                <a:lnTo>
                  <a:pt x="139585" y="312800"/>
                </a:lnTo>
                <a:lnTo>
                  <a:pt x="139585" y="303783"/>
                </a:lnTo>
                <a:lnTo>
                  <a:pt x="138180" y="303779"/>
                </a:lnTo>
                <a:lnTo>
                  <a:pt x="120634" y="302594"/>
                </a:lnTo>
                <a:lnTo>
                  <a:pt x="107812" y="298593"/>
                </a:lnTo>
                <a:lnTo>
                  <a:pt x="99240" y="290746"/>
                </a:lnTo>
                <a:lnTo>
                  <a:pt x="94444" y="278024"/>
                </a:lnTo>
                <a:lnTo>
                  <a:pt x="92951" y="259397"/>
                </a:lnTo>
                <a:lnTo>
                  <a:pt x="92959" y="51875"/>
                </a:lnTo>
                <a:lnTo>
                  <a:pt x="94681" y="33676"/>
                </a:lnTo>
                <a:lnTo>
                  <a:pt x="99733" y="21330"/>
                </a:lnTo>
                <a:lnTo>
                  <a:pt x="108586" y="13797"/>
                </a:lnTo>
                <a:lnTo>
                  <a:pt x="121713" y="10038"/>
                </a:lnTo>
                <a:lnTo>
                  <a:pt x="139585" y="9016"/>
                </a:lnTo>
                <a:lnTo>
                  <a:pt x="139585" y="0"/>
                </a:lnTo>
                <a:lnTo>
                  <a:pt x="0" y="0"/>
                </a:lnTo>
                <a:lnTo>
                  <a:pt x="0" y="9016"/>
                </a:lnTo>
                <a:lnTo>
                  <a:pt x="1454" y="9021"/>
                </a:lnTo>
                <a:lnTo>
                  <a:pt x="18959" y="10207"/>
                </a:lnTo>
                <a:lnTo>
                  <a:pt x="31749" y="14209"/>
                </a:lnTo>
                <a:lnTo>
                  <a:pt x="40299" y="22068"/>
                </a:lnTo>
                <a:lnTo>
                  <a:pt x="45081" y="34823"/>
                </a:lnTo>
                <a:lnTo>
                  <a:pt x="46570" y="53517"/>
                </a:lnTo>
                <a:lnTo>
                  <a:pt x="46570" y="25939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bject 33"/>
          <p:cNvSpPr/>
          <p:nvPr/>
        </p:nvSpPr>
        <p:spPr>
          <a:xfrm>
            <a:off x="8265583" y="273013"/>
            <a:ext cx="202319" cy="219938"/>
          </a:xfrm>
          <a:custGeom>
            <a:avLst/>
            <a:gdLst/>
            <a:ahLst/>
            <a:cxnLst/>
            <a:rect l="l" t="t" r="r" b="b"/>
            <a:pathLst>
              <a:path w="287743" h="312801">
                <a:moveTo>
                  <a:pt x="279527" y="232981"/>
                </a:moveTo>
                <a:lnTo>
                  <a:pt x="276917" y="240565"/>
                </a:lnTo>
                <a:lnTo>
                  <a:pt x="271048" y="253513"/>
                </a:lnTo>
                <a:lnTo>
                  <a:pt x="263772" y="265000"/>
                </a:lnTo>
                <a:lnTo>
                  <a:pt x="255065" y="274833"/>
                </a:lnTo>
                <a:lnTo>
                  <a:pt x="244903" y="282819"/>
                </a:lnTo>
                <a:lnTo>
                  <a:pt x="233264" y="288763"/>
                </a:lnTo>
                <a:lnTo>
                  <a:pt x="220124" y="292471"/>
                </a:lnTo>
                <a:lnTo>
                  <a:pt x="205460" y="293750"/>
                </a:lnTo>
                <a:lnTo>
                  <a:pt x="114579" y="293750"/>
                </a:lnTo>
                <a:lnTo>
                  <a:pt x="107757" y="293250"/>
                </a:lnTo>
                <a:lnTo>
                  <a:pt x="97991" y="288011"/>
                </a:lnTo>
                <a:lnTo>
                  <a:pt x="93888" y="275940"/>
                </a:lnTo>
                <a:lnTo>
                  <a:pt x="93052" y="255638"/>
                </a:lnTo>
                <a:lnTo>
                  <a:pt x="93052" y="157327"/>
                </a:lnTo>
                <a:lnTo>
                  <a:pt x="183908" y="157327"/>
                </a:lnTo>
                <a:lnTo>
                  <a:pt x="196122" y="158276"/>
                </a:lnTo>
                <a:lnTo>
                  <a:pt x="208868" y="162773"/>
                </a:lnTo>
                <a:lnTo>
                  <a:pt x="217594" y="171159"/>
                </a:lnTo>
                <a:lnTo>
                  <a:pt x="222980" y="183649"/>
                </a:lnTo>
                <a:lnTo>
                  <a:pt x="225704" y="200456"/>
                </a:lnTo>
                <a:lnTo>
                  <a:pt x="234340" y="200456"/>
                </a:lnTo>
                <a:lnTo>
                  <a:pt x="234340" y="95199"/>
                </a:lnTo>
                <a:lnTo>
                  <a:pt x="225704" y="95199"/>
                </a:lnTo>
                <a:lnTo>
                  <a:pt x="223860" y="107980"/>
                </a:lnTo>
                <a:lnTo>
                  <a:pt x="219304" y="121669"/>
                </a:lnTo>
                <a:lnTo>
                  <a:pt x="211672" y="131089"/>
                </a:lnTo>
                <a:lnTo>
                  <a:pt x="200145" y="136528"/>
                </a:lnTo>
                <a:lnTo>
                  <a:pt x="183908" y="138277"/>
                </a:lnTo>
                <a:lnTo>
                  <a:pt x="93052" y="138277"/>
                </a:lnTo>
                <a:lnTo>
                  <a:pt x="93052" y="50723"/>
                </a:lnTo>
                <a:lnTo>
                  <a:pt x="93667" y="31624"/>
                </a:lnTo>
                <a:lnTo>
                  <a:pt x="98599" y="21617"/>
                </a:lnTo>
                <a:lnTo>
                  <a:pt x="112522" y="19100"/>
                </a:lnTo>
                <a:lnTo>
                  <a:pt x="195377" y="19104"/>
                </a:lnTo>
                <a:lnTo>
                  <a:pt x="211528" y="20228"/>
                </a:lnTo>
                <a:lnTo>
                  <a:pt x="224950" y="23640"/>
                </a:lnTo>
                <a:lnTo>
                  <a:pt x="235741" y="29756"/>
                </a:lnTo>
                <a:lnTo>
                  <a:pt x="244002" y="38995"/>
                </a:lnTo>
                <a:lnTo>
                  <a:pt x="249831" y="51771"/>
                </a:lnTo>
                <a:lnTo>
                  <a:pt x="253326" y="68503"/>
                </a:lnTo>
                <a:lnTo>
                  <a:pt x="261861" y="68503"/>
                </a:lnTo>
                <a:lnTo>
                  <a:pt x="258025" y="0"/>
                </a:lnTo>
                <a:lnTo>
                  <a:pt x="0" y="0"/>
                </a:lnTo>
                <a:lnTo>
                  <a:pt x="0" y="9016"/>
                </a:lnTo>
                <a:lnTo>
                  <a:pt x="1385" y="9021"/>
                </a:lnTo>
                <a:lnTo>
                  <a:pt x="18934" y="10200"/>
                </a:lnTo>
                <a:lnTo>
                  <a:pt x="31731" y="14197"/>
                </a:lnTo>
                <a:lnTo>
                  <a:pt x="40266" y="22053"/>
                </a:lnTo>
                <a:lnTo>
                  <a:pt x="45028" y="34812"/>
                </a:lnTo>
                <a:lnTo>
                  <a:pt x="46507" y="53517"/>
                </a:lnTo>
                <a:lnTo>
                  <a:pt x="46501" y="260748"/>
                </a:lnTo>
                <a:lnTo>
                  <a:pt x="44829" y="278999"/>
                </a:lnTo>
                <a:lnTo>
                  <a:pt x="39833" y="291394"/>
                </a:lnTo>
                <a:lnTo>
                  <a:pt x="31024" y="298967"/>
                </a:lnTo>
                <a:lnTo>
                  <a:pt x="17910" y="302752"/>
                </a:lnTo>
                <a:lnTo>
                  <a:pt x="0" y="303783"/>
                </a:lnTo>
                <a:lnTo>
                  <a:pt x="0" y="312800"/>
                </a:lnTo>
                <a:lnTo>
                  <a:pt x="264439" y="312800"/>
                </a:lnTo>
                <a:lnTo>
                  <a:pt x="287743"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34"/>
          <p:cNvSpPr/>
          <p:nvPr/>
        </p:nvSpPr>
        <p:spPr>
          <a:xfrm>
            <a:off x="8467537" y="273015"/>
            <a:ext cx="221045" cy="219938"/>
          </a:xfrm>
          <a:custGeom>
            <a:avLst/>
            <a:gdLst/>
            <a:ahLst/>
            <a:cxnLst/>
            <a:rect l="l" t="t" r="r" b="b"/>
            <a:pathLst>
              <a:path w="314375" h="312801">
                <a:moveTo>
                  <a:pt x="314375" y="303783"/>
                </a:moveTo>
                <a:lnTo>
                  <a:pt x="300670" y="299079"/>
                </a:lnTo>
                <a:lnTo>
                  <a:pt x="290550" y="293294"/>
                </a:lnTo>
                <a:lnTo>
                  <a:pt x="281779" y="285095"/>
                </a:lnTo>
                <a:lnTo>
                  <a:pt x="276504" y="278803"/>
                </a:lnTo>
                <a:lnTo>
                  <a:pt x="181749" y="161886"/>
                </a:lnTo>
                <a:lnTo>
                  <a:pt x="196480" y="158116"/>
                </a:lnTo>
                <a:lnTo>
                  <a:pt x="210046" y="153248"/>
                </a:lnTo>
                <a:lnTo>
                  <a:pt x="222306" y="147169"/>
                </a:lnTo>
                <a:lnTo>
                  <a:pt x="233118" y="139769"/>
                </a:lnTo>
                <a:lnTo>
                  <a:pt x="242342" y="130933"/>
                </a:lnTo>
                <a:lnTo>
                  <a:pt x="249835" y="120551"/>
                </a:lnTo>
                <a:lnTo>
                  <a:pt x="255456" y="108509"/>
                </a:lnTo>
                <a:lnTo>
                  <a:pt x="259064" y="94696"/>
                </a:lnTo>
                <a:lnTo>
                  <a:pt x="260517" y="78998"/>
                </a:lnTo>
                <a:lnTo>
                  <a:pt x="260540" y="76606"/>
                </a:lnTo>
                <a:lnTo>
                  <a:pt x="259020" y="58622"/>
                </a:lnTo>
                <a:lnTo>
                  <a:pt x="254681" y="43691"/>
                </a:lnTo>
                <a:lnTo>
                  <a:pt x="247856" y="31531"/>
                </a:lnTo>
                <a:lnTo>
                  <a:pt x="238877" y="21857"/>
                </a:lnTo>
                <a:lnTo>
                  <a:pt x="228075" y="14388"/>
                </a:lnTo>
                <a:lnTo>
                  <a:pt x="215784" y="8840"/>
                </a:lnTo>
                <a:lnTo>
                  <a:pt x="202336" y="4930"/>
                </a:lnTo>
                <a:lnTo>
                  <a:pt x="188062" y="2374"/>
                </a:lnTo>
                <a:lnTo>
                  <a:pt x="173296" y="890"/>
                </a:lnTo>
                <a:lnTo>
                  <a:pt x="158369" y="193"/>
                </a:lnTo>
                <a:lnTo>
                  <a:pt x="143614" y="2"/>
                </a:lnTo>
                <a:lnTo>
                  <a:pt x="0" y="0"/>
                </a:lnTo>
                <a:lnTo>
                  <a:pt x="0" y="9016"/>
                </a:lnTo>
                <a:lnTo>
                  <a:pt x="17847" y="10042"/>
                </a:lnTo>
                <a:lnTo>
                  <a:pt x="30948" y="13812"/>
                </a:lnTo>
                <a:lnTo>
                  <a:pt x="39774" y="21372"/>
                </a:lnTo>
                <a:lnTo>
                  <a:pt x="44801" y="33763"/>
                </a:lnTo>
                <a:lnTo>
                  <a:pt x="103533" y="18338"/>
                </a:lnTo>
                <a:lnTo>
                  <a:pt x="121766" y="16832"/>
                </a:lnTo>
                <a:lnTo>
                  <a:pt x="126542" y="16814"/>
                </a:lnTo>
                <a:lnTo>
                  <a:pt x="141816" y="17509"/>
                </a:lnTo>
                <a:lnTo>
                  <a:pt x="156370" y="19742"/>
                </a:lnTo>
                <a:lnTo>
                  <a:pt x="169834" y="23743"/>
                </a:lnTo>
                <a:lnTo>
                  <a:pt x="181839" y="29736"/>
                </a:lnTo>
                <a:lnTo>
                  <a:pt x="192017" y="37950"/>
                </a:lnTo>
                <a:lnTo>
                  <a:pt x="199998" y="48611"/>
                </a:lnTo>
                <a:lnTo>
                  <a:pt x="205414" y="61946"/>
                </a:lnTo>
                <a:lnTo>
                  <a:pt x="207894" y="78182"/>
                </a:lnTo>
                <a:lnTo>
                  <a:pt x="208013" y="83007"/>
                </a:lnTo>
                <a:lnTo>
                  <a:pt x="206455" y="99861"/>
                </a:lnTo>
                <a:lnTo>
                  <a:pt x="202008" y="114037"/>
                </a:lnTo>
                <a:lnTo>
                  <a:pt x="195011" y="125725"/>
                </a:lnTo>
                <a:lnTo>
                  <a:pt x="185804" y="135111"/>
                </a:lnTo>
                <a:lnTo>
                  <a:pt x="174724" y="142386"/>
                </a:lnTo>
                <a:lnTo>
                  <a:pt x="162113" y="147737"/>
                </a:lnTo>
                <a:lnTo>
                  <a:pt x="148307" y="151354"/>
                </a:lnTo>
                <a:lnTo>
                  <a:pt x="133648" y="153423"/>
                </a:lnTo>
                <a:lnTo>
                  <a:pt x="132219" y="173189"/>
                </a:lnTo>
                <a:lnTo>
                  <a:pt x="244652" y="312800"/>
                </a:lnTo>
                <a:lnTo>
                  <a:pt x="314375" y="312800"/>
                </a:lnTo>
                <a:lnTo>
                  <a:pt x="314375" y="303783"/>
                </a:lnTo>
                <a:close/>
              </a:path>
              <a:path w="314375" h="312801">
                <a:moveTo>
                  <a:pt x="139547" y="312800"/>
                </a:moveTo>
                <a:lnTo>
                  <a:pt x="139547" y="303783"/>
                </a:lnTo>
                <a:lnTo>
                  <a:pt x="121667" y="302754"/>
                </a:lnTo>
                <a:lnTo>
                  <a:pt x="108541" y="298978"/>
                </a:lnTo>
                <a:lnTo>
                  <a:pt x="99696" y="291423"/>
                </a:lnTo>
                <a:lnTo>
                  <a:pt x="94659" y="279060"/>
                </a:lnTo>
                <a:lnTo>
                  <a:pt x="92957" y="260855"/>
                </a:lnTo>
                <a:lnTo>
                  <a:pt x="92951" y="173189"/>
                </a:lnTo>
                <a:lnTo>
                  <a:pt x="132219" y="173189"/>
                </a:lnTo>
                <a:lnTo>
                  <a:pt x="133648" y="153423"/>
                </a:lnTo>
                <a:lnTo>
                  <a:pt x="118474" y="154135"/>
                </a:lnTo>
                <a:lnTo>
                  <a:pt x="92951" y="154139"/>
                </a:lnTo>
                <a:lnTo>
                  <a:pt x="92951" y="39408"/>
                </a:lnTo>
                <a:lnTo>
                  <a:pt x="95040" y="24720"/>
                </a:lnTo>
                <a:lnTo>
                  <a:pt x="103533" y="18338"/>
                </a:lnTo>
                <a:lnTo>
                  <a:pt x="44801" y="33763"/>
                </a:lnTo>
                <a:lnTo>
                  <a:pt x="46500" y="52028"/>
                </a:lnTo>
                <a:lnTo>
                  <a:pt x="46507" y="259397"/>
                </a:lnTo>
                <a:lnTo>
                  <a:pt x="45014" y="278046"/>
                </a:lnTo>
                <a:lnTo>
                  <a:pt x="40217" y="290775"/>
                </a:lnTo>
                <a:lnTo>
                  <a:pt x="31643" y="298617"/>
                </a:lnTo>
                <a:lnTo>
                  <a:pt x="18814" y="302607"/>
                </a:lnTo>
                <a:lnTo>
                  <a:pt x="1257" y="303780"/>
                </a:lnTo>
                <a:lnTo>
                  <a:pt x="0" y="303783"/>
                </a:lnTo>
                <a:lnTo>
                  <a:pt x="0" y="312800"/>
                </a:lnTo>
                <a:lnTo>
                  <a:pt x="139547" y="3128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5"/>
          <p:cNvSpPr/>
          <p:nvPr/>
        </p:nvSpPr>
        <p:spPr>
          <a:xfrm>
            <a:off x="473271" y="314717"/>
            <a:ext cx="137392" cy="172914"/>
          </a:xfrm>
          <a:custGeom>
            <a:avLst/>
            <a:gdLst/>
            <a:ahLst/>
            <a:cxnLst/>
            <a:rect l="l" t="t" r="r" b="b"/>
            <a:pathLst>
              <a:path w="195402" h="245922">
                <a:moveTo>
                  <a:pt x="35286" y="117306"/>
                </a:moveTo>
                <a:lnTo>
                  <a:pt x="36531" y="103026"/>
                </a:lnTo>
                <a:lnTo>
                  <a:pt x="39488" y="89346"/>
                </a:lnTo>
                <a:lnTo>
                  <a:pt x="44162" y="76478"/>
                </a:lnTo>
                <a:lnTo>
                  <a:pt x="50557" y="64635"/>
                </a:lnTo>
                <a:lnTo>
                  <a:pt x="58677" y="54030"/>
                </a:lnTo>
                <a:lnTo>
                  <a:pt x="68527" y="44876"/>
                </a:lnTo>
                <a:lnTo>
                  <a:pt x="80111" y="37385"/>
                </a:lnTo>
                <a:lnTo>
                  <a:pt x="93434" y="31772"/>
                </a:lnTo>
                <a:lnTo>
                  <a:pt x="108499" y="28247"/>
                </a:lnTo>
                <a:lnTo>
                  <a:pt x="125310" y="27025"/>
                </a:lnTo>
                <a:lnTo>
                  <a:pt x="131111" y="27142"/>
                </a:lnTo>
                <a:lnTo>
                  <a:pt x="143066" y="28077"/>
                </a:lnTo>
                <a:lnTo>
                  <a:pt x="155696" y="30052"/>
                </a:lnTo>
                <a:lnTo>
                  <a:pt x="168583" y="33191"/>
                </a:lnTo>
                <a:lnTo>
                  <a:pt x="181306" y="37623"/>
                </a:lnTo>
                <a:lnTo>
                  <a:pt x="193446" y="43472"/>
                </a:lnTo>
                <a:lnTo>
                  <a:pt x="195402" y="13715"/>
                </a:lnTo>
                <a:lnTo>
                  <a:pt x="184701" y="9126"/>
                </a:lnTo>
                <a:lnTo>
                  <a:pt x="173914" y="5608"/>
                </a:lnTo>
                <a:lnTo>
                  <a:pt x="161366" y="2704"/>
                </a:lnTo>
                <a:lnTo>
                  <a:pt x="147006" y="728"/>
                </a:lnTo>
                <a:lnTo>
                  <a:pt x="130784" y="0"/>
                </a:lnTo>
                <a:lnTo>
                  <a:pt x="126835" y="40"/>
                </a:lnTo>
                <a:lnTo>
                  <a:pt x="109616" y="1232"/>
                </a:lnTo>
                <a:lnTo>
                  <a:pt x="93617" y="4001"/>
                </a:lnTo>
                <a:lnTo>
                  <a:pt x="78846" y="8249"/>
                </a:lnTo>
                <a:lnTo>
                  <a:pt x="65312" y="13877"/>
                </a:lnTo>
                <a:lnTo>
                  <a:pt x="53024" y="20789"/>
                </a:lnTo>
                <a:lnTo>
                  <a:pt x="41992" y="28885"/>
                </a:lnTo>
                <a:lnTo>
                  <a:pt x="32223" y="38067"/>
                </a:lnTo>
                <a:lnTo>
                  <a:pt x="23728" y="48238"/>
                </a:lnTo>
                <a:lnTo>
                  <a:pt x="16515" y="59300"/>
                </a:lnTo>
                <a:lnTo>
                  <a:pt x="10594" y="71155"/>
                </a:lnTo>
                <a:lnTo>
                  <a:pt x="5972" y="83703"/>
                </a:lnTo>
                <a:lnTo>
                  <a:pt x="2660" y="96848"/>
                </a:lnTo>
                <a:lnTo>
                  <a:pt x="666" y="110492"/>
                </a:lnTo>
                <a:lnTo>
                  <a:pt x="0" y="124536"/>
                </a:lnTo>
                <a:lnTo>
                  <a:pt x="630" y="138065"/>
                </a:lnTo>
                <a:lnTo>
                  <a:pt x="3013" y="153464"/>
                </a:lnTo>
                <a:lnTo>
                  <a:pt x="7057" y="167764"/>
                </a:lnTo>
                <a:lnTo>
                  <a:pt x="12644" y="180943"/>
                </a:lnTo>
                <a:lnTo>
                  <a:pt x="19651" y="192976"/>
                </a:lnTo>
                <a:lnTo>
                  <a:pt x="27960" y="203841"/>
                </a:lnTo>
                <a:lnTo>
                  <a:pt x="37450" y="213514"/>
                </a:lnTo>
                <a:lnTo>
                  <a:pt x="48001" y="221973"/>
                </a:lnTo>
                <a:lnTo>
                  <a:pt x="59494" y="229194"/>
                </a:lnTo>
                <a:lnTo>
                  <a:pt x="71808" y="235155"/>
                </a:lnTo>
                <a:lnTo>
                  <a:pt x="84822" y="239831"/>
                </a:lnTo>
                <a:lnTo>
                  <a:pt x="98418" y="243199"/>
                </a:lnTo>
                <a:lnTo>
                  <a:pt x="112475" y="245238"/>
                </a:lnTo>
                <a:lnTo>
                  <a:pt x="126872" y="245922"/>
                </a:lnTo>
                <a:lnTo>
                  <a:pt x="132177" y="245840"/>
                </a:lnTo>
                <a:lnTo>
                  <a:pt x="144006" y="245133"/>
                </a:lnTo>
                <a:lnTo>
                  <a:pt x="156948" y="243572"/>
                </a:lnTo>
                <a:lnTo>
                  <a:pt x="170298" y="241002"/>
                </a:lnTo>
                <a:lnTo>
                  <a:pt x="183352" y="237269"/>
                </a:lnTo>
                <a:lnTo>
                  <a:pt x="195402" y="232219"/>
                </a:lnTo>
                <a:lnTo>
                  <a:pt x="193446" y="202056"/>
                </a:lnTo>
                <a:lnTo>
                  <a:pt x="188941" y="204345"/>
                </a:lnTo>
                <a:lnTo>
                  <a:pt x="175560" y="209939"/>
                </a:lnTo>
                <a:lnTo>
                  <a:pt x="162324" y="213968"/>
                </a:lnTo>
                <a:lnTo>
                  <a:pt x="149651" y="216618"/>
                </a:lnTo>
                <a:lnTo>
                  <a:pt x="137958" y="218072"/>
                </a:lnTo>
                <a:lnTo>
                  <a:pt x="127660" y="218516"/>
                </a:lnTo>
                <a:lnTo>
                  <a:pt x="118573" y="218118"/>
                </a:lnTo>
                <a:lnTo>
                  <a:pt x="104205" y="215746"/>
                </a:lnTo>
                <a:lnTo>
                  <a:pt x="90889" y="211362"/>
                </a:lnTo>
                <a:lnTo>
                  <a:pt x="78733" y="205105"/>
                </a:lnTo>
                <a:lnTo>
                  <a:pt x="67845" y="197115"/>
                </a:lnTo>
                <a:lnTo>
                  <a:pt x="58335" y="187532"/>
                </a:lnTo>
                <a:lnTo>
                  <a:pt x="50311" y="176496"/>
                </a:lnTo>
                <a:lnTo>
                  <a:pt x="43881" y="164147"/>
                </a:lnTo>
                <a:lnTo>
                  <a:pt x="39154" y="150626"/>
                </a:lnTo>
                <a:lnTo>
                  <a:pt x="36238" y="136071"/>
                </a:lnTo>
                <a:lnTo>
                  <a:pt x="35242" y="120624"/>
                </a:lnTo>
                <a:lnTo>
                  <a:pt x="35286" y="11730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object 26"/>
          <p:cNvSpPr/>
          <p:nvPr/>
        </p:nvSpPr>
        <p:spPr>
          <a:xfrm>
            <a:off x="629089"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1"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5" y="-88506"/>
                </a:lnTo>
                <a:lnTo>
                  <a:pt x="136270"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601" y="-65859"/>
                </a:lnTo>
                <a:lnTo>
                  <a:pt x="85750" y="-67360"/>
                </a:lnTo>
                <a:lnTo>
                  <a:pt x="93254" y="-66844"/>
                </a:lnTo>
                <a:lnTo>
                  <a:pt x="105137" y="-63160"/>
                </a:lnTo>
                <a:lnTo>
                  <a:pt x="114522" y="-55803"/>
                </a:lnTo>
                <a:lnTo>
                  <a:pt x="121328" y="-44622"/>
                </a:lnTo>
                <a:lnTo>
                  <a:pt x="125473" y="-29466"/>
                </a:lnTo>
                <a:lnTo>
                  <a:pt x="126872" y="-10185"/>
                </a:lnTo>
                <a:lnTo>
                  <a:pt x="126872"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3"/>
          <p:cNvSpPr/>
          <p:nvPr/>
        </p:nvSpPr>
        <p:spPr>
          <a:xfrm>
            <a:off x="775818" y="356571"/>
            <a:ext cx="75992" cy="127756"/>
          </a:xfrm>
          <a:custGeom>
            <a:avLst/>
            <a:gdLst/>
            <a:ahLst/>
            <a:cxnLst/>
            <a:rect l="l" t="t" r="r" b="b"/>
            <a:pathLst>
              <a:path w="108077" h="181698">
                <a:moveTo>
                  <a:pt x="83400" y="39560"/>
                </a:moveTo>
                <a:lnTo>
                  <a:pt x="108077" y="32499"/>
                </a:lnTo>
                <a:lnTo>
                  <a:pt x="107683" y="28587"/>
                </a:lnTo>
                <a:lnTo>
                  <a:pt x="107289" y="25844"/>
                </a:lnTo>
                <a:lnTo>
                  <a:pt x="106000" y="20626"/>
                </a:lnTo>
                <a:lnTo>
                  <a:pt x="99644" y="9293"/>
                </a:lnTo>
                <a:lnTo>
                  <a:pt x="88841" y="2355"/>
                </a:lnTo>
                <a:lnTo>
                  <a:pt x="73228" y="0"/>
                </a:lnTo>
                <a:lnTo>
                  <a:pt x="72122" y="19"/>
                </a:lnTo>
                <a:lnTo>
                  <a:pt x="58986" y="3260"/>
                </a:lnTo>
                <a:lnTo>
                  <a:pt x="47814" y="10886"/>
                </a:lnTo>
                <a:lnTo>
                  <a:pt x="38989" y="21199"/>
                </a:lnTo>
                <a:lnTo>
                  <a:pt x="32893" y="32499"/>
                </a:lnTo>
                <a:lnTo>
                  <a:pt x="27800" y="4305"/>
                </a:lnTo>
                <a:lnTo>
                  <a:pt x="0" y="4305"/>
                </a:lnTo>
                <a:lnTo>
                  <a:pt x="1562" y="18414"/>
                </a:lnTo>
                <a:lnTo>
                  <a:pt x="2339" y="26086"/>
                </a:lnTo>
                <a:lnTo>
                  <a:pt x="2957" y="38564"/>
                </a:lnTo>
                <a:lnTo>
                  <a:pt x="3136" y="52870"/>
                </a:lnTo>
                <a:lnTo>
                  <a:pt x="3136" y="181698"/>
                </a:lnTo>
                <a:lnTo>
                  <a:pt x="33286" y="181698"/>
                </a:lnTo>
                <a:lnTo>
                  <a:pt x="33286" y="68922"/>
                </a:lnTo>
                <a:lnTo>
                  <a:pt x="35886" y="62885"/>
                </a:lnTo>
                <a:lnTo>
                  <a:pt x="42221" y="50341"/>
                </a:lnTo>
                <a:lnTo>
                  <a:pt x="50365" y="38075"/>
                </a:lnTo>
                <a:lnTo>
                  <a:pt x="60017" y="28756"/>
                </a:lnTo>
                <a:lnTo>
                  <a:pt x="70878" y="25057"/>
                </a:lnTo>
                <a:lnTo>
                  <a:pt x="82232" y="25057"/>
                </a:lnTo>
                <a:lnTo>
                  <a:pt x="83400" y="36804"/>
                </a:lnTo>
                <a:lnTo>
                  <a:pt x="83400" y="3956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4"/>
          <p:cNvSpPr/>
          <p:nvPr/>
        </p:nvSpPr>
        <p:spPr>
          <a:xfrm>
            <a:off x="861154" y="356297"/>
            <a:ext cx="105728" cy="131337"/>
          </a:xfrm>
          <a:custGeom>
            <a:avLst/>
            <a:gdLst/>
            <a:ahLst/>
            <a:cxnLst/>
            <a:rect l="l" t="t" r="r" b="b"/>
            <a:pathLst>
              <a:path w="150368" h="186791">
                <a:moveTo>
                  <a:pt x="35010" y="62876"/>
                </a:moveTo>
                <a:lnTo>
                  <a:pt x="41098" y="46175"/>
                </a:lnTo>
                <a:lnTo>
                  <a:pt x="48702" y="35750"/>
                </a:lnTo>
                <a:lnTo>
                  <a:pt x="53657" y="30937"/>
                </a:lnTo>
                <a:lnTo>
                  <a:pt x="55600" y="28968"/>
                </a:lnTo>
                <a:lnTo>
                  <a:pt x="68922" y="25450"/>
                </a:lnTo>
                <a:lnTo>
                  <a:pt x="77139" y="25450"/>
                </a:lnTo>
                <a:lnTo>
                  <a:pt x="90999" y="26113"/>
                </a:lnTo>
                <a:lnTo>
                  <a:pt x="104434" y="29335"/>
                </a:lnTo>
                <a:lnTo>
                  <a:pt x="114238" y="36308"/>
                </a:lnTo>
                <a:lnTo>
                  <a:pt x="120413" y="48200"/>
                </a:lnTo>
                <a:lnTo>
                  <a:pt x="122961" y="66179"/>
                </a:lnTo>
                <a:lnTo>
                  <a:pt x="34455" y="66179"/>
                </a:lnTo>
                <a:lnTo>
                  <a:pt x="31330" y="89674"/>
                </a:lnTo>
                <a:lnTo>
                  <a:pt x="150367" y="89674"/>
                </a:lnTo>
                <a:lnTo>
                  <a:pt x="150367" y="89275"/>
                </a:lnTo>
                <a:lnTo>
                  <a:pt x="149692" y="70094"/>
                </a:lnTo>
                <a:lnTo>
                  <a:pt x="147602" y="53325"/>
                </a:lnTo>
                <a:lnTo>
                  <a:pt x="143927" y="38928"/>
                </a:lnTo>
                <a:lnTo>
                  <a:pt x="138497" y="26860"/>
                </a:lnTo>
                <a:lnTo>
                  <a:pt x="131144" y="17079"/>
                </a:lnTo>
                <a:lnTo>
                  <a:pt x="121697" y="9544"/>
                </a:lnTo>
                <a:lnTo>
                  <a:pt x="109986" y="4214"/>
                </a:lnTo>
                <a:lnTo>
                  <a:pt x="95842" y="1046"/>
                </a:lnTo>
                <a:lnTo>
                  <a:pt x="79095" y="0"/>
                </a:lnTo>
                <a:lnTo>
                  <a:pt x="69735" y="474"/>
                </a:lnTo>
                <a:lnTo>
                  <a:pt x="56568" y="2924"/>
                </a:lnTo>
                <a:lnTo>
                  <a:pt x="44434" y="7432"/>
                </a:lnTo>
                <a:lnTo>
                  <a:pt x="35010" y="62876"/>
                </a:lnTo>
                <a:close/>
              </a:path>
              <a:path w="150368" h="186791">
                <a:moveTo>
                  <a:pt x="0" y="93980"/>
                </a:moveTo>
                <a:lnTo>
                  <a:pt x="461" y="105315"/>
                </a:lnTo>
                <a:lnTo>
                  <a:pt x="2938" y="121659"/>
                </a:lnTo>
                <a:lnTo>
                  <a:pt x="7407" y="136345"/>
                </a:lnTo>
                <a:lnTo>
                  <a:pt x="13692" y="149304"/>
                </a:lnTo>
                <a:lnTo>
                  <a:pt x="21622" y="160463"/>
                </a:lnTo>
                <a:lnTo>
                  <a:pt x="31023" y="169752"/>
                </a:lnTo>
                <a:lnTo>
                  <a:pt x="41723" y="177100"/>
                </a:lnTo>
                <a:lnTo>
                  <a:pt x="53548" y="182437"/>
                </a:lnTo>
                <a:lnTo>
                  <a:pt x="66325" y="185691"/>
                </a:lnTo>
                <a:lnTo>
                  <a:pt x="79882" y="186791"/>
                </a:lnTo>
                <a:lnTo>
                  <a:pt x="88087" y="186632"/>
                </a:lnTo>
                <a:lnTo>
                  <a:pt x="103693" y="185288"/>
                </a:lnTo>
                <a:lnTo>
                  <a:pt x="116964" y="182744"/>
                </a:lnTo>
                <a:lnTo>
                  <a:pt x="128347" y="179203"/>
                </a:lnTo>
                <a:lnTo>
                  <a:pt x="138287" y="174867"/>
                </a:lnTo>
                <a:lnTo>
                  <a:pt x="147231" y="169938"/>
                </a:lnTo>
                <a:lnTo>
                  <a:pt x="144894" y="142544"/>
                </a:lnTo>
                <a:lnTo>
                  <a:pt x="139995" y="146247"/>
                </a:lnTo>
                <a:lnTo>
                  <a:pt x="129511" y="151889"/>
                </a:lnTo>
                <a:lnTo>
                  <a:pt x="116861" y="156570"/>
                </a:lnTo>
                <a:lnTo>
                  <a:pt x="103100" y="159765"/>
                </a:lnTo>
                <a:lnTo>
                  <a:pt x="89280" y="160947"/>
                </a:lnTo>
                <a:lnTo>
                  <a:pt x="75824" y="159821"/>
                </a:lnTo>
                <a:lnTo>
                  <a:pt x="62559" y="155850"/>
                </a:lnTo>
                <a:lnTo>
                  <a:pt x="51528" y="149086"/>
                </a:lnTo>
                <a:lnTo>
                  <a:pt x="42811" y="139602"/>
                </a:lnTo>
                <a:lnTo>
                  <a:pt x="36486" y="127470"/>
                </a:lnTo>
                <a:lnTo>
                  <a:pt x="32632" y="112763"/>
                </a:lnTo>
                <a:lnTo>
                  <a:pt x="31330" y="95554"/>
                </a:lnTo>
                <a:lnTo>
                  <a:pt x="31330" y="89674"/>
                </a:lnTo>
                <a:lnTo>
                  <a:pt x="34455" y="66179"/>
                </a:lnTo>
                <a:lnTo>
                  <a:pt x="35010" y="62876"/>
                </a:lnTo>
                <a:lnTo>
                  <a:pt x="44434" y="7432"/>
                </a:lnTo>
                <a:lnTo>
                  <a:pt x="33472" y="13966"/>
                </a:lnTo>
                <a:lnTo>
                  <a:pt x="23818" y="22495"/>
                </a:lnTo>
                <a:lnTo>
                  <a:pt x="15610" y="32988"/>
                </a:lnTo>
                <a:lnTo>
                  <a:pt x="8987" y="45415"/>
                </a:lnTo>
                <a:lnTo>
                  <a:pt x="4086" y="59743"/>
                </a:lnTo>
                <a:lnTo>
                  <a:pt x="1044" y="75941"/>
                </a:lnTo>
                <a:lnTo>
                  <a:pt x="0" y="9398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22"/>
          <p:cNvSpPr/>
          <p:nvPr/>
        </p:nvSpPr>
        <p:spPr>
          <a:xfrm>
            <a:off x="1050010" y="318031"/>
            <a:ext cx="110406" cy="166298"/>
          </a:xfrm>
          <a:custGeom>
            <a:avLst/>
            <a:gdLst/>
            <a:ahLst/>
            <a:cxnLst/>
            <a:rect l="l" t="t" r="r" b="b"/>
            <a:pathLst>
              <a:path w="157022" h="236512">
                <a:moveTo>
                  <a:pt x="71455" y="126006"/>
                </a:moveTo>
                <a:lnTo>
                  <a:pt x="55994" y="126873"/>
                </a:lnTo>
                <a:lnTo>
                  <a:pt x="45034" y="126873"/>
                </a:lnTo>
                <a:lnTo>
                  <a:pt x="30937" y="125298"/>
                </a:lnTo>
                <a:lnTo>
                  <a:pt x="30937" y="25057"/>
                </a:lnTo>
                <a:lnTo>
                  <a:pt x="0" y="0"/>
                </a:lnTo>
                <a:lnTo>
                  <a:pt x="0" y="236512"/>
                </a:lnTo>
                <a:lnTo>
                  <a:pt x="30937" y="236512"/>
                </a:lnTo>
                <a:lnTo>
                  <a:pt x="30937" y="150749"/>
                </a:lnTo>
                <a:lnTo>
                  <a:pt x="43178" y="151895"/>
                </a:lnTo>
                <a:lnTo>
                  <a:pt x="56058" y="152535"/>
                </a:lnTo>
                <a:lnTo>
                  <a:pt x="71455" y="126006"/>
                </a:lnTo>
                <a:close/>
              </a:path>
              <a:path w="157022" h="236512">
                <a:moveTo>
                  <a:pt x="30937" y="25057"/>
                </a:moveTo>
                <a:lnTo>
                  <a:pt x="66179" y="25057"/>
                </a:lnTo>
                <a:lnTo>
                  <a:pt x="81534" y="26150"/>
                </a:lnTo>
                <a:lnTo>
                  <a:pt x="96054" y="30091"/>
                </a:lnTo>
                <a:lnTo>
                  <a:pt x="107326" y="36913"/>
                </a:lnTo>
                <a:lnTo>
                  <a:pt x="115364" y="46630"/>
                </a:lnTo>
                <a:lnTo>
                  <a:pt x="120178" y="59251"/>
                </a:lnTo>
                <a:lnTo>
                  <a:pt x="121780" y="74790"/>
                </a:lnTo>
                <a:lnTo>
                  <a:pt x="121018" y="85191"/>
                </a:lnTo>
                <a:lnTo>
                  <a:pt x="116679" y="99384"/>
                </a:lnTo>
                <a:lnTo>
                  <a:pt x="108991" y="110212"/>
                </a:lnTo>
                <a:lnTo>
                  <a:pt x="98516" y="118025"/>
                </a:lnTo>
                <a:lnTo>
                  <a:pt x="85817" y="123173"/>
                </a:lnTo>
                <a:lnTo>
                  <a:pt x="71455" y="126006"/>
                </a:lnTo>
                <a:lnTo>
                  <a:pt x="56058" y="152535"/>
                </a:lnTo>
                <a:lnTo>
                  <a:pt x="67741" y="152704"/>
                </a:lnTo>
                <a:lnTo>
                  <a:pt x="72445" y="152586"/>
                </a:lnTo>
                <a:lnTo>
                  <a:pt x="86585" y="150820"/>
                </a:lnTo>
                <a:lnTo>
                  <a:pt x="100330" y="147037"/>
                </a:lnTo>
                <a:lnTo>
                  <a:pt x="113340" y="141366"/>
                </a:lnTo>
                <a:lnTo>
                  <a:pt x="125277" y="133933"/>
                </a:lnTo>
                <a:lnTo>
                  <a:pt x="135803" y="124865"/>
                </a:lnTo>
                <a:lnTo>
                  <a:pt x="144579" y="114289"/>
                </a:lnTo>
                <a:lnTo>
                  <a:pt x="151266" y="102333"/>
                </a:lnTo>
                <a:lnTo>
                  <a:pt x="155527" y="89125"/>
                </a:lnTo>
                <a:lnTo>
                  <a:pt x="157022" y="74790"/>
                </a:lnTo>
                <a:lnTo>
                  <a:pt x="156430" y="64454"/>
                </a:lnTo>
                <a:lnTo>
                  <a:pt x="153253" y="49732"/>
                </a:lnTo>
                <a:lnTo>
                  <a:pt x="147577" y="36821"/>
                </a:lnTo>
                <a:lnTo>
                  <a:pt x="139683" y="25766"/>
                </a:lnTo>
                <a:lnTo>
                  <a:pt x="129850" y="16616"/>
                </a:lnTo>
                <a:lnTo>
                  <a:pt x="118359" y="9417"/>
                </a:lnTo>
                <a:lnTo>
                  <a:pt x="105492" y="4217"/>
                </a:lnTo>
                <a:lnTo>
                  <a:pt x="91527" y="1062"/>
                </a:lnTo>
                <a:lnTo>
                  <a:pt x="76746" y="0"/>
                </a:lnTo>
                <a:lnTo>
                  <a:pt x="0" y="0"/>
                </a:lnTo>
                <a:lnTo>
                  <a:pt x="30937" y="2505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21"/>
          <p:cNvSpPr/>
          <p:nvPr/>
        </p:nvSpPr>
        <p:spPr>
          <a:xfrm>
            <a:off x="1196328" y="304538"/>
            <a:ext cx="0" cy="179790"/>
          </a:xfrm>
          <a:custGeom>
            <a:avLst/>
            <a:gdLst/>
            <a:ahLst/>
            <a:cxnLst/>
            <a:rect l="l" t="t" r="r" b="b"/>
            <a:pathLst>
              <a:path h="255701">
                <a:moveTo>
                  <a:pt x="0" y="0"/>
                </a:moveTo>
                <a:lnTo>
                  <a:pt x="0" y="255701"/>
                </a:lnTo>
              </a:path>
            </a:pathLst>
          </a:custGeom>
          <a:ln w="31419">
            <a:solidFill>
              <a:srgbClr val="F5821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20"/>
          <p:cNvSpPr/>
          <p:nvPr/>
        </p:nvSpPr>
        <p:spPr>
          <a:xfrm>
            <a:off x="1235550"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2"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6" y="-88506"/>
                </a:lnTo>
                <a:lnTo>
                  <a:pt x="136271"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595" y="-65859"/>
                </a:lnTo>
                <a:lnTo>
                  <a:pt x="85750" y="-67360"/>
                </a:lnTo>
                <a:lnTo>
                  <a:pt x="93254" y="-66844"/>
                </a:lnTo>
                <a:lnTo>
                  <a:pt x="105137" y="-63160"/>
                </a:lnTo>
                <a:lnTo>
                  <a:pt x="114522" y="-55803"/>
                </a:lnTo>
                <a:lnTo>
                  <a:pt x="121328" y="-44622"/>
                </a:lnTo>
                <a:lnTo>
                  <a:pt x="125473" y="-29466"/>
                </a:lnTo>
                <a:lnTo>
                  <a:pt x="126873" y="-10185"/>
                </a:lnTo>
                <a:lnTo>
                  <a:pt x="126873"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19"/>
          <p:cNvSpPr/>
          <p:nvPr/>
        </p:nvSpPr>
        <p:spPr>
          <a:xfrm>
            <a:off x="1382277" y="356293"/>
            <a:ext cx="103790" cy="128033"/>
          </a:xfrm>
          <a:custGeom>
            <a:avLst/>
            <a:gdLst/>
            <a:ahLst/>
            <a:cxnLst/>
            <a:rect l="l" t="t" r="r" b="b"/>
            <a:pathLst>
              <a:path w="147613" h="182092">
                <a:moveTo>
                  <a:pt x="62649" y="31724"/>
                </a:moveTo>
                <a:lnTo>
                  <a:pt x="65392" y="30162"/>
                </a:lnTo>
                <a:lnTo>
                  <a:pt x="77927" y="27025"/>
                </a:lnTo>
                <a:lnTo>
                  <a:pt x="87325" y="27025"/>
                </a:lnTo>
                <a:lnTo>
                  <a:pt x="103229" y="29547"/>
                </a:lnTo>
                <a:lnTo>
                  <a:pt x="112206" y="37199"/>
                </a:lnTo>
                <a:lnTo>
                  <a:pt x="116226" y="49942"/>
                </a:lnTo>
                <a:lnTo>
                  <a:pt x="117475" y="67741"/>
                </a:lnTo>
                <a:lnTo>
                  <a:pt x="117747" y="78307"/>
                </a:lnTo>
                <a:lnTo>
                  <a:pt x="117877" y="106135"/>
                </a:lnTo>
                <a:lnTo>
                  <a:pt x="118031" y="121023"/>
                </a:lnTo>
                <a:lnTo>
                  <a:pt x="118013" y="141871"/>
                </a:lnTo>
                <a:lnTo>
                  <a:pt x="117776" y="152000"/>
                </a:lnTo>
                <a:lnTo>
                  <a:pt x="117345" y="164712"/>
                </a:lnTo>
                <a:lnTo>
                  <a:pt x="116687" y="182092"/>
                </a:lnTo>
                <a:lnTo>
                  <a:pt x="146837" y="182092"/>
                </a:lnTo>
                <a:lnTo>
                  <a:pt x="146944" y="174487"/>
                </a:lnTo>
                <a:lnTo>
                  <a:pt x="147097" y="162795"/>
                </a:lnTo>
                <a:lnTo>
                  <a:pt x="147276" y="147767"/>
                </a:lnTo>
                <a:lnTo>
                  <a:pt x="147447" y="131083"/>
                </a:lnTo>
                <a:lnTo>
                  <a:pt x="147574" y="114423"/>
                </a:lnTo>
                <a:lnTo>
                  <a:pt x="147613" y="71983"/>
                </a:lnTo>
                <a:lnTo>
                  <a:pt x="147275" y="59290"/>
                </a:lnTo>
                <a:lnTo>
                  <a:pt x="146456" y="46596"/>
                </a:lnTo>
                <a:lnTo>
                  <a:pt x="144273" y="33519"/>
                </a:lnTo>
                <a:lnTo>
                  <a:pt x="138664" y="20109"/>
                </a:lnTo>
                <a:lnTo>
                  <a:pt x="130182" y="10555"/>
                </a:lnTo>
                <a:lnTo>
                  <a:pt x="119084" y="4355"/>
                </a:lnTo>
                <a:lnTo>
                  <a:pt x="105627" y="1005"/>
                </a:lnTo>
                <a:lnTo>
                  <a:pt x="90068" y="0"/>
                </a:lnTo>
                <a:lnTo>
                  <a:pt x="87824" y="32"/>
                </a:lnTo>
                <a:lnTo>
                  <a:pt x="73699" y="1882"/>
                </a:lnTo>
                <a:lnTo>
                  <a:pt x="61466" y="6295"/>
                </a:lnTo>
                <a:lnTo>
                  <a:pt x="50763" y="12874"/>
                </a:lnTo>
                <a:lnTo>
                  <a:pt x="41228" y="21220"/>
                </a:lnTo>
                <a:lnTo>
                  <a:pt x="32499" y="30937"/>
                </a:lnTo>
                <a:lnTo>
                  <a:pt x="27800" y="4698"/>
                </a:lnTo>
                <a:lnTo>
                  <a:pt x="0" y="4698"/>
                </a:lnTo>
                <a:lnTo>
                  <a:pt x="1562" y="18808"/>
                </a:lnTo>
                <a:lnTo>
                  <a:pt x="2377" y="27075"/>
                </a:lnTo>
                <a:lnTo>
                  <a:pt x="2965" y="39633"/>
                </a:lnTo>
                <a:lnTo>
                  <a:pt x="3136" y="54038"/>
                </a:lnTo>
                <a:lnTo>
                  <a:pt x="3136" y="182092"/>
                </a:lnTo>
                <a:lnTo>
                  <a:pt x="33286" y="182092"/>
                </a:lnTo>
                <a:lnTo>
                  <a:pt x="33286" y="63055"/>
                </a:lnTo>
                <a:lnTo>
                  <a:pt x="36379" y="58995"/>
                </a:lnTo>
                <a:lnTo>
                  <a:pt x="46352" y="47354"/>
                </a:lnTo>
                <a:lnTo>
                  <a:pt x="56262" y="37087"/>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8"/>
          <p:cNvSpPr/>
          <p:nvPr/>
        </p:nvSpPr>
        <p:spPr>
          <a:xfrm>
            <a:off x="1521577" y="356293"/>
            <a:ext cx="103787" cy="128033"/>
          </a:xfrm>
          <a:custGeom>
            <a:avLst/>
            <a:gdLst/>
            <a:ahLst/>
            <a:cxnLst/>
            <a:rect l="l" t="t" r="r" b="b"/>
            <a:pathLst>
              <a:path w="147608" h="182092">
                <a:moveTo>
                  <a:pt x="62649" y="31724"/>
                </a:moveTo>
                <a:lnTo>
                  <a:pt x="65392" y="30162"/>
                </a:lnTo>
                <a:lnTo>
                  <a:pt x="77927" y="27025"/>
                </a:lnTo>
                <a:lnTo>
                  <a:pt x="87312" y="27025"/>
                </a:lnTo>
                <a:lnTo>
                  <a:pt x="103218" y="29547"/>
                </a:lnTo>
                <a:lnTo>
                  <a:pt x="112198" y="37199"/>
                </a:lnTo>
                <a:lnTo>
                  <a:pt x="116218" y="49942"/>
                </a:lnTo>
                <a:lnTo>
                  <a:pt x="117462" y="67741"/>
                </a:lnTo>
                <a:lnTo>
                  <a:pt x="117734" y="78307"/>
                </a:lnTo>
                <a:lnTo>
                  <a:pt x="117864" y="106135"/>
                </a:lnTo>
                <a:lnTo>
                  <a:pt x="118018" y="121023"/>
                </a:lnTo>
                <a:lnTo>
                  <a:pt x="118001" y="141871"/>
                </a:lnTo>
                <a:lnTo>
                  <a:pt x="117767" y="152000"/>
                </a:lnTo>
                <a:lnTo>
                  <a:pt x="117339" y="164712"/>
                </a:lnTo>
                <a:lnTo>
                  <a:pt x="116687" y="182092"/>
                </a:lnTo>
                <a:lnTo>
                  <a:pt x="146837" y="182092"/>
                </a:lnTo>
                <a:lnTo>
                  <a:pt x="146944" y="174487"/>
                </a:lnTo>
                <a:lnTo>
                  <a:pt x="147097" y="162795"/>
                </a:lnTo>
                <a:lnTo>
                  <a:pt x="147276" y="147767"/>
                </a:lnTo>
                <a:lnTo>
                  <a:pt x="147447" y="131083"/>
                </a:lnTo>
                <a:lnTo>
                  <a:pt x="147574" y="114423"/>
                </a:lnTo>
                <a:lnTo>
                  <a:pt x="147608" y="71984"/>
                </a:lnTo>
                <a:lnTo>
                  <a:pt x="147270" y="59290"/>
                </a:lnTo>
                <a:lnTo>
                  <a:pt x="146456" y="46596"/>
                </a:lnTo>
                <a:lnTo>
                  <a:pt x="144270" y="33508"/>
                </a:lnTo>
                <a:lnTo>
                  <a:pt x="138658" y="20103"/>
                </a:lnTo>
                <a:lnTo>
                  <a:pt x="130172" y="10552"/>
                </a:lnTo>
                <a:lnTo>
                  <a:pt x="119071" y="4354"/>
                </a:lnTo>
                <a:lnTo>
                  <a:pt x="105613" y="1004"/>
                </a:lnTo>
                <a:lnTo>
                  <a:pt x="90055" y="0"/>
                </a:lnTo>
                <a:lnTo>
                  <a:pt x="87812" y="32"/>
                </a:lnTo>
                <a:lnTo>
                  <a:pt x="73688" y="1882"/>
                </a:lnTo>
                <a:lnTo>
                  <a:pt x="61457" y="6295"/>
                </a:lnTo>
                <a:lnTo>
                  <a:pt x="50756" y="12874"/>
                </a:lnTo>
                <a:lnTo>
                  <a:pt x="41220" y="21220"/>
                </a:lnTo>
                <a:lnTo>
                  <a:pt x="32486" y="30937"/>
                </a:lnTo>
                <a:lnTo>
                  <a:pt x="27800" y="4698"/>
                </a:lnTo>
                <a:lnTo>
                  <a:pt x="0" y="4698"/>
                </a:lnTo>
                <a:lnTo>
                  <a:pt x="1549" y="18808"/>
                </a:lnTo>
                <a:lnTo>
                  <a:pt x="2372" y="27075"/>
                </a:lnTo>
                <a:lnTo>
                  <a:pt x="2964" y="39633"/>
                </a:lnTo>
                <a:lnTo>
                  <a:pt x="3136" y="54038"/>
                </a:lnTo>
                <a:lnTo>
                  <a:pt x="3136" y="182092"/>
                </a:lnTo>
                <a:lnTo>
                  <a:pt x="33274" y="182092"/>
                </a:lnTo>
                <a:lnTo>
                  <a:pt x="33274" y="63055"/>
                </a:lnTo>
                <a:lnTo>
                  <a:pt x="36372" y="58988"/>
                </a:lnTo>
                <a:lnTo>
                  <a:pt x="46348" y="47349"/>
                </a:lnTo>
                <a:lnTo>
                  <a:pt x="56261" y="37086"/>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7"/>
          <p:cNvSpPr/>
          <p:nvPr/>
        </p:nvSpPr>
        <p:spPr>
          <a:xfrm>
            <a:off x="1659762" y="307292"/>
            <a:ext cx="27816" cy="177040"/>
          </a:xfrm>
          <a:custGeom>
            <a:avLst/>
            <a:gdLst/>
            <a:ahLst/>
            <a:cxnLst/>
            <a:rect l="l" t="t" r="r" b="b"/>
            <a:pathLst>
              <a:path w="39560" h="251790">
                <a:moveTo>
                  <a:pt x="0" y="21526"/>
                </a:moveTo>
                <a:lnTo>
                  <a:pt x="482" y="25980"/>
                </a:lnTo>
                <a:lnTo>
                  <a:pt x="7360" y="38207"/>
                </a:lnTo>
                <a:lnTo>
                  <a:pt x="19583" y="43459"/>
                </a:lnTo>
                <a:lnTo>
                  <a:pt x="24294" y="42714"/>
                </a:lnTo>
                <a:lnTo>
                  <a:pt x="35117" y="34404"/>
                </a:lnTo>
                <a:lnTo>
                  <a:pt x="39560" y="21145"/>
                </a:lnTo>
                <a:lnTo>
                  <a:pt x="39123" y="17027"/>
                </a:lnTo>
                <a:lnTo>
                  <a:pt x="32080" y="5036"/>
                </a:lnTo>
                <a:lnTo>
                  <a:pt x="19583" y="0"/>
                </a:lnTo>
                <a:lnTo>
                  <a:pt x="15527" y="508"/>
                </a:lnTo>
                <a:lnTo>
                  <a:pt x="4404" y="8411"/>
                </a:lnTo>
                <a:lnTo>
                  <a:pt x="0" y="21526"/>
                </a:lnTo>
                <a:close/>
              </a:path>
              <a:path w="39560" h="251790">
                <a:moveTo>
                  <a:pt x="4711" y="74396"/>
                </a:moveTo>
                <a:lnTo>
                  <a:pt x="4711" y="251790"/>
                </a:lnTo>
                <a:lnTo>
                  <a:pt x="34861" y="251790"/>
                </a:lnTo>
                <a:lnTo>
                  <a:pt x="34861" y="74396"/>
                </a:lnTo>
                <a:lnTo>
                  <a:pt x="4711" y="7439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5"/>
          <p:cNvSpPr/>
          <p:nvPr/>
        </p:nvSpPr>
        <p:spPr>
          <a:xfrm>
            <a:off x="1720600" y="356293"/>
            <a:ext cx="103798" cy="128033"/>
          </a:xfrm>
          <a:custGeom>
            <a:avLst/>
            <a:gdLst/>
            <a:ahLst/>
            <a:cxnLst/>
            <a:rect l="l" t="t" r="r" b="b"/>
            <a:pathLst>
              <a:path w="147624" h="182092">
                <a:moveTo>
                  <a:pt x="62661" y="31724"/>
                </a:moveTo>
                <a:lnTo>
                  <a:pt x="65392" y="30162"/>
                </a:lnTo>
                <a:lnTo>
                  <a:pt x="77927" y="27025"/>
                </a:lnTo>
                <a:lnTo>
                  <a:pt x="87325" y="27025"/>
                </a:lnTo>
                <a:lnTo>
                  <a:pt x="103236" y="29549"/>
                </a:lnTo>
                <a:lnTo>
                  <a:pt x="112214" y="37202"/>
                </a:lnTo>
                <a:lnTo>
                  <a:pt x="116237" y="49945"/>
                </a:lnTo>
                <a:lnTo>
                  <a:pt x="117487" y="67741"/>
                </a:lnTo>
                <a:lnTo>
                  <a:pt x="117760" y="78307"/>
                </a:lnTo>
                <a:lnTo>
                  <a:pt x="117889" y="106135"/>
                </a:lnTo>
                <a:lnTo>
                  <a:pt x="118038" y="121023"/>
                </a:lnTo>
                <a:lnTo>
                  <a:pt x="118016" y="141871"/>
                </a:lnTo>
                <a:lnTo>
                  <a:pt x="117780" y="152000"/>
                </a:lnTo>
                <a:lnTo>
                  <a:pt x="117352" y="164712"/>
                </a:lnTo>
                <a:lnTo>
                  <a:pt x="116700" y="182092"/>
                </a:lnTo>
                <a:lnTo>
                  <a:pt x="146850" y="182092"/>
                </a:lnTo>
                <a:lnTo>
                  <a:pt x="146957" y="174487"/>
                </a:lnTo>
                <a:lnTo>
                  <a:pt x="147110" y="162795"/>
                </a:lnTo>
                <a:lnTo>
                  <a:pt x="147289" y="147767"/>
                </a:lnTo>
                <a:lnTo>
                  <a:pt x="147460" y="131083"/>
                </a:lnTo>
                <a:lnTo>
                  <a:pt x="147587" y="114423"/>
                </a:lnTo>
                <a:lnTo>
                  <a:pt x="147624" y="71983"/>
                </a:lnTo>
                <a:lnTo>
                  <a:pt x="147282" y="59290"/>
                </a:lnTo>
                <a:lnTo>
                  <a:pt x="146456" y="46596"/>
                </a:lnTo>
                <a:lnTo>
                  <a:pt x="144280" y="33529"/>
                </a:lnTo>
                <a:lnTo>
                  <a:pt x="138674" y="20115"/>
                </a:lnTo>
                <a:lnTo>
                  <a:pt x="130192" y="10559"/>
                </a:lnTo>
                <a:lnTo>
                  <a:pt x="119094" y="4357"/>
                </a:lnTo>
                <a:lnTo>
                  <a:pt x="105637" y="1005"/>
                </a:lnTo>
                <a:lnTo>
                  <a:pt x="90081" y="0"/>
                </a:lnTo>
                <a:lnTo>
                  <a:pt x="87837" y="32"/>
                </a:lnTo>
                <a:lnTo>
                  <a:pt x="73712" y="1882"/>
                </a:lnTo>
                <a:lnTo>
                  <a:pt x="61479" y="6295"/>
                </a:lnTo>
                <a:lnTo>
                  <a:pt x="50776" y="12874"/>
                </a:lnTo>
                <a:lnTo>
                  <a:pt x="41241" y="21220"/>
                </a:lnTo>
                <a:lnTo>
                  <a:pt x="32511" y="30937"/>
                </a:lnTo>
                <a:lnTo>
                  <a:pt x="27812" y="4698"/>
                </a:lnTo>
                <a:lnTo>
                  <a:pt x="0" y="4698"/>
                </a:lnTo>
                <a:lnTo>
                  <a:pt x="1574" y="18808"/>
                </a:lnTo>
                <a:lnTo>
                  <a:pt x="2389" y="27075"/>
                </a:lnTo>
                <a:lnTo>
                  <a:pt x="2978" y="39633"/>
                </a:lnTo>
                <a:lnTo>
                  <a:pt x="3149" y="54038"/>
                </a:lnTo>
                <a:lnTo>
                  <a:pt x="3149" y="182092"/>
                </a:lnTo>
                <a:lnTo>
                  <a:pt x="33286" y="182092"/>
                </a:lnTo>
                <a:lnTo>
                  <a:pt x="33286" y="63055"/>
                </a:lnTo>
                <a:lnTo>
                  <a:pt x="36385" y="58988"/>
                </a:lnTo>
                <a:lnTo>
                  <a:pt x="46360" y="47349"/>
                </a:lnTo>
                <a:lnTo>
                  <a:pt x="56274" y="37086"/>
                </a:lnTo>
                <a:lnTo>
                  <a:pt x="62661"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6"/>
          <p:cNvSpPr/>
          <p:nvPr/>
        </p:nvSpPr>
        <p:spPr>
          <a:xfrm>
            <a:off x="1852187" y="422106"/>
            <a:ext cx="34227" cy="124376"/>
          </a:xfrm>
          <a:custGeom>
            <a:avLst/>
            <a:gdLst/>
            <a:ahLst/>
            <a:cxnLst/>
            <a:rect l="l" t="t" r="r" b="b"/>
            <a:pathLst>
              <a:path w="48678" h="176891">
                <a:moveTo>
                  <a:pt x="36766" y="77831"/>
                </a:moveTo>
                <a:lnTo>
                  <a:pt x="48678" y="83292"/>
                </a:lnTo>
                <a:lnTo>
                  <a:pt x="38801" y="37607"/>
                </a:lnTo>
                <a:lnTo>
                  <a:pt x="34161" y="21483"/>
                </a:lnTo>
                <a:lnTo>
                  <a:pt x="32511" y="0"/>
                </a:lnTo>
                <a:lnTo>
                  <a:pt x="26161" y="70248"/>
                </a:lnTo>
                <a:lnTo>
                  <a:pt x="36766" y="77831"/>
                </a:lnTo>
                <a:close/>
              </a:path>
              <a:path w="48678" h="176891">
                <a:moveTo>
                  <a:pt x="968" y="19440"/>
                </a:moveTo>
                <a:lnTo>
                  <a:pt x="4267" y="35140"/>
                </a:lnTo>
                <a:lnTo>
                  <a:pt x="9704" y="48866"/>
                </a:lnTo>
                <a:lnTo>
                  <a:pt x="17071" y="60581"/>
                </a:lnTo>
                <a:lnTo>
                  <a:pt x="26161" y="70248"/>
                </a:lnTo>
                <a:lnTo>
                  <a:pt x="32511" y="0"/>
                </a:lnTo>
                <a:lnTo>
                  <a:pt x="32531" y="-2276"/>
                </a:lnTo>
                <a:lnTo>
                  <a:pt x="34572" y="-22375"/>
                </a:lnTo>
                <a:lnTo>
                  <a:pt x="39057" y="-37880"/>
                </a:lnTo>
                <a:lnTo>
                  <a:pt x="44671" y="-49218"/>
                </a:lnTo>
                <a:lnTo>
                  <a:pt x="50103" y="-56812"/>
                </a:lnTo>
                <a:lnTo>
                  <a:pt x="54038" y="-61086"/>
                </a:lnTo>
                <a:lnTo>
                  <a:pt x="69618" y="-66254"/>
                </a:lnTo>
                <a:lnTo>
                  <a:pt x="85763" y="-67754"/>
                </a:lnTo>
                <a:lnTo>
                  <a:pt x="93260" y="-67239"/>
                </a:lnTo>
                <a:lnTo>
                  <a:pt x="105142" y="-63556"/>
                </a:lnTo>
                <a:lnTo>
                  <a:pt x="114527" y="-56199"/>
                </a:lnTo>
                <a:lnTo>
                  <a:pt x="121331" y="-45018"/>
                </a:lnTo>
                <a:lnTo>
                  <a:pt x="125473" y="-29862"/>
                </a:lnTo>
                <a:lnTo>
                  <a:pt x="126872" y="-10579"/>
                </a:lnTo>
                <a:lnTo>
                  <a:pt x="126872" y="28575"/>
                </a:lnTo>
                <a:lnTo>
                  <a:pt x="123171" y="35166"/>
                </a:lnTo>
                <a:lnTo>
                  <a:pt x="114746" y="45769"/>
                </a:lnTo>
                <a:lnTo>
                  <a:pt x="104376" y="54231"/>
                </a:lnTo>
                <a:lnTo>
                  <a:pt x="92485" y="59834"/>
                </a:lnTo>
                <a:lnTo>
                  <a:pt x="79501" y="61861"/>
                </a:lnTo>
                <a:lnTo>
                  <a:pt x="78046" y="61848"/>
                </a:lnTo>
                <a:lnTo>
                  <a:pt x="66054" y="60492"/>
                </a:lnTo>
                <a:lnTo>
                  <a:pt x="55208" y="56444"/>
                </a:lnTo>
                <a:lnTo>
                  <a:pt x="45970" y="49038"/>
                </a:lnTo>
                <a:lnTo>
                  <a:pt x="38801" y="37607"/>
                </a:lnTo>
                <a:lnTo>
                  <a:pt x="48678" y="83292"/>
                </a:lnTo>
                <a:lnTo>
                  <a:pt x="61688" y="86596"/>
                </a:lnTo>
                <a:lnTo>
                  <a:pt x="75590" y="87706"/>
                </a:lnTo>
                <a:lnTo>
                  <a:pt x="82543" y="87459"/>
                </a:lnTo>
                <a:lnTo>
                  <a:pt x="96032" y="85208"/>
                </a:lnTo>
                <a:lnTo>
                  <a:pt x="107612" y="80630"/>
                </a:lnTo>
                <a:lnTo>
                  <a:pt x="117838" y="73753"/>
                </a:lnTo>
                <a:lnTo>
                  <a:pt x="127266" y="64604"/>
                </a:lnTo>
                <a:lnTo>
                  <a:pt x="127439" y="78176"/>
                </a:lnTo>
                <a:lnTo>
                  <a:pt x="127833" y="91163"/>
                </a:lnTo>
                <a:lnTo>
                  <a:pt x="128054" y="101015"/>
                </a:lnTo>
                <a:lnTo>
                  <a:pt x="127331" y="111049"/>
                </a:lnTo>
                <a:lnTo>
                  <a:pt x="122971" y="124692"/>
                </a:lnTo>
                <a:lnTo>
                  <a:pt x="114979" y="134530"/>
                </a:lnTo>
                <a:lnTo>
                  <a:pt x="103718" y="141007"/>
                </a:lnTo>
                <a:lnTo>
                  <a:pt x="89549" y="144568"/>
                </a:lnTo>
                <a:lnTo>
                  <a:pt x="72834" y="145656"/>
                </a:lnTo>
                <a:lnTo>
                  <a:pt x="70290" y="145636"/>
                </a:lnTo>
                <a:lnTo>
                  <a:pt x="53477" y="143803"/>
                </a:lnTo>
                <a:lnTo>
                  <a:pt x="42129" y="138170"/>
                </a:lnTo>
                <a:lnTo>
                  <a:pt x="35713" y="127562"/>
                </a:lnTo>
                <a:lnTo>
                  <a:pt x="33693" y="110807"/>
                </a:lnTo>
                <a:lnTo>
                  <a:pt x="2755" y="116687"/>
                </a:lnTo>
                <a:lnTo>
                  <a:pt x="4929" y="134144"/>
                </a:lnTo>
                <a:lnTo>
                  <a:pt x="10500" y="146856"/>
                </a:lnTo>
                <a:lnTo>
                  <a:pt x="19040" y="156561"/>
                </a:lnTo>
                <a:lnTo>
                  <a:pt x="30104" y="163568"/>
                </a:lnTo>
                <a:lnTo>
                  <a:pt x="43250" y="168189"/>
                </a:lnTo>
                <a:lnTo>
                  <a:pt x="58035" y="170734"/>
                </a:lnTo>
                <a:lnTo>
                  <a:pt x="74015" y="171513"/>
                </a:lnTo>
                <a:lnTo>
                  <a:pt x="81572" y="171343"/>
                </a:lnTo>
                <a:lnTo>
                  <a:pt x="98864" y="169483"/>
                </a:lnTo>
                <a:lnTo>
                  <a:pt x="114042" y="165632"/>
                </a:lnTo>
                <a:lnTo>
                  <a:pt x="127048" y="159865"/>
                </a:lnTo>
                <a:lnTo>
                  <a:pt x="137822" y="152258"/>
                </a:lnTo>
                <a:lnTo>
                  <a:pt x="146306" y="142885"/>
                </a:lnTo>
                <a:lnTo>
                  <a:pt x="152438" y="131822"/>
                </a:lnTo>
                <a:lnTo>
                  <a:pt x="156162" y="119144"/>
                </a:lnTo>
                <a:lnTo>
                  <a:pt x="157416" y="104927"/>
                </a:lnTo>
                <a:lnTo>
                  <a:pt x="157325" y="96305"/>
                </a:lnTo>
                <a:lnTo>
                  <a:pt x="157145" y="82259"/>
                </a:lnTo>
                <a:lnTo>
                  <a:pt x="157048" y="-63830"/>
                </a:lnTo>
                <a:lnTo>
                  <a:pt x="159778" y="-88899"/>
                </a:lnTo>
                <a:lnTo>
                  <a:pt x="136283" y="-88899"/>
                </a:lnTo>
                <a:lnTo>
                  <a:pt x="129628" y="-74790"/>
                </a:lnTo>
                <a:lnTo>
                  <a:pt x="121632" y="-82771"/>
                </a:lnTo>
                <a:lnTo>
                  <a:pt x="110116" y="-89118"/>
                </a:lnTo>
                <a:lnTo>
                  <a:pt x="97409" y="-92561"/>
                </a:lnTo>
                <a:lnTo>
                  <a:pt x="84581" y="-93598"/>
                </a:lnTo>
                <a:lnTo>
                  <a:pt x="81930" y="-93570"/>
                </a:lnTo>
                <a:lnTo>
                  <a:pt x="66639" y="-92197"/>
                </a:lnTo>
                <a:lnTo>
                  <a:pt x="52871" y="-88801"/>
                </a:lnTo>
                <a:lnTo>
                  <a:pt x="40647" y="-83443"/>
                </a:lnTo>
                <a:lnTo>
                  <a:pt x="29986" y="-76184"/>
                </a:lnTo>
                <a:lnTo>
                  <a:pt x="20908" y="-67084"/>
                </a:lnTo>
                <a:lnTo>
                  <a:pt x="13436" y="-56204"/>
                </a:lnTo>
                <a:lnTo>
                  <a:pt x="7588" y="-43604"/>
                </a:lnTo>
                <a:lnTo>
                  <a:pt x="3386" y="-29344"/>
                </a:lnTo>
                <a:lnTo>
                  <a:pt x="849" y="-13485"/>
                </a:lnTo>
                <a:lnTo>
                  <a:pt x="0" y="3911"/>
                </a:lnTo>
                <a:lnTo>
                  <a:pt x="968" y="1944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bject 14"/>
          <p:cNvSpPr/>
          <p:nvPr/>
        </p:nvSpPr>
        <p:spPr>
          <a:xfrm>
            <a:off x="0" y="732235"/>
            <a:ext cx="9144000" cy="667878"/>
          </a:xfrm>
          <a:custGeom>
            <a:avLst/>
            <a:gdLst/>
            <a:ahLst/>
            <a:cxnLst/>
            <a:rect l="l" t="t" r="r" b="b"/>
            <a:pathLst>
              <a:path w="13004800" h="949871">
                <a:moveTo>
                  <a:pt x="0" y="949871"/>
                </a:moveTo>
                <a:lnTo>
                  <a:pt x="13004800" y="949871"/>
                </a:lnTo>
                <a:lnTo>
                  <a:pt x="13004800" y="0"/>
                </a:lnTo>
                <a:lnTo>
                  <a:pt x="0" y="0"/>
                </a:lnTo>
                <a:lnTo>
                  <a:pt x="0" y="94987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12"/>
          <p:cNvSpPr/>
          <p:nvPr/>
        </p:nvSpPr>
        <p:spPr>
          <a:xfrm>
            <a:off x="125016" y="3433000"/>
            <a:ext cx="2446376" cy="3278981"/>
          </a:xfrm>
          <a:custGeom>
            <a:avLst/>
            <a:gdLst/>
            <a:ahLst/>
            <a:cxnLst/>
            <a:rect l="l" t="t" r="r" b="b"/>
            <a:pathLst>
              <a:path w="3479291" h="4663439">
                <a:moveTo>
                  <a:pt x="0" y="0"/>
                </a:moveTo>
                <a:lnTo>
                  <a:pt x="0" y="4663440"/>
                </a:lnTo>
                <a:lnTo>
                  <a:pt x="3479291" y="4663440"/>
                </a:lnTo>
                <a:lnTo>
                  <a:pt x="3479291" y="0"/>
                </a:lnTo>
                <a:lnTo>
                  <a:pt x="0" y="0"/>
                </a:lnTo>
                <a:close/>
              </a:path>
            </a:pathLst>
          </a:custGeom>
          <a:solidFill>
            <a:srgbClr val="000000">
              <a:alpha val="35000"/>
            </a:srgbClr>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13"/>
          <p:cNvSpPr/>
          <p:nvPr/>
        </p:nvSpPr>
        <p:spPr>
          <a:xfrm>
            <a:off x="145531" y="3474618"/>
            <a:ext cx="2348508" cy="3186925"/>
          </a:xfrm>
          <a:custGeom>
            <a:avLst/>
            <a:gdLst/>
            <a:ahLst/>
            <a:cxnLst/>
            <a:rect l="l" t="t" r="r" b="b"/>
            <a:pathLst>
              <a:path w="3340100" h="4532515">
                <a:moveTo>
                  <a:pt x="31" y="4405500"/>
                </a:moveTo>
                <a:lnTo>
                  <a:pt x="841" y="4447492"/>
                </a:lnTo>
                <a:lnTo>
                  <a:pt x="6735" y="4491345"/>
                </a:lnTo>
                <a:lnTo>
                  <a:pt x="31181" y="4521954"/>
                </a:lnTo>
                <a:lnTo>
                  <a:pt x="68505" y="4530563"/>
                </a:lnTo>
                <a:lnTo>
                  <a:pt x="127719" y="4532487"/>
                </a:lnTo>
                <a:lnTo>
                  <a:pt x="3340100" y="4532515"/>
                </a:lnTo>
                <a:lnTo>
                  <a:pt x="3340068" y="304421"/>
                </a:lnTo>
                <a:lnTo>
                  <a:pt x="3339258" y="262429"/>
                </a:lnTo>
                <a:lnTo>
                  <a:pt x="3333364" y="218576"/>
                </a:lnTo>
                <a:lnTo>
                  <a:pt x="3308918" y="187967"/>
                </a:lnTo>
                <a:lnTo>
                  <a:pt x="3271594" y="179358"/>
                </a:lnTo>
                <a:lnTo>
                  <a:pt x="3212380" y="177434"/>
                </a:lnTo>
                <a:lnTo>
                  <a:pt x="896327" y="177406"/>
                </a:lnTo>
                <a:lnTo>
                  <a:pt x="689381" y="0"/>
                </a:lnTo>
                <a:lnTo>
                  <a:pt x="482968" y="177406"/>
                </a:lnTo>
                <a:lnTo>
                  <a:pt x="0" y="177406"/>
                </a:lnTo>
                <a:lnTo>
                  <a:pt x="31" y="44055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11"/>
          <p:cNvSpPr/>
          <p:nvPr/>
        </p:nvSpPr>
        <p:spPr>
          <a:xfrm>
            <a:off x="174834" y="1553936"/>
            <a:ext cx="2396558" cy="1828626"/>
          </a:xfrm>
          <a:prstGeom prst="rect">
            <a:avLst/>
          </a:prstGeom>
          <a:blipFill>
            <a:blip r:embed="rId2" cstate="print"/>
            <a:stretch>
              <a:fillRect/>
            </a:stretch>
          </a:blip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bject 10"/>
          <p:cNvSpPr txBox="1"/>
          <p:nvPr/>
        </p:nvSpPr>
        <p:spPr>
          <a:xfrm>
            <a:off x="422710" y="935020"/>
            <a:ext cx="78636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231" normalizeH="0" baseline="0" noProof="0" dirty="0">
                <a:ln>
                  <a:noFill/>
                </a:ln>
                <a:solidFill>
                  <a:srgbClr val="FFFFFF"/>
                </a:solidFill>
                <a:effectLst/>
                <a:uLnTx/>
                <a:uFillTx/>
                <a:latin typeface="Times New Roman"/>
                <a:ea typeface="+mn-ea"/>
                <a:cs typeface="Times New Roman"/>
              </a:rPr>
              <a:t>PLAN</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 name="object 9"/>
          <p:cNvSpPr txBox="1"/>
          <p:nvPr/>
        </p:nvSpPr>
        <p:spPr>
          <a:xfrm>
            <a:off x="1222163" y="935020"/>
            <a:ext cx="45395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0" normalizeH="0" baseline="0" noProof="0" dirty="0">
                <a:ln>
                  <a:noFill/>
                </a:ln>
                <a:solidFill>
                  <a:srgbClr val="FFFFFF"/>
                </a:solidFill>
                <a:effectLst/>
                <a:uLnTx/>
                <a:uFillTx/>
                <a:latin typeface="Times New Roman"/>
                <a:ea typeface="+mn-ea"/>
                <a:cs typeface="Times New Roman"/>
              </a:rPr>
              <a:t>OF</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8" name="object 8"/>
          <p:cNvSpPr txBox="1"/>
          <p:nvPr/>
        </p:nvSpPr>
        <p:spPr>
          <a:xfrm>
            <a:off x="1689207" y="935020"/>
            <a:ext cx="773981"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326" normalizeH="0" baseline="0" noProof="0" dirty="0">
                <a:ln>
                  <a:noFill/>
                </a:ln>
                <a:solidFill>
                  <a:srgbClr val="FFFFFF"/>
                </a:solidFill>
                <a:effectLst/>
                <a:uLnTx/>
                <a:uFillTx/>
                <a:latin typeface="Times New Roman"/>
                <a:ea typeface="+mn-ea"/>
                <a:cs typeface="Times New Roman"/>
              </a:rPr>
              <a:t>CARE</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7" name="object 7"/>
          <p:cNvSpPr txBox="1"/>
          <p:nvPr/>
        </p:nvSpPr>
        <p:spPr>
          <a:xfrm>
            <a:off x="2800115" y="1899944"/>
            <a:ext cx="2265955" cy="709592"/>
          </a:xfrm>
          <a:prstGeom prst="rect">
            <a:avLst/>
          </a:prstGeom>
        </p:spPr>
        <p:txBody>
          <a:bodyPr wrap="square" lIns="0" tIns="8505" rIns="0" bIns="0" rtlCol="0">
            <a:no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Potential Problems:</a:t>
            </a:r>
            <a:endParaRPr kumimoji="0"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2" name="object 2"/>
          <p:cNvSpPr txBox="1"/>
          <p:nvPr/>
        </p:nvSpPr>
        <p:spPr>
          <a:xfrm>
            <a:off x="125016" y="3433000"/>
            <a:ext cx="2446376" cy="3278981"/>
          </a:xfrm>
          <a:prstGeom prst="rect">
            <a:avLst/>
          </a:prstGeom>
        </p:spPr>
        <p:txBody>
          <a:bodyPr wrap="square" lIns="0" tIns="2505" rIns="0" bIns="0" rtlCol="0">
            <a:noAutofit/>
          </a:bodyPr>
          <a:lstStyle/>
          <a:p>
            <a:pPr marL="0" marR="0" lvl="0" indent="0" algn="l" defTabSz="642915" rtl="0" eaLnBrk="1" fontAlgn="auto" latinLnBrk="0" hangingPunct="1">
              <a:lnSpc>
                <a:spcPts val="598"/>
              </a:lnSpc>
              <a:spcBef>
                <a:spcPts val="0"/>
              </a:spcBef>
              <a:spcAft>
                <a:spcPts val="0"/>
              </a:spcAft>
              <a:buClrTx/>
              <a:buSzTx/>
              <a:buFontTx/>
              <a:buNone/>
              <a:tabLst/>
              <a:defRPr/>
            </a:pPr>
            <a:endParaRPr kumimoji="0" sz="598" b="0" i="0" u="none" strike="noStrike" kern="1200" cap="none" spc="0" normalizeH="0" baseline="0" noProof="0" dirty="0">
              <a:ln>
                <a:noFill/>
              </a:ln>
              <a:solidFill>
                <a:prstClr val="black"/>
              </a:solidFill>
              <a:effectLst/>
              <a:uLnTx/>
              <a:uFillTx/>
              <a:latin typeface="Calibri"/>
              <a:ea typeface="+mn-ea"/>
              <a:cs typeface="+mn-cs"/>
            </a:endParaRPr>
          </a:p>
          <a:p>
            <a:pPr marL="210550" marR="0" lvl="0" indent="0" algn="l" defTabSz="642915" rtl="0" eaLnBrk="1" fontAlgn="auto" latinLnBrk="0" hangingPunct="1">
              <a:lnSpc>
                <a:spcPct val="95825"/>
              </a:lnSpc>
              <a:spcBef>
                <a:spcPts val="1406"/>
              </a:spcBef>
              <a:spcAft>
                <a:spcPts val="0"/>
              </a:spcAft>
              <a:buClrTx/>
              <a:buSzTx/>
              <a:buFontTx/>
              <a:buNone/>
              <a:tabLst/>
              <a:defRPr/>
            </a:pPr>
            <a:r>
              <a:rPr kumimoji="0" sz="1195" b="1" i="0" u="none" strike="noStrike" kern="1200" cap="none" spc="-2" normalizeH="0" baseline="0" noProof="0" dirty="0">
                <a:ln>
                  <a:noFill/>
                </a:ln>
                <a:solidFill>
                  <a:srgbClr val="FFFFFF"/>
                </a:solidFill>
                <a:effectLst/>
                <a:uLnTx/>
                <a:uFillTx/>
                <a:latin typeface="Times New Roman"/>
                <a:ea typeface="+mn-ea"/>
                <a:cs typeface="Times New Roman"/>
              </a:rPr>
              <a:t>Name: </a:t>
            </a:r>
            <a:r>
              <a:rPr kumimoji="0" sz="1195" b="0" i="0" u="none" strike="noStrike" kern="1200" cap="none" spc="-2" normalizeH="0" baseline="0" noProof="0" dirty="0">
                <a:ln>
                  <a:noFill/>
                </a:ln>
                <a:solidFill>
                  <a:srgbClr val="FFFFFF"/>
                </a:solidFill>
                <a:effectLst/>
                <a:uLnTx/>
                <a:uFillTx/>
                <a:latin typeface="Times New Roman"/>
                <a:ea typeface="+mn-ea"/>
                <a:cs typeface="Times New Roman"/>
              </a:rPr>
              <a:t>Walter Jones</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2" normalizeH="0" baseline="0" noProof="0" dirty="0">
                <a:ln>
                  <a:noFill/>
                </a:ln>
                <a:solidFill>
                  <a:srgbClr val="FFFFFF"/>
                </a:solidFill>
                <a:effectLst/>
                <a:uLnTx/>
                <a:uFillTx/>
                <a:latin typeface="Times New Roman"/>
                <a:ea typeface="+mn-ea"/>
                <a:cs typeface="Times New Roman"/>
              </a:rPr>
              <a:t>Gender: </a:t>
            </a:r>
            <a:r>
              <a:rPr kumimoji="0" sz="1195" b="0" i="0" u="none" strike="noStrike" kern="1200" cap="none" spc="-12" normalizeH="0" baseline="0" noProof="0" dirty="0">
                <a:ln>
                  <a:noFill/>
                </a:ln>
                <a:solidFill>
                  <a:srgbClr val="FFFFFF"/>
                </a:solidFill>
                <a:effectLst/>
                <a:uLnTx/>
                <a:uFillTx/>
                <a:latin typeface="Times New Roman"/>
                <a:ea typeface="+mn-ea"/>
                <a:cs typeface="Times New Roman"/>
              </a:rPr>
              <a:t>Male</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23" normalizeH="0" baseline="0" noProof="0" dirty="0">
                <a:ln>
                  <a:noFill/>
                </a:ln>
                <a:solidFill>
                  <a:srgbClr val="FFFFFF"/>
                </a:solidFill>
                <a:effectLst/>
                <a:uLnTx/>
                <a:uFillTx/>
                <a:latin typeface="Times New Roman"/>
                <a:ea typeface="+mn-ea"/>
                <a:cs typeface="Times New Roman"/>
              </a:rPr>
              <a:t>Age: </a:t>
            </a:r>
            <a:r>
              <a:rPr kumimoji="0" sz="1195" b="0" i="0" u="none" strike="noStrike" kern="1200" cap="none" spc="-23" normalizeH="0" baseline="0" noProof="0" dirty="0">
                <a:ln>
                  <a:noFill/>
                </a:ln>
                <a:solidFill>
                  <a:srgbClr val="FFFFFF"/>
                </a:solidFill>
                <a:effectLst/>
                <a:uLnTx/>
                <a:uFillTx/>
                <a:latin typeface="Times New Roman"/>
                <a:ea typeface="+mn-ea"/>
                <a:cs typeface="Times New Roman"/>
              </a:rPr>
              <a:t>65</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6" normalizeH="0" baseline="0" noProof="0" dirty="0">
                <a:ln>
                  <a:noFill/>
                </a:ln>
                <a:solidFill>
                  <a:srgbClr val="FFFFFF"/>
                </a:solidFill>
                <a:effectLst/>
                <a:uLnTx/>
                <a:uFillTx/>
                <a:latin typeface="Times New Roman"/>
                <a:ea typeface="+mn-ea"/>
                <a:cs typeface="Times New Roman"/>
              </a:rPr>
              <a:t>Height: 6' 2"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7" normalizeH="0" baseline="0" noProof="0" dirty="0">
                <a:ln>
                  <a:noFill/>
                </a:ln>
                <a:solidFill>
                  <a:srgbClr val="FFFFFF"/>
                </a:solidFill>
                <a:effectLst/>
                <a:uLnTx/>
                <a:uFillTx/>
                <a:latin typeface="Times New Roman"/>
                <a:ea typeface="+mn-ea"/>
                <a:cs typeface="Times New Roman"/>
              </a:rPr>
              <a:t>Weight: 210 lb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lang="en-US" sz="1195" b="1" i="1" u="none" strike="noStrike" kern="1200" cap="none" spc="-28" normalizeH="0" baseline="0" noProof="0" dirty="0">
                <a:ln>
                  <a:noFill/>
                </a:ln>
                <a:solidFill>
                  <a:srgbClr val="0070C0"/>
                </a:solidFill>
                <a:effectLst/>
                <a:uLnTx/>
                <a:uFillTx/>
                <a:latin typeface="Times New Roman"/>
                <a:ea typeface="+mn-ea"/>
                <a:cs typeface="Times New Roman"/>
              </a:rPr>
              <a:t>Pneumonia</a:t>
            </a:r>
            <a:endParaRPr kumimoji="0" sz="1195" b="0" i="0" u="none" strike="noStrike" kern="1200" cap="none" spc="0" normalizeH="0" baseline="0" noProof="0" dirty="0">
              <a:ln>
                <a:noFill/>
              </a:ln>
              <a:solidFill>
                <a:srgbClr val="0070C0"/>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97"/>
              </a:spcBef>
              <a:spcAft>
                <a:spcPts val="0"/>
              </a:spcAft>
              <a:buClrTx/>
              <a:buSzTx/>
              <a:buFontTx/>
              <a:buNone/>
              <a:tabLst/>
              <a:defRPr/>
            </a:pPr>
            <a:r>
              <a:rPr kumimoji="0" sz="1195" b="1" i="0" u="none" strike="noStrike" kern="1200" cap="none" spc="-20" normalizeH="0" baseline="0" noProof="0" dirty="0">
                <a:ln>
                  <a:noFill/>
                </a:ln>
                <a:solidFill>
                  <a:srgbClr val="FFFFFF"/>
                </a:solidFill>
                <a:effectLst/>
                <a:uLnTx/>
                <a:uFillTx/>
                <a:latin typeface="Times New Roman"/>
                <a:ea typeface="+mn-ea"/>
                <a:cs typeface="Times New Roman"/>
              </a:rPr>
              <a:t>Primary Physician: </a:t>
            </a:r>
            <a:r>
              <a:rPr kumimoji="0" sz="1195" b="0" i="0" u="none" strike="noStrike" kern="1200" cap="none" spc="-20" normalizeH="0" baseline="0" noProof="0" dirty="0">
                <a:ln>
                  <a:noFill/>
                </a:ln>
                <a:solidFill>
                  <a:srgbClr val="FFFFFF"/>
                </a:solidFill>
                <a:effectLst/>
                <a:uLnTx/>
                <a:uFillTx/>
                <a:latin typeface="Times New Roman"/>
                <a:ea typeface="+mn-ea"/>
                <a:cs typeface="Times New Roman"/>
              </a:rPr>
              <a:t>Dr. Smith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5" normalizeH="0" baseline="0" noProof="0" dirty="0">
                <a:ln>
                  <a:noFill/>
                </a:ln>
                <a:solidFill>
                  <a:srgbClr val="FFFFFF"/>
                </a:solidFill>
                <a:effectLst/>
                <a:uLnTx/>
                <a:uFillTx/>
                <a:latin typeface="Times New Roman"/>
                <a:ea typeface="+mn-ea"/>
                <a:cs typeface="Times New Roman"/>
              </a:rPr>
              <a:t>Allergies: </a:t>
            </a:r>
            <a:r>
              <a:rPr kumimoji="0" sz="1195" b="0" i="0" u="none" strike="noStrike" kern="1200" cap="none" spc="-5" normalizeH="0" baseline="0" noProof="0" dirty="0">
                <a:ln>
                  <a:noFill/>
                </a:ln>
                <a:solidFill>
                  <a:srgbClr val="FFFFFF"/>
                </a:solidFill>
                <a:effectLst/>
                <a:uLnTx/>
                <a:uFillTx/>
                <a:latin typeface="Times New Roman"/>
                <a:ea typeface="+mn-ea"/>
                <a:cs typeface="Times New Roman"/>
              </a:rPr>
              <a:t>No Known Allergie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15" normalizeH="0" baseline="0" noProof="0" dirty="0">
                <a:ln>
                  <a:noFill/>
                </a:ln>
                <a:solidFill>
                  <a:srgbClr val="FFFFFF"/>
                </a:solidFill>
                <a:effectLst/>
                <a:uLnTx/>
                <a:uFillTx/>
                <a:latin typeface="Times New Roman"/>
                <a:ea typeface="+mn-ea"/>
                <a:cs typeface="Times New Roman"/>
              </a:rPr>
              <a:t>Pressure Ulcer POA: </a:t>
            </a:r>
            <a:r>
              <a:rPr kumimoji="0" sz="1195" b="0" i="0" u="none" strike="noStrike" kern="1200" cap="none" spc="-15" normalizeH="0" baseline="0" noProof="0" dirty="0">
                <a:ln>
                  <a:noFill/>
                </a:ln>
                <a:solidFill>
                  <a:srgbClr val="FFFFFF"/>
                </a:solidFill>
                <a:effectLst/>
                <a:uLnTx/>
                <a:uFillTx/>
                <a:latin typeface="Times New Roman"/>
                <a:ea typeface="+mn-ea"/>
                <a:cs typeface="Times New Roman"/>
              </a:rPr>
              <a:t>Negative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24" normalizeH="0" baseline="0" noProof="0" dirty="0">
                <a:ln>
                  <a:noFill/>
                </a:ln>
                <a:solidFill>
                  <a:srgbClr val="0070C0"/>
                </a:solidFill>
                <a:effectLst/>
                <a:uLnTx/>
                <a:uFillTx/>
                <a:latin typeface="Times New Roman"/>
                <a:ea typeface="+mn-ea"/>
                <a:cs typeface="Times New Roman"/>
              </a:rPr>
              <a:t>Last Braden Risk Score: </a:t>
            </a:r>
            <a:r>
              <a:rPr kumimoji="0" lang="en-US" sz="1195" b="0" i="0" u="none" strike="noStrike" kern="1200" cap="none" spc="-24" normalizeH="0" baseline="0" noProof="0" dirty="0">
                <a:ln>
                  <a:noFill/>
                </a:ln>
                <a:solidFill>
                  <a:srgbClr val="0070C0"/>
                </a:solidFill>
                <a:effectLst/>
                <a:uLnTx/>
                <a:uFillTx/>
                <a:latin typeface="Times New Roman"/>
                <a:ea typeface="+mn-ea"/>
                <a:cs typeface="Times New Roman"/>
              </a:rPr>
              <a:t>10</a:t>
            </a:r>
            <a:endParaRPr kumimoji="0" sz="1195" b="0" i="0" u="none" strike="noStrike" kern="1200" cap="none" spc="0" normalizeH="0" baseline="0" noProof="0" dirty="0">
              <a:ln>
                <a:noFill/>
              </a:ln>
              <a:solidFill>
                <a:srgbClr val="0070C0"/>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99"/>
              </a:spcBef>
              <a:spcAft>
                <a:spcPts val="0"/>
              </a:spcAft>
              <a:buClrTx/>
              <a:buSzTx/>
              <a:buFontTx/>
              <a:buNone/>
              <a:tabLst/>
              <a:defRPr/>
            </a:pPr>
            <a:r>
              <a:rPr kumimoji="0" sz="1195" b="1" i="0" u="none" strike="noStrike" kern="1200" cap="none" spc="-28" normalizeH="0" baseline="0" noProof="0" dirty="0">
                <a:ln>
                  <a:noFill/>
                </a:ln>
                <a:solidFill>
                  <a:srgbClr val="0070C0"/>
                </a:solidFill>
                <a:effectLst/>
                <a:uLnTx/>
                <a:uFillTx/>
                <a:latin typeface="Times New Roman"/>
                <a:ea typeface="+mn-ea"/>
                <a:cs typeface="Times New Roman"/>
              </a:rPr>
              <a:t>Fall Risk Score: </a:t>
            </a:r>
            <a:r>
              <a:rPr kumimoji="0" sz="1195" b="0" i="0" u="none" strike="noStrike" kern="1200" cap="none" spc="-28" normalizeH="0" baseline="0" noProof="0" dirty="0">
                <a:ln>
                  <a:noFill/>
                </a:ln>
                <a:solidFill>
                  <a:srgbClr val="0070C0"/>
                </a:solidFill>
                <a:effectLst/>
                <a:uLnTx/>
                <a:uFillTx/>
                <a:latin typeface="Times New Roman"/>
                <a:ea typeface="+mn-ea"/>
                <a:cs typeface="Times New Roman"/>
              </a:rPr>
              <a:t>6</a:t>
            </a:r>
            <a:endParaRPr kumimoji="0" sz="1195" b="0" i="0" u="none" strike="noStrike" kern="1200" cap="none" spc="0" normalizeH="0" baseline="0" noProof="0" dirty="0">
              <a:ln>
                <a:noFill/>
              </a:ln>
              <a:solidFill>
                <a:srgbClr val="0070C0"/>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4" normalizeH="0" baseline="0" noProof="0" dirty="0">
                <a:ln>
                  <a:noFill/>
                </a:ln>
                <a:solidFill>
                  <a:srgbClr val="0070C0"/>
                </a:solidFill>
                <a:effectLst/>
                <a:uLnTx/>
                <a:uFillTx/>
                <a:latin typeface="Times New Roman"/>
                <a:ea typeface="+mn-ea"/>
                <a:cs typeface="Times New Roman"/>
              </a:rPr>
              <a:t>Last Pain Score: </a:t>
            </a:r>
            <a:r>
              <a:rPr kumimoji="0" lang="en-US" sz="1195" b="0" i="0" u="none" strike="noStrike" kern="1200" cap="none" spc="-14" normalizeH="0" baseline="0" noProof="0" dirty="0">
                <a:ln>
                  <a:noFill/>
                </a:ln>
                <a:solidFill>
                  <a:srgbClr val="0070C0"/>
                </a:solidFill>
                <a:effectLst/>
                <a:uLnTx/>
                <a:uFillTx/>
                <a:latin typeface="Times New Roman"/>
                <a:ea typeface="+mn-ea"/>
                <a:cs typeface="Times New Roman"/>
              </a:rPr>
              <a:t>5</a:t>
            </a:r>
            <a:r>
              <a:rPr kumimoji="0" sz="1195" b="0" i="0" u="none" strike="noStrike" kern="1200" cap="none" spc="-14" normalizeH="0" baseline="0" noProof="0" dirty="0">
                <a:ln>
                  <a:noFill/>
                </a:ln>
                <a:solidFill>
                  <a:srgbClr val="0070C0"/>
                </a:solidFill>
                <a:effectLst/>
                <a:uLnTx/>
                <a:uFillTx/>
                <a:latin typeface="Times New Roman"/>
                <a:ea typeface="+mn-ea"/>
                <a:cs typeface="Times New Roman"/>
              </a:rPr>
              <a:t> (0-10)</a:t>
            </a:r>
            <a:endParaRPr kumimoji="0" sz="1195" b="0" i="0" u="none" strike="noStrike" kern="1200" cap="none" spc="0" normalizeH="0" baseline="0" noProof="0" dirty="0">
              <a:ln>
                <a:noFill/>
              </a:ln>
              <a:solidFill>
                <a:srgbClr val="0070C0"/>
              </a:solidFill>
              <a:effectLst/>
              <a:uLnTx/>
              <a:uFillTx/>
              <a:latin typeface="Times New Roman"/>
              <a:ea typeface="+mn-ea"/>
              <a:cs typeface="Times New Roman"/>
            </a:endParaRPr>
          </a:p>
        </p:txBody>
      </p:sp>
      <p:sp>
        <p:nvSpPr>
          <p:cNvPr id="3" name="TextBox 2">
            <a:extLst>
              <a:ext uri="{FF2B5EF4-FFF2-40B4-BE49-F238E27FC236}">
                <a16:creationId xmlns:a16="http://schemas.microsoft.com/office/drawing/2014/main" id="{180FBEAA-5020-4CF2-ABD9-9D69068EEEFF}"/>
              </a:ext>
            </a:extLst>
          </p:cNvPr>
          <p:cNvSpPr txBox="1"/>
          <p:nvPr/>
        </p:nvSpPr>
        <p:spPr>
          <a:xfrm>
            <a:off x="6085786" y="1822840"/>
            <a:ext cx="3009131" cy="1372299"/>
          </a:xfrm>
          <a:prstGeom prst="rect">
            <a:avLst/>
          </a:prstGeom>
          <a:noFill/>
        </p:spPr>
        <p:txBody>
          <a:bodyPr wrap="square" rtlCol="0">
            <a:sp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Suggested Care Plans:</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125"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mn-cs"/>
              </a:rPr>
              <a:t>Pneumonia</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Fall Injury Risk</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Skin Injury Risk</a:t>
            </a: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055"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6" name="TextBox 35">
            <a:extLst>
              <a:ext uri="{FF2B5EF4-FFF2-40B4-BE49-F238E27FC236}">
                <a16:creationId xmlns:a16="http://schemas.microsoft.com/office/drawing/2014/main" id="{7BFA69F7-AE79-4E82-AD43-629EDD7CE8EB}"/>
              </a:ext>
            </a:extLst>
          </p:cNvPr>
          <p:cNvSpPr txBox="1"/>
          <p:nvPr/>
        </p:nvSpPr>
        <p:spPr>
          <a:xfrm>
            <a:off x="2742328" y="1586598"/>
            <a:ext cx="2125984" cy="259045"/>
          </a:xfrm>
          <a:prstGeom prst="rect">
            <a:avLst/>
          </a:prstGeom>
          <a:noFill/>
        </p:spPr>
        <p:txBody>
          <a:bodyPr wrap="square" rtlCol="0">
            <a:spAutoFit/>
          </a:bodyPr>
          <a:lstStyle/>
          <a:p>
            <a:pPr marL="8929" marR="23102" lvl="0" indent="0" algn="l" defTabSz="642915" rtl="0" eaLnBrk="1" fontAlgn="auto" latinLnBrk="0" hangingPunct="1">
              <a:lnSpc>
                <a:spcPts val="1339"/>
              </a:lnSpc>
              <a:spcBef>
                <a:spcPts val="0"/>
              </a:spcBef>
              <a:spcAft>
                <a:spcPts val="0"/>
              </a:spcAft>
              <a:buClrTx/>
              <a:buSzTx/>
              <a:buFontTx/>
              <a:buNone/>
              <a:tabLst/>
              <a:defRPr/>
            </a:pPr>
            <a:r>
              <a:rPr kumimoji="0" lang="en-US" sz="1266" b="1" i="0" u="none" strike="noStrike" kern="1200" cap="none" spc="-128" normalizeH="0" baseline="0" noProof="0" dirty="0">
                <a:ln>
                  <a:noFill/>
                </a:ln>
                <a:solidFill>
                  <a:srgbClr val="F5821F"/>
                </a:solidFill>
                <a:effectLst/>
                <a:uLnTx/>
                <a:uFillTx/>
                <a:latin typeface="Times New Roman"/>
                <a:ea typeface="+mn-ea"/>
                <a:cs typeface="Times New Roman"/>
              </a:rPr>
              <a:t>PLAN OF CARE</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Tree>
    <p:extLst>
      <p:ext uri="{BB962C8B-B14F-4D97-AF65-F5344CB8AC3E}">
        <p14:creationId xmlns:p14="http://schemas.microsoft.com/office/powerpoint/2010/main" val="3321763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bject 27"/>
          <p:cNvSpPr/>
          <p:nvPr/>
        </p:nvSpPr>
        <p:spPr>
          <a:xfrm>
            <a:off x="7197328" y="273013"/>
            <a:ext cx="202266" cy="219938"/>
          </a:xfrm>
          <a:custGeom>
            <a:avLst/>
            <a:gdLst/>
            <a:ahLst/>
            <a:cxnLst/>
            <a:rect l="l" t="t" r="r" b="b"/>
            <a:pathLst>
              <a:path w="287667" h="312801">
                <a:moveTo>
                  <a:pt x="279527" y="232981"/>
                </a:moveTo>
                <a:lnTo>
                  <a:pt x="276916" y="240546"/>
                </a:lnTo>
                <a:lnTo>
                  <a:pt x="271028" y="253498"/>
                </a:lnTo>
                <a:lnTo>
                  <a:pt x="263732" y="264989"/>
                </a:lnTo>
                <a:lnTo>
                  <a:pt x="255011" y="274826"/>
                </a:lnTo>
                <a:lnTo>
                  <a:pt x="244844" y="282815"/>
                </a:lnTo>
                <a:lnTo>
                  <a:pt x="233214" y="288761"/>
                </a:lnTo>
                <a:lnTo>
                  <a:pt x="220100" y="292471"/>
                </a:lnTo>
                <a:lnTo>
                  <a:pt x="205486" y="293750"/>
                </a:lnTo>
                <a:lnTo>
                  <a:pt x="114566" y="293750"/>
                </a:lnTo>
                <a:lnTo>
                  <a:pt x="107728" y="293248"/>
                </a:lnTo>
                <a:lnTo>
                  <a:pt x="97959" y="288007"/>
                </a:lnTo>
                <a:lnTo>
                  <a:pt x="93852" y="275935"/>
                </a:lnTo>
                <a:lnTo>
                  <a:pt x="93014" y="255638"/>
                </a:lnTo>
                <a:lnTo>
                  <a:pt x="93014" y="157327"/>
                </a:lnTo>
                <a:lnTo>
                  <a:pt x="183959" y="157327"/>
                </a:lnTo>
                <a:lnTo>
                  <a:pt x="196111" y="158269"/>
                </a:lnTo>
                <a:lnTo>
                  <a:pt x="208856" y="162758"/>
                </a:lnTo>
                <a:lnTo>
                  <a:pt x="217578" y="171143"/>
                </a:lnTo>
                <a:lnTo>
                  <a:pt x="222963" y="183638"/>
                </a:lnTo>
                <a:lnTo>
                  <a:pt x="225691" y="200456"/>
                </a:lnTo>
                <a:lnTo>
                  <a:pt x="234276" y="200456"/>
                </a:lnTo>
                <a:lnTo>
                  <a:pt x="234276" y="95199"/>
                </a:lnTo>
                <a:lnTo>
                  <a:pt x="225691" y="95199"/>
                </a:lnTo>
                <a:lnTo>
                  <a:pt x="223826" y="107933"/>
                </a:lnTo>
                <a:lnTo>
                  <a:pt x="219273" y="121643"/>
                </a:lnTo>
                <a:lnTo>
                  <a:pt x="211670" y="131078"/>
                </a:lnTo>
                <a:lnTo>
                  <a:pt x="200178" y="136526"/>
                </a:lnTo>
                <a:lnTo>
                  <a:pt x="183959" y="138277"/>
                </a:lnTo>
                <a:lnTo>
                  <a:pt x="93014" y="138277"/>
                </a:lnTo>
                <a:lnTo>
                  <a:pt x="93014" y="50723"/>
                </a:lnTo>
                <a:lnTo>
                  <a:pt x="93622" y="31657"/>
                </a:lnTo>
                <a:lnTo>
                  <a:pt x="98530" y="21623"/>
                </a:lnTo>
                <a:lnTo>
                  <a:pt x="112407" y="19100"/>
                </a:lnTo>
                <a:lnTo>
                  <a:pt x="195286" y="19103"/>
                </a:lnTo>
                <a:lnTo>
                  <a:pt x="211403" y="20210"/>
                </a:lnTo>
                <a:lnTo>
                  <a:pt x="224822" y="23609"/>
                </a:lnTo>
                <a:lnTo>
                  <a:pt x="235629" y="29719"/>
                </a:lnTo>
                <a:lnTo>
                  <a:pt x="243912" y="38959"/>
                </a:lnTo>
                <a:lnTo>
                  <a:pt x="249756" y="51747"/>
                </a:lnTo>
                <a:lnTo>
                  <a:pt x="253250" y="68503"/>
                </a:lnTo>
                <a:lnTo>
                  <a:pt x="261886" y="68503"/>
                </a:lnTo>
                <a:lnTo>
                  <a:pt x="257987" y="0"/>
                </a:lnTo>
                <a:lnTo>
                  <a:pt x="0" y="0"/>
                </a:lnTo>
                <a:lnTo>
                  <a:pt x="0" y="9016"/>
                </a:lnTo>
                <a:lnTo>
                  <a:pt x="1410" y="9021"/>
                </a:lnTo>
                <a:lnTo>
                  <a:pt x="18919" y="10203"/>
                </a:lnTo>
                <a:lnTo>
                  <a:pt x="31711" y="14202"/>
                </a:lnTo>
                <a:lnTo>
                  <a:pt x="40261" y="22059"/>
                </a:lnTo>
                <a:lnTo>
                  <a:pt x="45044" y="34817"/>
                </a:lnTo>
                <a:lnTo>
                  <a:pt x="46532" y="53517"/>
                </a:lnTo>
                <a:lnTo>
                  <a:pt x="46527" y="260779"/>
                </a:lnTo>
                <a:lnTo>
                  <a:pt x="44838" y="279017"/>
                </a:lnTo>
                <a:lnTo>
                  <a:pt x="39817" y="291402"/>
                </a:lnTo>
                <a:lnTo>
                  <a:pt x="30988" y="298970"/>
                </a:lnTo>
                <a:lnTo>
                  <a:pt x="17874" y="302752"/>
                </a:lnTo>
                <a:lnTo>
                  <a:pt x="0" y="303783"/>
                </a:lnTo>
                <a:lnTo>
                  <a:pt x="0" y="312800"/>
                </a:lnTo>
                <a:lnTo>
                  <a:pt x="264439" y="312800"/>
                </a:lnTo>
                <a:lnTo>
                  <a:pt x="287667"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object 28"/>
          <p:cNvSpPr/>
          <p:nvPr/>
        </p:nvSpPr>
        <p:spPr>
          <a:xfrm>
            <a:off x="7397748" y="273013"/>
            <a:ext cx="192604" cy="219938"/>
          </a:xfrm>
          <a:custGeom>
            <a:avLst/>
            <a:gdLst/>
            <a:ahLst/>
            <a:cxnLst/>
            <a:rect l="l" t="t" r="r" b="b"/>
            <a:pathLst>
              <a:path w="273926" h="312801">
                <a:moveTo>
                  <a:pt x="263626" y="230720"/>
                </a:moveTo>
                <a:lnTo>
                  <a:pt x="254350" y="250108"/>
                </a:lnTo>
                <a:lnTo>
                  <a:pt x="246935" y="261900"/>
                </a:lnTo>
                <a:lnTo>
                  <a:pt x="238716" y="271780"/>
                </a:lnTo>
                <a:lnTo>
                  <a:pt x="229476" y="279784"/>
                </a:lnTo>
                <a:lnTo>
                  <a:pt x="218997" y="285948"/>
                </a:lnTo>
                <a:lnTo>
                  <a:pt x="207064" y="290306"/>
                </a:lnTo>
                <a:lnTo>
                  <a:pt x="193459" y="292895"/>
                </a:lnTo>
                <a:lnTo>
                  <a:pt x="177965" y="293750"/>
                </a:lnTo>
                <a:lnTo>
                  <a:pt x="116319" y="293750"/>
                </a:lnTo>
                <a:lnTo>
                  <a:pt x="103518" y="291860"/>
                </a:lnTo>
                <a:lnTo>
                  <a:pt x="94331" y="284253"/>
                </a:lnTo>
                <a:lnTo>
                  <a:pt x="90713" y="271286"/>
                </a:lnTo>
                <a:lnTo>
                  <a:pt x="90081" y="253466"/>
                </a:lnTo>
                <a:lnTo>
                  <a:pt x="90087" y="52028"/>
                </a:lnTo>
                <a:lnTo>
                  <a:pt x="91780" y="33763"/>
                </a:lnTo>
                <a:lnTo>
                  <a:pt x="96794" y="21372"/>
                </a:lnTo>
                <a:lnTo>
                  <a:pt x="105612" y="13812"/>
                </a:lnTo>
                <a:lnTo>
                  <a:pt x="118716" y="10042"/>
                </a:lnTo>
                <a:lnTo>
                  <a:pt x="136588" y="9016"/>
                </a:lnTo>
                <a:lnTo>
                  <a:pt x="136588" y="0"/>
                </a:lnTo>
                <a:lnTo>
                  <a:pt x="0" y="0"/>
                </a:lnTo>
                <a:lnTo>
                  <a:pt x="0" y="9016"/>
                </a:lnTo>
                <a:lnTo>
                  <a:pt x="14966" y="10511"/>
                </a:lnTo>
                <a:lnTo>
                  <a:pt x="28155" y="14358"/>
                </a:lnTo>
                <a:lnTo>
                  <a:pt x="37006" y="21749"/>
                </a:lnTo>
                <a:lnTo>
                  <a:pt x="41980" y="34041"/>
                </a:lnTo>
                <a:lnTo>
                  <a:pt x="43535" y="52590"/>
                </a:lnTo>
                <a:lnTo>
                  <a:pt x="43535" y="260261"/>
                </a:lnTo>
                <a:lnTo>
                  <a:pt x="42426" y="276421"/>
                </a:lnTo>
                <a:lnTo>
                  <a:pt x="37999" y="289580"/>
                </a:lnTo>
                <a:lnTo>
                  <a:pt x="29760" y="297621"/>
                </a:lnTo>
                <a:lnTo>
                  <a:pt x="17247" y="301903"/>
                </a:lnTo>
                <a:lnTo>
                  <a:pt x="0" y="303783"/>
                </a:lnTo>
                <a:lnTo>
                  <a:pt x="0" y="312800"/>
                </a:lnTo>
                <a:lnTo>
                  <a:pt x="247650" y="312800"/>
                </a:lnTo>
                <a:lnTo>
                  <a:pt x="273926" y="232625"/>
                </a:lnTo>
                <a:lnTo>
                  <a:pt x="263626" y="23072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bject 29"/>
          <p:cNvSpPr/>
          <p:nvPr/>
        </p:nvSpPr>
        <p:spPr>
          <a:xfrm>
            <a:off x="7595780" y="267888"/>
            <a:ext cx="141160" cy="230162"/>
          </a:xfrm>
          <a:custGeom>
            <a:avLst/>
            <a:gdLst/>
            <a:ahLst/>
            <a:cxnLst/>
            <a:rect l="l" t="t" r="r" b="b"/>
            <a:pathLst>
              <a:path w="200761" h="327342">
                <a:moveTo>
                  <a:pt x="10321" y="68942"/>
                </a:moveTo>
                <a:lnTo>
                  <a:pt x="9067" y="84797"/>
                </a:lnTo>
                <a:lnTo>
                  <a:pt x="9094" y="86841"/>
                </a:lnTo>
                <a:lnTo>
                  <a:pt x="10343" y="98306"/>
                </a:lnTo>
                <a:lnTo>
                  <a:pt x="13392" y="108843"/>
                </a:lnTo>
                <a:lnTo>
                  <a:pt x="18155" y="118652"/>
                </a:lnTo>
                <a:lnTo>
                  <a:pt x="24544" y="127932"/>
                </a:lnTo>
                <a:lnTo>
                  <a:pt x="32474" y="136881"/>
                </a:lnTo>
                <a:lnTo>
                  <a:pt x="41858" y="145698"/>
                </a:lnTo>
                <a:lnTo>
                  <a:pt x="52609" y="154583"/>
                </a:lnTo>
                <a:lnTo>
                  <a:pt x="64641" y="163733"/>
                </a:lnTo>
                <a:lnTo>
                  <a:pt x="77867" y="173349"/>
                </a:lnTo>
                <a:lnTo>
                  <a:pt x="92202" y="183629"/>
                </a:lnTo>
                <a:lnTo>
                  <a:pt x="104017" y="192251"/>
                </a:lnTo>
                <a:lnTo>
                  <a:pt x="117107" y="202385"/>
                </a:lnTo>
                <a:lnTo>
                  <a:pt x="128553" y="212154"/>
                </a:lnTo>
                <a:lnTo>
                  <a:pt x="138219" y="221667"/>
                </a:lnTo>
                <a:lnTo>
                  <a:pt x="145972" y="231033"/>
                </a:lnTo>
                <a:lnTo>
                  <a:pt x="151675" y="240363"/>
                </a:lnTo>
                <a:lnTo>
                  <a:pt x="155196" y="249764"/>
                </a:lnTo>
                <a:lnTo>
                  <a:pt x="156400" y="259346"/>
                </a:lnTo>
                <a:lnTo>
                  <a:pt x="154334" y="274067"/>
                </a:lnTo>
                <a:lnTo>
                  <a:pt x="148555" y="286590"/>
                </a:lnTo>
                <a:lnTo>
                  <a:pt x="139643" y="296736"/>
                </a:lnTo>
                <a:lnTo>
                  <a:pt x="128181" y="304271"/>
                </a:lnTo>
                <a:lnTo>
                  <a:pt x="114751" y="308962"/>
                </a:lnTo>
                <a:lnTo>
                  <a:pt x="99936" y="310578"/>
                </a:lnTo>
                <a:lnTo>
                  <a:pt x="89934" y="309904"/>
                </a:lnTo>
                <a:lnTo>
                  <a:pt x="76906" y="306822"/>
                </a:lnTo>
                <a:lnTo>
                  <a:pt x="65028" y="301521"/>
                </a:lnTo>
                <a:lnTo>
                  <a:pt x="54235" y="294302"/>
                </a:lnTo>
                <a:lnTo>
                  <a:pt x="44462" y="285468"/>
                </a:lnTo>
                <a:lnTo>
                  <a:pt x="35645" y="275322"/>
                </a:lnTo>
                <a:lnTo>
                  <a:pt x="27718" y="264166"/>
                </a:lnTo>
                <a:lnTo>
                  <a:pt x="20618" y="252302"/>
                </a:lnTo>
                <a:lnTo>
                  <a:pt x="14278" y="240032"/>
                </a:lnTo>
                <a:lnTo>
                  <a:pt x="8636" y="227660"/>
                </a:lnTo>
                <a:lnTo>
                  <a:pt x="0" y="227660"/>
                </a:lnTo>
                <a:lnTo>
                  <a:pt x="16802" y="324192"/>
                </a:lnTo>
                <a:lnTo>
                  <a:pt x="25463" y="324192"/>
                </a:lnTo>
                <a:lnTo>
                  <a:pt x="26352" y="317449"/>
                </a:lnTo>
                <a:lnTo>
                  <a:pt x="31876" y="314299"/>
                </a:lnTo>
                <a:lnTo>
                  <a:pt x="37096" y="314299"/>
                </a:lnTo>
                <a:lnTo>
                  <a:pt x="41516" y="314915"/>
                </a:lnTo>
                <a:lnTo>
                  <a:pt x="50668" y="317201"/>
                </a:lnTo>
                <a:lnTo>
                  <a:pt x="62825" y="320407"/>
                </a:lnTo>
                <a:lnTo>
                  <a:pt x="77157" y="323713"/>
                </a:lnTo>
                <a:lnTo>
                  <a:pt x="92835" y="326298"/>
                </a:lnTo>
                <a:lnTo>
                  <a:pt x="109029" y="327342"/>
                </a:lnTo>
                <a:lnTo>
                  <a:pt x="109480" y="327341"/>
                </a:lnTo>
                <a:lnTo>
                  <a:pt x="124538" y="326156"/>
                </a:lnTo>
                <a:lnTo>
                  <a:pt x="138729" y="322841"/>
                </a:lnTo>
                <a:lnTo>
                  <a:pt x="151884" y="317559"/>
                </a:lnTo>
                <a:lnTo>
                  <a:pt x="163836" y="310469"/>
                </a:lnTo>
                <a:lnTo>
                  <a:pt x="174413" y="301732"/>
                </a:lnTo>
                <a:lnTo>
                  <a:pt x="183447" y="291509"/>
                </a:lnTo>
                <a:lnTo>
                  <a:pt x="190768" y="279961"/>
                </a:lnTo>
                <a:lnTo>
                  <a:pt x="196207" y="267249"/>
                </a:lnTo>
                <a:lnTo>
                  <a:pt x="199594" y="253534"/>
                </a:lnTo>
                <a:lnTo>
                  <a:pt x="200761" y="238975"/>
                </a:lnTo>
                <a:lnTo>
                  <a:pt x="200208" y="229802"/>
                </a:lnTo>
                <a:lnTo>
                  <a:pt x="197518" y="217185"/>
                </a:lnTo>
                <a:lnTo>
                  <a:pt x="192813" y="205469"/>
                </a:lnTo>
                <a:lnTo>
                  <a:pt x="186339" y="194585"/>
                </a:lnTo>
                <a:lnTo>
                  <a:pt x="178341" y="184463"/>
                </a:lnTo>
                <a:lnTo>
                  <a:pt x="169065" y="175032"/>
                </a:lnTo>
                <a:lnTo>
                  <a:pt x="158755" y="166225"/>
                </a:lnTo>
                <a:lnTo>
                  <a:pt x="147657" y="157969"/>
                </a:lnTo>
                <a:lnTo>
                  <a:pt x="136016" y="150196"/>
                </a:lnTo>
                <a:lnTo>
                  <a:pt x="124079" y="142836"/>
                </a:lnTo>
                <a:lnTo>
                  <a:pt x="114617" y="137112"/>
                </a:lnTo>
                <a:lnTo>
                  <a:pt x="99689" y="127857"/>
                </a:lnTo>
                <a:lnTo>
                  <a:pt x="86381" y="119077"/>
                </a:lnTo>
                <a:lnTo>
                  <a:pt x="74808" y="110584"/>
                </a:lnTo>
                <a:lnTo>
                  <a:pt x="65084" y="102185"/>
                </a:lnTo>
                <a:lnTo>
                  <a:pt x="57322" y="93693"/>
                </a:lnTo>
                <a:lnTo>
                  <a:pt x="51636" y="84916"/>
                </a:lnTo>
                <a:lnTo>
                  <a:pt x="48142" y="75664"/>
                </a:lnTo>
                <a:lnTo>
                  <a:pt x="46951" y="65747"/>
                </a:lnTo>
                <a:lnTo>
                  <a:pt x="47315" y="59506"/>
                </a:lnTo>
                <a:lnTo>
                  <a:pt x="51053" y="45528"/>
                </a:lnTo>
                <a:lnTo>
                  <a:pt x="58334" y="33757"/>
                </a:lnTo>
                <a:lnTo>
                  <a:pt x="68536" y="24710"/>
                </a:lnTo>
                <a:lnTo>
                  <a:pt x="81036" y="18903"/>
                </a:lnTo>
                <a:lnTo>
                  <a:pt x="95211" y="16852"/>
                </a:lnTo>
                <a:lnTo>
                  <a:pt x="95535" y="16853"/>
                </a:lnTo>
                <a:lnTo>
                  <a:pt x="109355" y="18312"/>
                </a:lnTo>
                <a:lnTo>
                  <a:pt x="121957" y="22352"/>
                </a:lnTo>
                <a:lnTo>
                  <a:pt x="133357" y="28658"/>
                </a:lnTo>
                <a:lnTo>
                  <a:pt x="143574" y="36919"/>
                </a:lnTo>
                <a:lnTo>
                  <a:pt x="152623" y="46820"/>
                </a:lnTo>
                <a:lnTo>
                  <a:pt x="160524" y="58051"/>
                </a:lnTo>
                <a:lnTo>
                  <a:pt x="167294" y="70297"/>
                </a:lnTo>
                <a:lnTo>
                  <a:pt x="172949" y="83245"/>
                </a:lnTo>
                <a:lnTo>
                  <a:pt x="177507" y="96583"/>
                </a:lnTo>
                <a:lnTo>
                  <a:pt x="186093" y="96583"/>
                </a:lnTo>
                <a:lnTo>
                  <a:pt x="176225" y="3314"/>
                </a:lnTo>
                <a:lnTo>
                  <a:pt x="167627" y="3314"/>
                </a:lnTo>
                <a:lnTo>
                  <a:pt x="168846" y="10477"/>
                </a:lnTo>
                <a:lnTo>
                  <a:pt x="167627" y="14592"/>
                </a:lnTo>
                <a:lnTo>
                  <a:pt x="158018" y="14521"/>
                </a:lnTo>
                <a:lnTo>
                  <a:pt x="148019" y="12591"/>
                </a:lnTo>
                <a:lnTo>
                  <a:pt x="137982" y="8937"/>
                </a:lnTo>
                <a:lnTo>
                  <a:pt x="126710" y="4796"/>
                </a:lnTo>
                <a:lnTo>
                  <a:pt x="113009" y="1405"/>
                </a:lnTo>
                <a:lnTo>
                  <a:pt x="95681" y="0"/>
                </a:lnTo>
                <a:lnTo>
                  <a:pt x="87648" y="311"/>
                </a:lnTo>
                <a:lnTo>
                  <a:pt x="73426" y="2477"/>
                </a:lnTo>
                <a:lnTo>
                  <a:pt x="60081" y="6636"/>
                </a:lnTo>
                <a:lnTo>
                  <a:pt x="47824" y="12709"/>
                </a:lnTo>
                <a:lnTo>
                  <a:pt x="36869" y="20614"/>
                </a:lnTo>
                <a:lnTo>
                  <a:pt x="27428" y="30271"/>
                </a:lnTo>
                <a:lnTo>
                  <a:pt x="19714" y="41598"/>
                </a:lnTo>
                <a:lnTo>
                  <a:pt x="13941" y="54516"/>
                </a:lnTo>
                <a:lnTo>
                  <a:pt x="10321" y="68942"/>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bject 30"/>
          <p:cNvSpPr/>
          <p:nvPr/>
        </p:nvSpPr>
        <p:spPr>
          <a:xfrm>
            <a:off x="7737814" y="273013"/>
            <a:ext cx="202338" cy="219938"/>
          </a:xfrm>
          <a:custGeom>
            <a:avLst/>
            <a:gdLst/>
            <a:ahLst/>
            <a:cxnLst/>
            <a:rect l="l" t="t" r="r" b="b"/>
            <a:pathLst>
              <a:path w="287769" h="312801">
                <a:moveTo>
                  <a:pt x="279552" y="232981"/>
                </a:moveTo>
                <a:lnTo>
                  <a:pt x="276943" y="240536"/>
                </a:lnTo>
                <a:lnTo>
                  <a:pt x="271058" y="253490"/>
                </a:lnTo>
                <a:lnTo>
                  <a:pt x="263768" y="264984"/>
                </a:lnTo>
                <a:lnTo>
                  <a:pt x="255054" y="274822"/>
                </a:lnTo>
                <a:lnTo>
                  <a:pt x="244894" y="282812"/>
                </a:lnTo>
                <a:lnTo>
                  <a:pt x="233266" y="288760"/>
                </a:lnTo>
                <a:lnTo>
                  <a:pt x="220150" y="292470"/>
                </a:lnTo>
                <a:lnTo>
                  <a:pt x="205524" y="293750"/>
                </a:lnTo>
                <a:lnTo>
                  <a:pt x="114617" y="293750"/>
                </a:lnTo>
                <a:lnTo>
                  <a:pt x="107743" y="293243"/>
                </a:lnTo>
                <a:lnTo>
                  <a:pt x="97971" y="287995"/>
                </a:lnTo>
                <a:lnTo>
                  <a:pt x="93848" y="275924"/>
                </a:lnTo>
                <a:lnTo>
                  <a:pt x="93002" y="255638"/>
                </a:lnTo>
                <a:lnTo>
                  <a:pt x="93002" y="157327"/>
                </a:lnTo>
                <a:lnTo>
                  <a:pt x="183972" y="157327"/>
                </a:lnTo>
                <a:lnTo>
                  <a:pt x="196132" y="158270"/>
                </a:lnTo>
                <a:lnTo>
                  <a:pt x="208870" y="162761"/>
                </a:lnTo>
                <a:lnTo>
                  <a:pt x="217590" y="171146"/>
                </a:lnTo>
                <a:lnTo>
                  <a:pt x="222977" y="183640"/>
                </a:lnTo>
                <a:lnTo>
                  <a:pt x="225717" y="200456"/>
                </a:lnTo>
                <a:lnTo>
                  <a:pt x="234302" y="200456"/>
                </a:lnTo>
                <a:lnTo>
                  <a:pt x="234302" y="95199"/>
                </a:lnTo>
                <a:lnTo>
                  <a:pt x="225717" y="95199"/>
                </a:lnTo>
                <a:lnTo>
                  <a:pt x="223839" y="107942"/>
                </a:lnTo>
                <a:lnTo>
                  <a:pt x="219288" y="121649"/>
                </a:lnTo>
                <a:lnTo>
                  <a:pt x="211694" y="131080"/>
                </a:lnTo>
                <a:lnTo>
                  <a:pt x="200206" y="136526"/>
                </a:lnTo>
                <a:lnTo>
                  <a:pt x="183972" y="138277"/>
                </a:lnTo>
                <a:lnTo>
                  <a:pt x="93002" y="138277"/>
                </a:lnTo>
                <a:lnTo>
                  <a:pt x="93002" y="50723"/>
                </a:lnTo>
                <a:lnTo>
                  <a:pt x="93614" y="31635"/>
                </a:lnTo>
                <a:lnTo>
                  <a:pt x="98538" y="21619"/>
                </a:lnTo>
                <a:lnTo>
                  <a:pt x="112445" y="19100"/>
                </a:lnTo>
                <a:lnTo>
                  <a:pt x="195307" y="19104"/>
                </a:lnTo>
                <a:lnTo>
                  <a:pt x="211444" y="20221"/>
                </a:lnTo>
                <a:lnTo>
                  <a:pt x="224871" y="23628"/>
                </a:lnTo>
                <a:lnTo>
                  <a:pt x="235677" y="29742"/>
                </a:lnTo>
                <a:lnTo>
                  <a:pt x="243952" y="38981"/>
                </a:lnTo>
                <a:lnTo>
                  <a:pt x="249784" y="51762"/>
                </a:lnTo>
                <a:lnTo>
                  <a:pt x="253263" y="68503"/>
                </a:lnTo>
                <a:lnTo>
                  <a:pt x="261861" y="68503"/>
                </a:lnTo>
                <a:lnTo>
                  <a:pt x="258025" y="0"/>
                </a:lnTo>
                <a:lnTo>
                  <a:pt x="0" y="0"/>
                </a:lnTo>
                <a:lnTo>
                  <a:pt x="0" y="9016"/>
                </a:lnTo>
                <a:lnTo>
                  <a:pt x="1382" y="9021"/>
                </a:lnTo>
                <a:lnTo>
                  <a:pt x="18909" y="10200"/>
                </a:lnTo>
                <a:lnTo>
                  <a:pt x="31704" y="14197"/>
                </a:lnTo>
                <a:lnTo>
                  <a:pt x="40248" y="22053"/>
                </a:lnTo>
                <a:lnTo>
                  <a:pt x="45022" y="34812"/>
                </a:lnTo>
                <a:lnTo>
                  <a:pt x="46507" y="53517"/>
                </a:lnTo>
                <a:lnTo>
                  <a:pt x="46501" y="260748"/>
                </a:lnTo>
                <a:lnTo>
                  <a:pt x="44822" y="278999"/>
                </a:lnTo>
                <a:lnTo>
                  <a:pt x="39815" y="291394"/>
                </a:lnTo>
                <a:lnTo>
                  <a:pt x="30996" y="298967"/>
                </a:lnTo>
                <a:lnTo>
                  <a:pt x="17886" y="302752"/>
                </a:lnTo>
                <a:lnTo>
                  <a:pt x="0" y="303783"/>
                </a:lnTo>
                <a:lnTo>
                  <a:pt x="0" y="312800"/>
                </a:lnTo>
                <a:lnTo>
                  <a:pt x="264502" y="312800"/>
                </a:lnTo>
                <a:lnTo>
                  <a:pt x="287769" y="236232"/>
                </a:lnTo>
                <a:lnTo>
                  <a:pt x="279552"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object 31"/>
          <p:cNvSpPr/>
          <p:nvPr/>
        </p:nvSpPr>
        <p:spPr>
          <a:xfrm>
            <a:off x="7923469" y="273014"/>
            <a:ext cx="228341" cy="222528"/>
          </a:xfrm>
          <a:custGeom>
            <a:avLst/>
            <a:gdLst/>
            <a:ahLst/>
            <a:cxnLst/>
            <a:rect l="l" t="t" r="r" b="b"/>
            <a:pathLst>
              <a:path w="324751" h="316484">
                <a:moveTo>
                  <a:pt x="91997" y="24011"/>
                </a:moveTo>
                <a:lnTo>
                  <a:pt x="99871" y="13459"/>
                </a:lnTo>
                <a:lnTo>
                  <a:pt x="114130" y="9572"/>
                </a:lnTo>
                <a:lnTo>
                  <a:pt x="127977" y="9016"/>
                </a:lnTo>
                <a:lnTo>
                  <a:pt x="127977" y="0"/>
                </a:lnTo>
                <a:lnTo>
                  <a:pt x="0" y="0"/>
                </a:lnTo>
                <a:lnTo>
                  <a:pt x="0" y="9016"/>
                </a:lnTo>
                <a:lnTo>
                  <a:pt x="2948" y="9122"/>
                </a:lnTo>
                <a:lnTo>
                  <a:pt x="15857" y="12204"/>
                </a:lnTo>
                <a:lnTo>
                  <a:pt x="26953" y="19165"/>
                </a:lnTo>
                <a:lnTo>
                  <a:pt x="35356" y="29476"/>
                </a:lnTo>
                <a:lnTo>
                  <a:pt x="42551" y="42746"/>
                </a:lnTo>
                <a:lnTo>
                  <a:pt x="48256" y="54127"/>
                </a:lnTo>
                <a:lnTo>
                  <a:pt x="53680" y="65620"/>
                </a:lnTo>
                <a:lnTo>
                  <a:pt x="58887" y="77198"/>
                </a:lnTo>
                <a:lnTo>
                  <a:pt x="63944" y="88835"/>
                </a:lnTo>
                <a:lnTo>
                  <a:pt x="68916" y="100505"/>
                </a:lnTo>
                <a:lnTo>
                  <a:pt x="73868" y="112181"/>
                </a:lnTo>
                <a:lnTo>
                  <a:pt x="78866" y="123837"/>
                </a:lnTo>
                <a:lnTo>
                  <a:pt x="161975" y="316483"/>
                </a:lnTo>
                <a:lnTo>
                  <a:pt x="168401" y="316483"/>
                </a:lnTo>
                <a:lnTo>
                  <a:pt x="268338" y="86550"/>
                </a:lnTo>
                <a:lnTo>
                  <a:pt x="270549" y="81247"/>
                </a:lnTo>
                <a:lnTo>
                  <a:pt x="275260" y="69665"/>
                </a:lnTo>
                <a:lnTo>
                  <a:pt x="280885" y="56348"/>
                </a:lnTo>
                <a:lnTo>
                  <a:pt x="287239" y="42690"/>
                </a:lnTo>
                <a:lnTo>
                  <a:pt x="294141" y="30083"/>
                </a:lnTo>
                <a:lnTo>
                  <a:pt x="301406" y="19918"/>
                </a:lnTo>
                <a:lnTo>
                  <a:pt x="308851" y="13588"/>
                </a:lnTo>
                <a:lnTo>
                  <a:pt x="314007" y="10883"/>
                </a:lnTo>
                <a:lnTo>
                  <a:pt x="319557" y="10020"/>
                </a:lnTo>
                <a:lnTo>
                  <a:pt x="324751" y="9016"/>
                </a:lnTo>
                <a:lnTo>
                  <a:pt x="324751" y="0"/>
                </a:lnTo>
                <a:lnTo>
                  <a:pt x="233476" y="0"/>
                </a:lnTo>
                <a:lnTo>
                  <a:pt x="233476" y="9016"/>
                </a:lnTo>
                <a:lnTo>
                  <a:pt x="250754" y="11440"/>
                </a:lnTo>
                <a:lnTo>
                  <a:pt x="262460" y="16957"/>
                </a:lnTo>
                <a:lnTo>
                  <a:pt x="266280" y="25387"/>
                </a:lnTo>
                <a:lnTo>
                  <a:pt x="266156" y="28939"/>
                </a:lnTo>
                <a:lnTo>
                  <a:pt x="264646" y="38693"/>
                </a:lnTo>
                <a:lnTo>
                  <a:pt x="260974" y="51036"/>
                </a:lnTo>
                <a:lnTo>
                  <a:pt x="254584" y="67132"/>
                </a:lnTo>
                <a:lnTo>
                  <a:pt x="179616" y="241617"/>
                </a:lnTo>
                <a:lnTo>
                  <a:pt x="117182" y="92976"/>
                </a:lnTo>
                <a:lnTo>
                  <a:pt x="113376" y="83986"/>
                </a:lnTo>
                <a:lnTo>
                  <a:pt x="106936" y="68608"/>
                </a:lnTo>
                <a:lnTo>
                  <a:pt x="101056" y="54194"/>
                </a:lnTo>
                <a:lnTo>
                  <a:pt x="96237" y="41751"/>
                </a:lnTo>
                <a:lnTo>
                  <a:pt x="92979" y="32283"/>
                </a:lnTo>
                <a:lnTo>
                  <a:pt x="91782" y="26796"/>
                </a:lnTo>
                <a:lnTo>
                  <a:pt x="91997" y="2401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object 32"/>
          <p:cNvSpPr/>
          <p:nvPr/>
        </p:nvSpPr>
        <p:spPr>
          <a:xfrm>
            <a:off x="8153924" y="273013"/>
            <a:ext cx="98146" cy="219938"/>
          </a:xfrm>
          <a:custGeom>
            <a:avLst/>
            <a:gdLst/>
            <a:ahLst/>
            <a:cxnLst/>
            <a:rect l="l" t="t" r="r" b="b"/>
            <a:pathLst>
              <a:path w="139585" h="312801">
                <a:moveTo>
                  <a:pt x="46570" y="259397"/>
                </a:moveTo>
                <a:lnTo>
                  <a:pt x="44869" y="279043"/>
                </a:lnTo>
                <a:lnTo>
                  <a:pt x="39840" y="291415"/>
                </a:lnTo>
                <a:lnTo>
                  <a:pt x="31003" y="298975"/>
                </a:lnTo>
                <a:lnTo>
                  <a:pt x="17881" y="302753"/>
                </a:lnTo>
                <a:lnTo>
                  <a:pt x="0" y="303783"/>
                </a:lnTo>
                <a:lnTo>
                  <a:pt x="0" y="312800"/>
                </a:lnTo>
                <a:lnTo>
                  <a:pt x="139585" y="312800"/>
                </a:lnTo>
                <a:lnTo>
                  <a:pt x="139585" y="303783"/>
                </a:lnTo>
                <a:lnTo>
                  <a:pt x="138180" y="303779"/>
                </a:lnTo>
                <a:lnTo>
                  <a:pt x="120634" y="302594"/>
                </a:lnTo>
                <a:lnTo>
                  <a:pt x="107812" y="298593"/>
                </a:lnTo>
                <a:lnTo>
                  <a:pt x="99240" y="290746"/>
                </a:lnTo>
                <a:lnTo>
                  <a:pt x="94444" y="278024"/>
                </a:lnTo>
                <a:lnTo>
                  <a:pt x="92951" y="259397"/>
                </a:lnTo>
                <a:lnTo>
                  <a:pt x="92959" y="51875"/>
                </a:lnTo>
                <a:lnTo>
                  <a:pt x="94681" y="33676"/>
                </a:lnTo>
                <a:lnTo>
                  <a:pt x="99733" y="21330"/>
                </a:lnTo>
                <a:lnTo>
                  <a:pt x="108586" y="13797"/>
                </a:lnTo>
                <a:lnTo>
                  <a:pt x="121713" y="10038"/>
                </a:lnTo>
                <a:lnTo>
                  <a:pt x="139585" y="9016"/>
                </a:lnTo>
                <a:lnTo>
                  <a:pt x="139585" y="0"/>
                </a:lnTo>
                <a:lnTo>
                  <a:pt x="0" y="0"/>
                </a:lnTo>
                <a:lnTo>
                  <a:pt x="0" y="9016"/>
                </a:lnTo>
                <a:lnTo>
                  <a:pt x="1454" y="9021"/>
                </a:lnTo>
                <a:lnTo>
                  <a:pt x="18959" y="10207"/>
                </a:lnTo>
                <a:lnTo>
                  <a:pt x="31749" y="14209"/>
                </a:lnTo>
                <a:lnTo>
                  <a:pt x="40299" y="22068"/>
                </a:lnTo>
                <a:lnTo>
                  <a:pt x="45081" y="34823"/>
                </a:lnTo>
                <a:lnTo>
                  <a:pt x="46570" y="53517"/>
                </a:lnTo>
                <a:lnTo>
                  <a:pt x="46570" y="25939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bject 33"/>
          <p:cNvSpPr/>
          <p:nvPr/>
        </p:nvSpPr>
        <p:spPr>
          <a:xfrm>
            <a:off x="8265583" y="273013"/>
            <a:ext cx="202319" cy="219938"/>
          </a:xfrm>
          <a:custGeom>
            <a:avLst/>
            <a:gdLst/>
            <a:ahLst/>
            <a:cxnLst/>
            <a:rect l="l" t="t" r="r" b="b"/>
            <a:pathLst>
              <a:path w="287743" h="312801">
                <a:moveTo>
                  <a:pt x="279527" y="232981"/>
                </a:moveTo>
                <a:lnTo>
                  <a:pt x="276917" y="240565"/>
                </a:lnTo>
                <a:lnTo>
                  <a:pt x="271048" y="253513"/>
                </a:lnTo>
                <a:lnTo>
                  <a:pt x="263772" y="265000"/>
                </a:lnTo>
                <a:lnTo>
                  <a:pt x="255065" y="274833"/>
                </a:lnTo>
                <a:lnTo>
                  <a:pt x="244903" y="282819"/>
                </a:lnTo>
                <a:lnTo>
                  <a:pt x="233264" y="288763"/>
                </a:lnTo>
                <a:lnTo>
                  <a:pt x="220124" y="292471"/>
                </a:lnTo>
                <a:lnTo>
                  <a:pt x="205460" y="293750"/>
                </a:lnTo>
                <a:lnTo>
                  <a:pt x="114579" y="293750"/>
                </a:lnTo>
                <a:lnTo>
                  <a:pt x="107757" y="293250"/>
                </a:lnTo>
                <a:lnTo>
                  <a:pt x="97991" y="288011"/>
                </a:lnTo>
                <a:lnTo>
                  <a:pt x="93888" y="275940"/>
                </a:lnTo>
                <a:lnTo>
                  <a:pt x="93052" y="255638"/>
                </a:lnTo>
                <a:lnTo>
                  <a:pt x="93052" y="157327"/>
                </a:lnTo>
                <a:lnTo>
                  <a:pt x="183908" y="157327"/>
                </a:lnTo>
                <a:lnTo>
                  <a:pt x="196122" y="158276"/>
                </a:lnTo>
                <a:lnTo>
                  <a:pt x="208868" y="162773"/>
                </a:lnTo>
                <a:lnTo>
                  <a:pt x="217594" y="171159"/>
                </a:lnTo>
                <a:lnTo>
                  <a:pt x="222980" y="183649"/>
                </a:lnTo>
                <a:lnTo>
                  <a:pt x="225704" y="200456"/>
                </a:lnTo>
                <a:lnTo>
                  <a:pt x="234340" y="200456"/>
                </a:lnTo>
                <a:lnTo>
                  <a:pt x="234340" y="95199"/>
                </a:lnTo>
                <a:lnTo>
                  <a:pt x="225704" y="95199"/>
                </a:lnTo>
                <a:lnTo>
                  <a:pt x="223860" y="107980"/>
                </a:lnTo>
                <a:lnTo>
                  <a:pt x="219304" y="121669"/>
                </a:lnTo>
                <a:lnTo>
                  <a:pt x="211672" y="131089"/>
                </a:lnTo>
                <a:lnTo>
                  <a:pt x="200145" y="136528"/>
                </a:lnTo>
                <a:lnTo>
                  <a:pt x="183908" y="138277"/>
                </a:lnTo>
                <a:lnTo>
                  <a:pt x="93052" y="138277"/>
                </a:lnTo>
                <a:lnTo>
                  <a:pt x="93052" y="50723"/>
                </a:lnTo>
                <a:lnTo>
                  <a:pt x="93667" y="31624"/>
                </a:lnTo>
                <a:lnTo>
                  <a:pt x="98599" y="21617"/>
                </a:lnTo>
                <a:lnTo>
                  <a:pt x="112522" y="19100"/>
                </a:lnTo>
                <a:lnTo>
                  <a:pt x="195377" y="19104"/>
                </a:lnTo>
                <a:lnTo>
                  <a:pt x="211528" y="20228"/>
                </a:lnTo>
                <a:lnTo>
                  <a:pt x="224950" y="23640"/>
                </a:lnTo>
                <a:lnTo>
                  <a:pt x="235741" y="29756"/>
                </a:lnTo>
                <a:lnTo>
                  <a:pt x="244002" y="38995"/>
                </a:lnTo>
                <a:lnTo>
                  <a:pt x="249831" y="51771"/>
                </a:lnTo>
                <a:lnTo>
                  <a:pt x="253326" y="68503"/>
                </a:lnTo>
                <a:lnTo>
                  <a:pt x="261861" y="68503"/>
                </a:lnTo>
                <a:lnTo>
                  <a:pt x="258025" y="0"/>
                </a:lnTo>
                <a:lnTo>
                  <a:pt x="0" y="0"/>
                </a:lnTo>
                <a:lnTo>
                  <a:pt x="0" y="9016"/>
                </a:lnTo>
                <a:lnTo>
                  <a:pt x="1385" y="9021"/>
                </a:lnTo>
                <a:lnTo>
                  <a:pt x="18934" y="10200"/>
                </a:lnTo>
                <a:lnTo>
                  <a:pt x="31731" y="14197"/>
                </a:lnTo>
                <a:lnTo>
                  <a:pt x="40266" y="22053"/>
                </a:lnTo>
                <a:lnTo>
                  <a:pt x="45028" y="34812"/>
                </a:lnTo>
                <a:lnTo>
                  <a:pt x="46507" y="53517"/>
                </a:lnTo>
                <a:lnTo>
                  <a:pt x="46501" y="260748"/>
                </a:lnTo>
                <a:lnTo>
                  <a:pt x="44829" y="278999"/>
                </a:lnTo>
                <a:lnTo>
                  <a:pt x="39833" y="291394"/>
                </a:lnTo>
                <a:lnTo>
                  <a:pt x="31024" y="298967"/>
                </a:lnTo>
                <a:lnTo>
                  <a:pt x="17910" y="302752"/>
                </a:lnTo>
                <a:lnTo>
                  <a:pt x="0" y="303783"/>
                </a:lnTo>
                <a:lnTo>
                  <a:pt x="0" y="312800"/>
                </a:lnTo>
                <a:lnTo>
                  <a:pt x="264439" y="312800"/>
                </a:lnTo>
                <a:lnTo>
                  <a:pt x="287743"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34"/>
          <p:cNvSpPr/>
          <p:nvPr/>
        </p:nvSpPr>
        <p:spPr>
          <a:xfrm>
            <a:off x="8467537" y="273015"/>
            <a:ext cx="221045" cy="219938"/>
          </a:xfrm>
          <a:custGeom>
            <a:avLst/>
            <a:gdLst/>
            <a:ahLst/>
            <a:cxnLst/>
            <a:rect l="l" t="t" r="r" b="b"/>
            <a:pathLst>
              <a:path w="314375" h="312801">
                <a:moveTo>
                  <a:pt x="314375" y="303783"/>
                </a:moveTo>
                <a:lnTo>
                  <a:pt x="300670" y="299079"/>
                </a:lnTo>
                <a:lnTo>
                  <a:pt x="290550" y="293294"/>
                </a:lnTo>
                <a:lnTo>
                  <a:pt x="281779" y="285095"/>
                </a:lnTo>
                <a:lnTo>
                  <a:pt x="276504" y="278803"/>
                </a:lnTo>
                <a:lnTo>
                  <a:pt x="181749" y="161886"/>
                </a:lnTo>
                <a:lnTo>
                  <a:pt x="196480" y="158116"/>
                </a:lnTo>
                <a:lnTo>
                  <a:pt x="210046" y="153248"/>
                </a:lnTo>
                <a:lnTo>
                  <a:pt x="222306" y="147169"/>
                </a:lnTo>
                <a:lnTo>
                  <a:pt x="233118" y="139769"/>
                </a:lnTo>
                <a:lnTo>
                  <a:pt x="242342" y="130933"/>
                </a:lnTo>
                <a:lnTo>
                  <a:pt x="249835" y="120551"/>
                </a:lnTo>
                <a:lnTo>
                  <a:pt x="255456" y="108509"/>
                </a:lnTo>
                <a:lnTo>
                  <a:pt x="259064" y="94696"/>
                </a:lnTo>
                <a:lnTo>
                  <a:pt x="260517" y="78998"/>
                </a:lnTo>
                <a:lnTo>
                  <a:pt x="260540" y="76606"/>
                </a:lnTo>
                <a:lnTo>
                  <a:pt x="259020" y="58622"/>
                </a:lnTo>
                <a:lnTo>
                  <a:pt x="254681" y="43691"/>
                </a:lnTo>
                <a:lnTo>
                  <a:pt x="247856" y="31531"/>
                </a:lnTo>
                <a:lnTo>
                  <a:pt x="238877" y="21857"/>
                </a:lnTo>
                <a:lnTo>
                  <a:pt x="228075" y="14388"/>
                </a:lnTo>
                <a:lnTo>
                  <a:pt x="215784" y="8840"/>
                </a:lnTo>
                <a:lnTo>
                  <a:pt x="202336" y="4930"/>
                </a:lnTo>
                <a:lnTo>
                  <a:pt x="188062" y="2374"/>
                </a:lnTo>
                <a:lnTo>
                  <a:pt x="173296" y="890"/>
                </a:lnTo>
                <a:lnTo>
                  <a:pt x="158369" y="193"/>
                </a:lnTo>
                <a:lnTo>
                  <a:pt x="143614" y="2"/>
                </a:lnTo>
                <a:lnTo>
                  <a:pt x="0" y="0"/>
                </a:lnTo>
                <a:lnTo>
                  <a:pt x="0" y="9016"/>
                </a:lnTo>
                <a:lnTo>
                  <a:pt x="17847" y="10042"/>
                </a:lnTo>
                <a:lnTo>
                  <a:pt x="30948" y="13812"/>
                </a:lnTo>
                <a:lnTo>
                  <a:pt x="39774" y="21372"/>
                </a:lnTo>
                <a:lnTo>
                  <a:pt x="44801" y="33763"/>
                </a:lnTo>
                <a:lnTo>
                  <a:pt x="103533" y="18338"/>
                </a:lnTo>
                <a:lnTo>
                  <a:pt x="121766" y="16832"/>
                </a:lnTo>
                <a:lnTo>
                  <a:pt x="126542" y="16814"/>
                </a:lnTo>
                <a:lnTo>
                  <a:pt x="141816" y="17509"/>
                </a:lnTo>
                <a:lnTo>
                  <a:pt x="156370" y="19742"/>
                </a:lnTo>
                <a:lnTo>
                  <a:pt x="169834" y="23743"/>
                </a:lnTo>
                <a:lnTo>
                  <a:pt x="181839" y="29736"/>
                </a:lnTo>
                <a:lnTo>
                  <a:pt x="192017" y="37950"/>
                </a:lnTo>
                <a:lnTo>
                  <a:pt x="199998" y="48611"/>
                </a:lnTo>
                <a:lnTo>
                  <a:pt x="205414" y="61946"/>
                </a:lnTo>
                <a:lnTo>
                  <a:pt x="207894" y="78182"/>
                </a:lnTo>
                <a:lnTo>
                  <a:pt x="208013" y="83007"/>
                </a:lnTo>
                <a:lnTo>
                  <a:pt x="206455" y="99861"/>
                </a:lnTo>
                <a:lnTo>
                  <a:pt x="202008" y="114037"/>
                </a:lnTo>
                <a:lnTo>
                  <a:pt x="195011" y="125725"/>
                </a:lnTo>
                <a:lnTo>
                  <a:pt x="185804" y="135111"/>
                </a:lnTo>
                <a:lnTo>
                  <a:pt x="174724" y="142386"/>
                </a:lnTo>
                <a:lnTo>
                  <a:pt x="162113" y="147737"/>
                </a:lnTo>
                <a:lnTo>
                  <a:pt x="148307" y="151354"/>
                </a:lnTo>
                <a:lnTo>
                  <a:pt x="133648" y="153423"/>
                </a:lnTo>
                <a:lnTo>
                  <a:pt x="132219" y="173189"/>
                </a:lnTo>
                <a:lnTo>
                  <a:pt x="244652" y="312800"/>
                </a:lnTo>
                <a:lnTo>
                  <a:pt x="314375" y="312800"/>
                </a:lnTo>
                <a:lnTo>
                  <a:pt x="314375" y="303783"/>
                </a:lnTo>
                <a:close/>
              </a:path>
              <a:path w="314375" h="312801">
                <a:moveTo>
                  <a:pt x="139547" y="312800"/>
                </a:moveTo>
                <a:lnTo>
                  <a:pt x="139547" y="303783"/>
                </a:lnTo>
                <a:lnTo>
                  <a:pt x="121667" y="302754"/>
                </a:lnTo>
                <a:lnTo>
                  <a:pt x="108541" y="298978"/>
                </a:lnTo>
                <a:lnTo>
                  <a:pt x="99696" y="291423"/>
                </a:lnTo>
                <a:lnTo>
                  <a:pt x="94659" y="279060"/>
                </a:lnTo>
                <a:lnTo>
                  <a:pt x="92957" y="260855"/>
                </a:lnTo>
                <a:lnTo>
                  <a:pt x="92951" y="173189"/>
                </a:lnTo>
                <a:lnTo>
                  <a:pt x="132219" y="173189"/>
                </a:lnTo>
                <a:lnTo>
                  <a:pt x="133648" y="153423"/>
                </a:lnTo>
                <a:lnTo>
                  <a:pt x="118474" y="154135"/>
                </a:lnTo>
                <a:lnTo>
                  <a:pt x="92951" y="154139"/>
                </a:lnTo>
                <a:lnTo>
                  <a:pt x="92951" y="39408"/>
                </a:lnTo>
                <a:lnTo>
                  <a:pt x="95040" y="24720"/>
                </a:lnTo>
                <a:lnTo>
                  <a:pt x="103533" y="18338"/>
                </a:lnTo>
                <a:lnTo>
                  <a:pt x="44801" y="33763"/>
                </a:lnTo>
                <a:lnTo>
                  <a:pt x="46500" y="52028"/>
                </a:lnTo>
                <a:lnTo>
                  <a:pt x="46507" y="259397"/>
                </a:lnTo>
                <a:lnTo>
                  <a:pt x="45014" y="278046"/>
                </a:lnTo>
                <a:lnTo>
                  <a:pt x="40217" y="290775"/>
                </a:lnTo>
                <a:lnTo>
                  <a:pt x="31643" y="298617"/>
                </a:lnTo>
                <a:lnTo>
                  <a:pt x="18814" y="302607"/>
                </a:lnTo>
                <a:lnTo>
                  <a:pt x="1257" y="303780"/>
                </a:lnTo>
                <a:lnTo>
                  <a:pt x="0" y="303783"/>
                </a:lnTo>
                <a:lnTo>
                  <a:pt x="0" y="312800"/>
                </a:lnTo>
                <a:lnTo>
                  <a:pt x="139547" y="3128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5"/>
          <p:cNvSpPr/>
          <p:nvPr/>
        </p:nvSpPr>
        <p:spPr>
          <a:xfrm>
            <a:off x="473271" y="314717"/>
            <a:ext cx="137392" cy="172914"/>
          </a:xfrm>
          <a:custGeom>
            <a:avLst/>
            <a:gdLst/>
            <a:ahLst/>
            <a:cxnLst/>
            <a:rect l="l" t="t" r="r" b="b"/>
            <a:pathLst>
              <a:path w="195402" h="245922">
                <a:moveTo>
                  <a:pt x="35286" y="117306"/>
                </a:moveTo>
                <a:lnTo>
                  <a:pt x="36531" y="103026"/>
                </a:lnTo>
                <a:lnTo>
                  <a:pt x="39488" y="89346"/>
                </a:lnTo>
                <a:lnTo>
                  <a:pt x="44162" y="76478"/>
                </a:lnTo>
                <a:lnTo>
                  <a:pt x="50557" y="64635"/>
                </a:lnTo>
                <a:lnTo>
                  <a:pt x="58677" y="54030"/>
                </a:lnTo>
                <a:lnTo>
                  <a:pt x="68527" y="44876"/>
                </a:lnTo>
                <a:lnTo>
                  <a:pt x="80111" y="37385"/>
                </a:lnTo>
                <a:lnTo>
                  <a:pt x="93434" y="31772"/>
                </a:lnTo>
                <a:lnTo>
                  <a:pt x="108499" y="28247"/>
                </a:lnTo>
                <a:lnTo>
                  <a:pt x="125310" y="27025"/>
                </a:lnTo>
                <a:lnTo>
                  <a:pt x="131111" y="27142"/>
                </a:lnTo>
                <a:lnTo>
                  <a:pt x="143066" y="28077"/>
                </a:lnTo>
                <a:lnTo>
                  <a:pt x="155696" y="30052"/>
                </a:lnTo>
                <a:lnTo>
                  <a:pt x="168583" y="33191"/>
                </a:lnTo>
                <a:lnTo>
                  <a:pt x="181306" y="37623"/>
                </a:lnTo>
                <a:lnTo>
                  <a:pt x="193446" y="43472"/>
                </a:lnTo>
                <a:lnTo>
                  <a:pt x="195402" y="13715"/>
                </a:lnTo>
                <a:lnTo>
                  <a:pt x="184701" y="9126"/>
                </a:lnTo>
                <a:lnTo>
                  <a:pt x="173914" y="5608"/>
                </a:lnTo>
                <a:lnTo>
                  <a:pt x="161366" y="2704"/>
                </a:lnTo>
                <a:lnTo>
                  <a:pt x="147006" y="728"/>
                </a:lnTo>
                <a:lnTo>
                  <a:pt x="130784" y="0"/>
                </a:lnTo>
                <a:lnTo>
                  <a:pt x="126835" y="40"/>
                </a:lnTo>
                <a:lnTo>
                  <a:pt x="109616" y="1232"/>
                </a:lnTo>
                <a:lnTo>
                  <a:pt x="93617" y="4001"/>
                </a:lnTo>
                <a:lnTo>
                  <a:pt x="78846" y="8249"/>
                </a:lnTo>
                <a:lnTo>
                  <a:pt x="65312" y="13877"/>
                </a:lnTo>
                <a:lnTo>
                  <a:pt x="53024" y="20789"/>
                </a:lnTo>
                <a:lnTo>
                  <a:pt x="41992" y="28885"/>
                </a:lnTo>
                <a:lnTo>
                  <a:pt x="32223" y="38067"/>
                </a:lnTo>
                <a:lnTo>
                  <a:pt x="23728" y="48238"/>
                </a:lnTo>
                <a:lnTo>
                  <a:pt x="16515" y="59300"/>
                </a:lnTo>
                <a:lnTo>
                  <a:pt x="10594" y="71155"/>
                </a:lnTo>
                <a:lnTo>
                  <a:pt x="5972" y="83703"/>
                </a:lnTo>
                <a:lnTo>
                  <a:pt x="2660" y="96848"/>
                </a:lnTo>
                <a:lnTo>
                  <a:pt x="666" y="110492"/>
                </a:lnTo>
                <a:lnTo>
                  <a:pt x="0" y="124536"/>
                </a:lnTo>
                <a:lnTo>
                  <a:pt x="630" y="138065"/>
                </a:lnTo>
                <a:lnTo>
                  <a:pt x="3013" y="153464"/>
                </a:lnTo>
                <a:lnTo>
                  <a:pt x="7057" y="167764"/>
                </a:lnTo>
                <a:lnTo>
                  <a:pt x="12644" y="180943"/>
                </a:lnTo>
                <a:lnTo>
                  <a:pt x="19651" y="192976"/>
                </a:lnTo>
                <a:lnTo>
                  <a:pt x="27960" y="203841"/>
                </a:lnTo>
                <a:lnTo>
                  <a:pt x="37450" y="213514"/>
                </a:lnTo>
                <a:lnTo>
                  <a:pt x="48001" y="221973"/>
                </a:lnTo>
                <a:lnTo>
                  <a:pt x="59494" y="229194"/>
                </a:lnTo>
                <a:lnTo>
                  <a:pt x="71808" y="235155"/>
                </a:lnTo>
                <a:lnTo>
                  <a:pt x="84822" y="239831"/>
                </a:lnTo>
                <a:lnTo>
                  <a:pt x="98418" y="243199"/>
                </a:lnTo>
                <a:lnTo>
                  <a:pt x="112475" y="245238"/>
                </a:lnTo>
                <a:lnTo>
                  <a:pt x="126872" y="245922"/>
                </a:lnTo>
                <a:lnTo>
                  <a:pt x="132177" y="245840"/>
                </a:lnTo>
                <a:lnTo>
                  <a:pt x="144006" y="245133"/>
                </a:lnTo>
                <a:lnTo>
                  <a:pt x="156948" y="243572"/>
                </a:lnTo>
                <a:lnTo>
                  <a:pt x="170298" y="241002"/>
                </a:lnTo>
                <a:lnTo>
                  <a:pt x="183352" y="237269"/>
                </a:lnTo>
                <a:lnTo>
                  <a:pt x="195402" y="232219"/>
                </a:lnTo>
                <a:lnTo>
                  <a:pt x="193446" y="202056"/>
                </a:lnTo>
                <a:lnTo>
                  <a:pt x="188941" y="204345"/>
                </a:lnTo>
                <a:lnTo>
                  <a:pt x="175560" y="209939"/>
                </a:lnTo>
                <a:lnTo>
                  <a:pt x="162324" y="213968"/>
                </a:lnTo>
                <a:lnTo>
                  <a:pt x="149651" y="216618"/>
                </a:lnTo>
                <a:lnTo>
                  <a:pt x="137958" y="218072"/>
                </a:lnTo>
                <a:lnTo>
                  <a:pt x="127660" y="218516"/>
                </a:lnTo>
                <a:lnTo>
                  <a:pt x="118573" y="218118"/>
                </a:lnTo>
                <a:lnTo>
                  <a:pt x="104205" y="215746"/>
                </a:lnTo>
                <a:lnTo>
                  <a:pt x="90889" y="211362"/>
                </a:lnTo>
                <a:lnTo>
                  <a:pt x="78733" y="205105"/>
                </a:lnTo>
                <a:lnTo>
                  <a:pt x="67845" y="197115"/>
                </a:lnTo>
                <a:lnTo>
                  <a:pt x="58335" y="187532"/>
                </a:lnTo>
                <a:lnTo>
                  <a:pt x="50311" y="176496"/>
                </a:lnTo>
                <a:lnTo>
                  <a:pt x="43881" y="164147"/>
                </a:lnTo>
                <a:lnTo>
                  <a:pt x="39154" y="150626"/>
                </a:lnTo>
                <a:lnTo>
                  <a:pt x="36238" y="136071"/>
                </a:lnTo>
                <a:lnTo>
                  <a:pt x="35242" y="120624"/>
                </a:lnTo>
                <a:lnTo>
                  <a:pt x="35286" y="11730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object 26"/>
          <p:cNvSpPr/>
          <p:nvPr/>
        </p:nvSpPr>
        <p:spPr>
          <a:xfrm>
            <a:off x="629089"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1"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5" y="-88506"/>
                </a:lnTo>
                <a:lnTo>
                  <a:pt x="136270"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601" y="-65859"/>
                </a:lnTo>
                <a:lnTo>
                  <a:pt x="85750" y="-67360"/>
                </a:lnTo>
                <a:lnTo>
                  <a:pt x="93254" y="-66844"/>
                </a:lnTo>
                <a:lnTo>
                  <a:pt x="105137" y="-63160"/>
                </a:lnTo>
                <a:lnTo>
                  <a:pt x="114522" y="-55803"/>
                </a:lnTo>
                <a:lnTo>
                  <a:pt x="121328" y="-44622"/>
                </a:lnTo>
                <a:lnTo>
                  <a:pt x="125473" y="-29466"/>
                </a:lnTo>
                <a:lnTo>
                  <a:pt x="126872" y="-10185"/>
                </a:lnTo>
                <a:lnTo>
                  <a:pt x="126872"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3"/>
          <p:cNvSpPr/>
          <p:nvPr/>
        </p:nvSpPr>
        <p:spPr>
          <a:xfrm>
            <a:off x="775818" y="356571"/>
            <a:ext cx="75992" cy="127756"/>
          </a:xfrm>
          <a:custGeom>
            <a:avLst/>
            <a:gdLst/>
            <a:ahLst/>
            <a:cxnLst/>
            <a:rect l="l" t="t" r="r" b="b"/>
            <a:pathLst>
              <a:path w="108077" h="181698">
                <a:moveTo>
                  <a:pt x="83400" y="39560"/>
                </a:moveTo>
                <a:lnTo>
                  <a:pt x="108077" y="32499"/>
                </a:lnTo>
                <a:lnTo>
                  <a:pt x="107683" y="28587"/>
                </a:lnTo>
                <a:lnTo>
                  <a:pt x="107289" y="25844"/>
                </a:lnTo>
                <a:lnTo>
                  <a:pt x="106000" y="20626"/>
                </a:lnTo>
                <a:lnTo>
                  <a:pt x="99644" y="9293"/>
                </a:lnTo>
                <a:lnTo>
                  <a:pt x="88841" y="2355"/>
                </a:lnTo>
                <a:lnTo>
                  <a:pt x="73228" y="0"/>
                </a:lnTo>
                <a:lnTo>
                  <a:pt x="72122" y="19"/>
                </a:lnTo>
                <a:lnTo>
                  <a:pt x="58986" y="3260"/>
                </a:lnTo>
                <a:lnTo>
                  <a:pt x="47814" y="10886"/>
                </a:lnTo>
                <a:lnTo>
                  <a:pt x="38989" y="21199"/>
                </a:lnTo>
                <a:lnTo>
                  <a:pt x="32893" y="32499"/>
                </a:lnTo>
                <a:lnTo>
                  <a:pt x="27800" y="4305"/>
                </a:lnTo>
                <a:lnTo>
                  <a:pt x="0" y="4305"/>
                </a:lnTo>
                <a:lnTo>
                  <a:pt x="1562" y="18414"/>
                </a:lnTo>
                <a:lnTo>
                  <a:pt x="2339" y="26086"/>
                </a:lnTo>
                <a:lnTo>
                  <a:pt x="2957" y="38564"/>
                </a:lnTo>
                <a:lnTo>
                  <a:pt x="3136" y="52870"/>
                </a:lnTo>
                <a:lnTo>
                  <a:pt x="3136" y="181698"/>
                </a:lnTo>
                <a:lnTo>
                  <a:pt x="33286" y="181698"/>
                </a:lnTo>
                <a:lnTo>
                  <a:pt x="33286" y="68922"/>
                </a:lnTo>
                <a:lnTo>
                  <a:pt x="35886" y="62885"/>
                </a:lnTo>
                <a:lnTo>
                  <a:pt x="42221" y="50341"/>
                </a:lnTo>
                <a:lnTo>
                  <a:pt x="50365" y="38075"/>
                </a:lnTo>
                <a:lnTo>
                  <a:pt x="60017" y="28756"/>
                </a:lnTo>
                <a:lnTo>
                  <a:pt x="70878" y="25057"/>
                </a:lnTo>
                <a:lnTo>
                  <a:pt x="82232" y="25057"/>
                </a:lnTo>
                <a:lnTo>
                  <a:pt x="83400" y="36804"/>
                </a:lnTo>
                <a:lnTo>
                  <a:pt x="83400" y="3956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4"/>
          <p:cNvSpPr/>
          <p:nvPr/>
        </p:nvSpPr>
        <p:spPr>
          <a:xfrm>
            <a:off x="861154" y="356297"/>
            <a:ext cx="105728" cy="131337"/>
          </a:xfrm>
          <a:custGeom>
            <a:avLst/>
            <a:gdLst/>
            <a:ahLst/>
            <a:cxnLst/>
            <a:rect l="l" t="t" r="r" b="b"/>
            <a:pathLst>
              <a:path w="150368" h="186791">
                <a:moveTo>
                  <a:pt x="35010" y="62876"/>
                </a:moveTo>
                <a:lnTo>
                  <a:pt x="41098" y="46175"/>
                </a:lnTo>
                <a:lnTo>
                  <a:pt x="48702" y="35750"/>
                </a:lnTo>
                <a:lnTo>
                  <a:pt x="53657" y="30937"/>
                </a:lnTo>
                <a:lnTo>
                  <a:pt x="55600" y="28968"/>
                </a:lnTo>
                <a:lnTo>
                  <a:pt x="68922" y="25450"/>
                </a:lnTo>
                <a:lnTo>
                  <a:pt x="77139" y="25450"/>
                </a:lnTo>
                <a:lnTo>
                  <a:pt x="90999" y="26113"/>
                </a:lnTo>
                <a:lnTo>
                  <a:pt x="104434" y="29335"/>
                </a:lnTo>
                <a:lnTo>
                  <a:pt x="114238" y="36308"/>
                </a:lnTo>
                <a:lnTo>
                  <a:pt x="120413" y="48200"/>
                </a:lnTo>
                <a:lnTo>
                  <a:pt x="122961" y="66179"/>
                </a:lnTo>
                <a:lnTo>
                  <a:pt x="34455" y="66179"/>
                </a:lnTo>
                <a:lnTo>
                  <a:pt x="31330" y="89674"/>
                </a:lnTo>
                <a:lnTo>
                  <a:pt x="150367" y="89674"/>
                </a:lnTo>
                <a:lnTo>
                  <a:pt x="150367" y="89275"/>
                </a:lnTo>
                <a:lnTo>
                  <a:pt x="149692" y="70094"/>
                </a:lnTo>
                <a:lnTo>
                  <a:pt x="147602" y="53325"/>
                </a:lnTo>
                <a:lnTo>
                  <a:pt x="143927" y="38928"/>
                </a:lnTo>
                <a:lnTo>
                  <a:pt x="138497" y="26860"/>
                </a:lnTo>
                <a:lnTo>
                  <a:pt x="131144" y="17079"/>
                </a:lnTo>
                <a:lnTo>
                  <a:pt x="121697" y="9544"/>
                </a:lnTo>
                <a:lnTo>
                  <a:pt x="109986" y="4214"/>
                </a:lnTo>
                <a:lnTo>
                  <a:pt x="95842" y="1046"/>
                </a:lnTo>
                <a:lnTo>
                  <a:pt x="79095" y="0"/>
                </a:lnTo>
                <a:lnTo>
                  <a:pt x="69735" y="474"/>
                </a:lnTo>
                <a:lnTo>
                  <a:pt x="56568" y="2924"/>
                </a:lnTo>
                <a:lnTo>
                  <a:pt x="44434" y="7432"/>
                </a:lnTo>
                <a:lnTo>
                  <a:pt x="35010" y="62876"/>
                </a:lnTo>
                <a:close/>
              </a:path>
              <a:path w="150368" h="186791">
                <a:moveTo>
                  <a:pt x="0" y="93980"/>
                </a:moveTo>
                <a:lnTo>
                  <a:pt x="461" y="105315"/>
                </a:lnTo>
                <a:lnTo>
                  <a:pt x="2938" y="121659"/>
                </a:lnTo>
                <a:lnTo>
                  <a:pt x="7407" y="136345"/>
                </a:lnTo>
                <a:lnTo>
                  <a:pt x="13692" y="149304"/>
                </a:lnTo>
                <a:lnTo>
                  <a:pt x="21622" y="160463"/>
                </a:lnTo>
                <a:lnTo>
                  <a:pt x="31023" y="169752"/>
                </a:lnTo>
                <a:lnTo>
                  <a:pt x="41723" y="177100"/>
                </a:lnTo>
                <a:lnTo>
                  <a:pt x="53548" y="182437"/>
                </a:lnTo>
                <a:lnTo>
                  <a:pt x="66325" y="185691"/>
                </a:lnTo>
                <a:lnTo>
                  <a:pt x="79882" y="186791"/>
                </a:lnTo>
                <a:lnTo>
                  <a:pt x="88087" y="186632"/>
                </a:lnTo>
                <a:lnTo>
                  <a:pt x="103693" y="185288"/>
                </a:lnTo>
                <a:lnTo>
                  <a:pt x="116964" y="182744"/>
                </a:lnTo>
                <a:lnTo>
                  <a:pt x="128347" y="179203"/>
                </a:lnTo>
                <a:lnTo>
                  <a:pt x="138287" y="174867"/>
                </a:lnTo>
                <a:lnTo>
                  <a:pt x="147231" y="169938"/>
                </a:lnTo>
                <a:lnTo>
                  <a:pt x="144894" y="142544"/>
                </a:lnTo>
                <a:lnTo>
                  <a:pt x="139995" y="146247"/>
                </a:lnTo>
                <a:lnTo>
                  <a:pt x="129511" y="151889"/>
                </a:lnTo>
                <a:lnTo>
                  <a:pt x="116861" y="156570"/>
                </a:lnTo>
                <a:lnTo>
                  <a:pt x="103100" y="159765"/>
                </a:lnTo>
                <a:lnTo>
                  <a:pt x="89280" y="160947"/>
                </a:lnTo>
                <a:lnTo>
                  <a:pt x="75824" y="159821"/>
                </a:lnTo>
                <a:lnTo>
                  <a:pt x="62559" y="155850"/>
                </a:lnTo>
                <a:lnTo>
                  <a:pt x="51528" y="149086"/>
                </a:lnTo>
                <a:lnTo>
                  <a:pt x="42811" y="139602"/>
                </a:lnTo>
                <a:lnTo>
                  <a:pt x="36486" y="127470"/>
                </a:lnTo>
                <a:lnTo>
                  <a:pt x="32632" y="112763"/>
                </a:lnTo>
                <a:lnTo>
                  <a:pt x="31330" y="95554"/>
                </a:lnTo>
                <a:lnTo>
                  <a:pt x="31330" y="89674"/>
                </a:lnTo>
                <a:lnTo>
                  <a:pt x="34455" y="66179"/>
                </a:lnTo>
                <a:lnTo>
                  <a:pt x="35010" y="62876"/>
                </a:lnTo>
                <a:lnTo>
                  <a:pt x="44434" y="7432"/>
                </a:lnTo>
                <a:lnTo>
                  <a:pt x="33472" y="13966"/>
                </a:lnTo>
                <a:lnTo>
                  <a:pt x="23818" y="22495"/>
                </a:lnTo>
                <a:lnTo>
                  <a:pt x="15610" y="32988"/>
                </a:lnTo>
                <a:lnTo>
                  <a:pt x="8987" y="45415"/>
                </a:lnTo>
                <a:lnTo>
                  <a:pt x="4086" y="59743"/>
                </a:lnTo>
                <a:lnTo>
                  <a:pt x="1044" y="75941"/>
                </a:lnTo>
                <a:lnTo>
                  <a:pt x="0" y="9398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22"/>
          <p:cNvSpPr/>
          <p:nvPr/>
        </p:nvSpPr>
        <p:spPr>
          <a:xfrm>
            <a:off x="1050010" y="318031"/>
            <a:ext cx="110406" cy="166298"/>
          </a:xfrm>
          <a:custGeom>
            <a:avLst/>
            <a:gdLst/>
            <a:ahLst/>
            <a:cxnLst/>
            <a:rect l="l" t="t" r="r" b="b"/>
            <a:pathLst>
              <a:path w="157022" h="236512">
                <a:moveTo>
                  <a:pt x="71455" y="126006"/>
                </a:moveTo>
                <a:lnTo>
                  <a:pt x="55994" y="126873"/>
                </a:lnTo>
                <a:lnTo>
                  <a:pt x="45034" y="126873"/>
                </a:lnTo>
                <a:lnTo>
                  <a:pt x="30937" y="125298"/>
                </a:lnTo>
                <a:lnTo>
                  <a:pt x="30937" y="25057"/>
                </a:lnTo>
                <a:lnTo>
                  <a:pt x="0" y="0"/>
                </a:lnTo>
                <a:lnTo>
                  <a:pt x="0" y="236512"/>
                </a:lnTo>
                <a:lnTo>
                  <a:pt x="30937" y="236512"/>
                </a:lnTo>
                <a:lnTo>
                  <a:pt x="30937" y="150749"/>
                </a:lnTo>
                <a:lnTo>
                  <a:pt x="43178" y="151895"/>
                </a:lnTo>
                <a:lnTo>
                  <a:pt x="56058" y="152535"/>
                </a:lnTo>
                <a:lnTo>
                  <a:pt x="71455" y="126006"/>
                </a:lnTo>
                <a:close/>
              </a:path>
              <a:path w="157022" h="236512">
                <a:moveTo>
                  <a:pt x="30937" y="25057"/>
                </a:moveTo>
                <a:lnTo>
                  <a:pt x="66179" y="25057"/>
                </a:lnTo>
                <a:lnTo>
                  <a:pt x="81534" y="26150"/>
                </a:lnTo>
                <a:lnTo>
                  <a:pt x="96054" y="30091"/>
                </a:lnTo>
                <a:lnTo>
                  <a:pt x="107326" y="36913"/>
                </a:lnTo>
                <a:lnTo>
                  <a:pt x="115364" y="46630"/>
                </a:lnTo>
                <a:lnTo>
                  <a:pt x="120178" y="59251"/>
                </a:lnTo>
                <a:lnTo>
                  <a:pt x="121780" y="74790"/>
                </a:lnTo>
                <a:lnTo>
                  <a:pt x="121018" y="85191"/>
                </a:lnTo>
                <a:lnTo>
                  <a:pt x="116679" y="99384"/>
                </a:lnTo>
                <a:lnTo>
                  <a:pt x="108991" y="110212"/>
                </a:lnTo>
                <a:lnTo>
                  <a:pt x="98516" y="118025"/>
                </a:lnTo>
                <a:lnTo>
                  <a:pt x="85817" y="123173"/>
                </a:lnTo>
                <a:lnTo>
                  <a:pt x="71455" y="126006"/>
                </a:lnTo>
                <a:lnTo>
                  <a:pt x="56058" y="152535"/>
                </a:lnTo>
                <a:lnTo>
                  <a:pt x="67741" y="152704"/>
                </a:lnTo>
                <a:lnTo>
                  <a:pt x="72445" y="152586"/>
                </a:lnTo>
                <a:lnTo>
                  <a:pt x="86585" y="150820"/>
                </a:lnTo>
                <a:lnTo>
                  <a:pt x="100330" y="147037"/>
                </a:lnTo>
                <a:lnTo>
                  <a:pt x="113340" y="141366"/>
                </a:lnTo>
                <a:lnTo>
                  <a:pt x="125277" y="133933"/>
                </a:lnTo>
                <a:lnTo>
                  <a:pt x="135803" y="124865"/>
                </a:lnTo>
                <a:lnTo>
                  <a:pt x="144579" y="114289"/>
                </a:lnTo>
                <a:lnTo>
                  <a:pt x="151266" y="102333"/>
                </a:lnTo>
                <a:lnTo>
                  <a:pt x="155527" y="89125"/>
                </a:lnTo>
                <a:lnTo>
                  <a:pt x="157022" y="74790"/>
                </a:lnTo>
                <a:lnTo>
                  <a:pt x="156430" y="64454"/>
                </a:lnTo>
                <a:lnTo>
                  <a:pt x="153253" y="49732"/>
                </a:lnTo>
                <a:lnTo>
                  <a:pt x="147577" y="36821"/>
                </a:lnTo>
                <a:lnTo>
                  <a:pt x="139683" y="25766"/>
                </a:lnTo>
                <a:lnTo>
                  <a:pt x="129850" y="16616"/>
                </a:lnTo>
                <a:lnTo>
                  <a:pt x="118359" y="9417"/>
                </a:lnTo>
                <a:lnTo>
                  <a:pt x="105492" y="4217"/>
                </a:lnTo>
                <a:lnTo>
                  <a:pt x="91527" y="1062"/>
                </a:lnTo>
                <a:lnTo>
                  <a:pt x="76746" y="0"/>
                </a:lnTo>
                <a:lnTo>
                  <a:pt x="0" y="0"/>
                </a:lnTo>
                <a:lnTo>
                  <a:pt x="30937" y="2505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21"/>
          <p:cNvSpPr/>
          <p:nvPr/>
        </p:nvSpPr>
        <p:spPr>
          <a:xfrm>
            <a:off x="1196328" y="304538"/>
            <a:ext cx="0" cy="179790"/>
          </a:xfrm>
          <a:custGeom>
            <a:avLst/>
            <a:gdLst/>
            <a:ahLst/>
            <a:cxnLst/>
            <a:rect l="l" t="t" r="r" b="b"/>
            <a:pathLst>
              <a:path h="255701">
                <a:moveTo>
                  <a:pt x="0" y="0"/>
                </a:moveTo>
                <a:lnTo>
                  <a:pt x="0" y="255701"/>
                </a:lnTo>
              </a:path>
            </a:pathLst>
          </a:custGeom>
          <a:ln w="31419">
            <a:solidFill>
              <a:srgbClr val="F5821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20"/>
          <p:cNvSpPr/>
          <p:nvPr/>
        </p:nvSpPr>
        <p:spPr>
          <a:xfrm>
            <a:off x="1235550"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2"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6" y="-88506"/>
                </a:lnTo>
                <a:lnTo>
                  <a:pt x="136271"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595" y="-65859"/>
                </a:lnTo>
                <a:lnTo>
                  <a:pt x="85750" y="-67360"/>
                </a:lnTo>
                <a:lnTo>
                  <a:pt x="93254" y="-66844"/>
                </a:lnTo>
                <a:lnTo>
                  <a:pt x="105137" y="-63160"/>
                </a:lnTo>
                <a:lnTo>
                  <a:pt x="114522" y="-55803"/>
                </a:lnTo>
                <a:lnTo>
                  <a:pt x="121328" y="-44622"/>
                </a:lnTo>
                <a:lnTo>
                  <a:pt x="125473" y="-29466"/>
                </a:lnTo>
                <a:lnTo>
                  <a:pt x="126873" y="-10185"/>
                </a:lnTo>
                <a:lnTo>
                  <a:pt x="126873"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19"/>
          <p:cNvSpPr/>
          <p:nvPr/>
        </p:nvSpPr>
        <p:spPr>
          <a:xfrm>
            <a:off x="1382277" y="356293"/>
            <a:ext cx="103790" cy="128033"/>
          </a:xfrm>
          <a:custGeom>
            <a:avLst/>
            <a:gdLst/>
            <a:ahLst/>
            <a:cxnLst/>
            <a:rect l="l" t="t" r="r" b="b"/>
            <a:pathLst>
              <a:path w="147613" h="182092">
                <a:moveTo>
                  <a:pt x="62649" y="31724"/>
                </a:moveTo>
                <a:lnTo>
                  <a:pt x="65392" y="30162"/>
                </a:lnTo>
                <a:lnTo>
                  <a:pt x="77927" y="27025"/>
                </a:lnTo>
                <a:lnTo>
                  <a:pt x="87325" y="27025"/>
                </a:lnTo>
                <a:lnTo>
                  <a:pt x="103229" y="29547"/>
                </a:lnTo>
                <a:lnTo>
                  <a:pt x="112206" y="37199"/>
                </a:lnTo>
                <a:lnTo>
                  <a:pt x="116226" y="49942"/>
                </a:lnTo>
                <a:lnTo>
                  <a:pt x="117475" y="67741"/>
                </a:lnTo>
                <a:lnTo>
                  <a:pt x="117747" y="78307"/>
                </a:lnTo>
                <a:lnTo>
                  <a:pt x="117877" y="106135"/>
                </a:lnTo>
                <a:lnTo>
                  <a:pt x="118031" y="121023"/>
                </a:lnTo>
                <a:lnTo>
                  <a:pt x="118013" y="141871"/>
                </a:lnTo>
                <a:lnTo>
                  <a:pt x="117776" y="152000"/>
                </a:lnTo>
                <a:lnTo>
                  <a:pt x="117345" y="164712"/>
                </a:lnTo>
                <a:lnTo>
                  <a:pt x="116687" y="182092"/>
                </a:lnTo>
                <a:lnTo>
                  <a:pt x="146837" y="182092"/>
                </a:lnTo>
                <a:lnTo>
                  <a:pt x="146944" y="174487"/>
                </a:lnTo>
                <a:lnTo>
                  <a:pt x="147097" y="162795"/>
                </a:lnTo>
                <a:lnTo>
                  <a:pt x="147276" y="147767"/>
                </a:lnTo>
                <a:lnTo>
                  <a:pt x="147447" y="131083"/>
                </a:lnTo>
                <a:lnTo>
                  <a:pt x="147574" y="114423"/>
                </a:lnTo>
                <a:lnTo>
                  <a:pt x="147613" y="71983"/>
                </a:lnTo>
                <a:lnTo>
                  <a:pt x="147275" y="59290"/>
                </a:lnTo>
                <a:lnTo>
                  <a:pt x="146456" y="46596"/>
                </a:lnTo>
                <a:lnTo>
                  <a:pt x="144273" y="33519"/>
                </a:lnTo>
                <a:lnTo>
                  <a:pt x="138664" y="20109"/>
                </a:lnTo>
                <a:lnTo>
                  <a:pt x="130182" y="10555"/>
                </a:lnTo>
                <a:lnTo>
                  <a:pt x="119084" y="4355"/>
                </a:lnTo>
                <a:lnTo>
                  <a:pt x="105627" y="1005"/>
                </a:lnTo>
                <a:lnTo>
                  <a:pt x="90068" y="0"/>
                </a:lnTo>
                <a:lnTo>
                  <a:pt x="87824" y="32"/>
                </a:lnTo>
                <a:lnTo>
                  <a:pt x="73699" y="1882"/>
                </a:lnTo>
                <a:lnTo>
                  <a:pt x="61466" y="6295"/>
                </a:lnTo>
                <a:lnTo>
                  <a:pt x="50763" y="12874"/>
                </a:lnTo>
                <a:lnTo>
                  <a:pt x="41228" y="21220"/>
                </a:lnTo>
                <a:lnTo>
                  <a:pt x="32499" y="30937"/>
                </a:lnTo>
                <a:lnTo>
                  <a:pt x="27800" y="4698"/>
                </a:lnTo>
                <a:lnTo>
                  <a:pt x="0" y="4698"/>
                </a:lnTo>
                <a:lnTo>
                  <a:pt x="1562" y="18808"/>
                </a:lnTo>
                <a:lnTo>
                  <a:pt x="2377" y="27075"/>
                </a:lnTo>
                <a:lnTo>
                  <a:pt x="2965" y="39633"/>
                </a:lnTo>
                <a:lnTo>
                  <a:pt x="3136" y="54038"/>
                </a:lnTo>
                <a:lnTo>
                  <a:pt x="3136" y="182092"/>
                </a:lnTo>
                <a:lnTo>
                  <a:pt x="33286" y="182092"/>
                </a:lnTo>
                <a:lnTo>
                  <a:pt x="33286" y="63055"/>
                </a:lnTo>
                <a:lnTo>
                  <a:pt x="36379" y="58995"/>
                </a:lnTo>
                <a:lnTo>
                  <a:pt x="46352" y="47354"/>
                </a:lnTo>
                <a:lnTo>
                  <a:pt x="56262" y="37087"/>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8"/>
          <p:cNvSpPr/>
          <p:nvPr/>
        </p:nvSpPr>
        <p:spPr>
          <a:xfrm>
            <a:off x="1521577" y="356293"/>
            <a:ext cx="103787" cy="128033"/>
          </a:xfrm>
          <a:custGeom>
            <a:avLst/>
            <a:gdLst/>
            <a:ahLst/>
            <a:cxnLst/>
            <a:rect l="l" t="t" r="r" b="b"/>
            <a:pathLst>
              <a:path w="147608" h="182092">
                <a:moveTo>
                  <a:pt x="62649" y="31724"/>
                </a:moveTo>
                <a:lnTo>
                  <a:pt x="65392" y="30162"/>
                </a:lnTo>
                <a:lnTo>
                  <a:pt x="77927" y="27025"/>
                </a:lnTo>
                <a:lnTo>
                  <a:pt x="87312" y="27025"/>
                </a:lnTo>
                <a:lnTo>
                  <a:pt x="103218" y="29547"/>
                </a:lnTo>
                <a:lnTo>
                  <a:pt x="112198" y="37199"/>
                </a:lnTo>
                <a:lnTo>
                  <a:pt x="116218" y="49942"/>
                </a:lnTo>
                <a:lnTo>
                  <a:pt x="117462" y="67741"/>
                </a:lnTo>
                <a:lnTo>
                  <a:pt x="117734" y="78307"/>
                </a:lnTo>
                <a:lnTo>
                  <a:pt x="117864" y="106135"/>
                </a:lnTo>
                <a:lnTo>
                  <a:pt x="118018" y="121023"/>
                </a:lnTo>
                <a:lnTo>
                  <a:pt x="118001" y="141871"/>
                </a:lnTo>
                <a:lnTo>
                  <a:pt x="117767" y="152000"/>
                </a:lnTo>
                <a:lnTo>
                  <a:pt x="117339" y="164712"/>
                </a:lnTo>
                <a:lnTo>
                  <a:pt x="116687" y="182092"/>
                </a:lnTo>
                <a:lnTo>
                  <a:pt x="146837" y="182092"/>
                </a:lnTo>
                <a:lnTo>
                  <a:pt x="146944" y="174487"/>
                </a:lnTo>
                <a:lnTo>
                  <a:pt x="147097" y="162795"/>
                </a:lnTo>
                <a:lnTo>
                  <a:pt x="147276" y="147767"/>
                </a:lnTo>
                <a:lnTo>
                  <a:pt x="147447" y="131083"/>
                </a:lnTo>
                <a:lnTo>
                  <a:pt x="147574" y="114423"/>
                </a:lnTo>
                <a:lnTo>
                  <a:pt x="147608" y="71984"/>
                </a:lnTo>
                <a:lnTo>
                  <a:pt x="147270" y="59290"/>
                </a:lnTo>
                <a:lnTo>
                  <a:pt x="146456" y="46596"/>
                </a:lnTo>
                <a:lnTo>
                  <a:pt x="144270" y="33508"/>
                </a:lnTo>
                <a:lnTo>
                  <a:pt x="138658" y="20103"/>
                </a:lnTo>
                <a:lnTo>
                  <a:pt x="130172" y="10552"/>
                </a:lnTo>
                <a:lnTo>
                  <a:pt x="119071" y="4354"/>
                </a:lnTo>
                <a:lnTo>
                  <a:pt x="105613" y="1004"/>
                </a:lnTo>
                <a:lnTo>
                  <a:pt x="90055" y="0"/>
                </a:lnTo>
                <a:lnTo>
                  <a:pt x="87812" y="32"/>
                </a:lnTo>
                <a:lnTo>
                  <a:pt x="73688" y="1882"/>
                </a:lnTo>
                <a:lnTo>
                  <a:pt x="61457" y="6295"/>
                </a:lnTo>
                <a:lnTo>
                  <a:pt x="50756" y="12874"/>
                </a:lnTo>
                <a:lnTo>
                  <a:pt x="41220" y="21220"/>
                </a:lnTo>
                <a:lnTo>
                  <a:pt x="32486" y="30937"/>
                </a:lnTo>
                <a:lnTo>
                  <a:pt x="27800" y="4698"/>
                </a:lnTo>
                <a:lnTo>
                  <a:pt x="0" y="4698"/>
                </a:lnTo>
                <a:lnTo>
                  <a:pt x="1549" y="18808"/>
                </a:lnTo>
                <a:lnTo>
                  <a:pt x="2372" y="27075"/>
                </a:lnTo>
                <a:lnTo>
                  <a:pt x="2964" y="39633"/>
                </a:lnTo>
                <a:lnTo>
                  <a:pt x="3136" y="54038"/>
                </a:lnTo>
                <a:lnTo>
                  <a:pt x="3136" y="182092"/>
                </a:lnTo>
                <a:lnTo>
                  <a:pt x="33274" y="182092"/>
                </a:lnTo>
                <a:lnTo>
                  <a:pt x="33274" y="63055"/>
                </a:lnTo>
                <a:lnTo>
                  <a:pt x="36372" y="58988"/>
                </a:lnTo>
                <a:lnTo>
                  <a:pt x="46348" y="47349"/>
                </a:lnTo>
                <a:lnTo>
                  <a:pt x="56261" y="37086"/>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7"/>
          <p:cNvSpPr/>
          <p:nvPr/>
        </p:nvSpPr>
        <p:spPr>
          <a:xfrm>
            <a:off x="1659762" y="307292"/>
            <a:ext cx="27816" cy="177040"/>
          </a:xfrm>
          <a:custGeom>
            <a:avLst/>
            <a:gdLst/>
            <a:ahLst/>
            <a:cxnLst/>
            <a:rect l="l" t="t" r="r" b="b"/>
            <a:pathLst>
              <a:path w="39560" h="251790">
                <a:moveTo>
                  <a:pt x="0" y="21526"/>
                </a:moveTo>
                <a:lnTo>
                  <a:pt x="482" y="25980"/>
                </a:lnTo>
                <a:lnTo>
                  <a:pt x="7360" y="38207"/>
                </a:lnTo>
                <a:lnTo>
                  <a:pt x="19583" y="43459"/>
                </a:lnTo>
                <a:lnTo>
                  <a:pt x="24294" y="42714"/>
                </a:lnTo>
                <a:lnTo>
                  <a:pt x="35117" y="34404"/>
                </a:lnTo>
                <a:lnTo>
                  <a:pt x="39560" y="21145"/>
                </a:lnTo>
                <a:lnTo>
                  <a:pt x="39123" y="17027"/>
                </a:lnTo>
                <a:lnTo>
                  <a:pt x="32080" y="5036"/>
                </a:lnTo>
                <a:lnTo>
                  <a:pt x="19583" y="0"/>
                </a:lnTo>
                <a:lnTo>
                  <a:pt x="15527" y="508"/>
                </a:lnTo>
                <a:lnTo>
                  <a:pt x="4404" y="8411"/>
                </a:lnTo>
                <a:lnTo>
                  <a:pt x="0" y="21526"/>
                </a:lnTo>
                <a:close/>
              </a:path>
              <a:path w="39560" h="251790">
                <a:moveTo>
                  <a:pt x="4711" y="74396"/>
                </a:moveTo>
                <a:lnTo>
                  <a:pt x="4711" y="251790"/>
                </a:lnTo>
                <a:lnTo>
                  <a:pt x="34861" y="251790"/>
                </a:lnTo>
                <a:lnTo>
                  <a:pt x="34861" y="74396"/>
                </a:lnTo>
                <a:lnTo>
                  <a:pt x="4711" y="7439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5"/>
          <p:cNvSpPr/>
          <p:nvPr/>
        </p:nvSpPr>
        <p:spPr>
          <a:xfrm>
            <a:off x="1720600" y="356293"/>
            <a:ext cx="103798" cy="128033"/>
          </a:xfrm>
          <a:custGeom>
            <a:avLst/>
            <a:gdLst/>
            <a:ahLst/>
            <a:cxnLst/>
            <a:rect l="l" t="t" r="r" b="b"/>
            <a:pathLst>
              <a:path w="147624" h="182092">
                <a:moveTo>
                  <a:pt x="62661" y="31724"/>
                </a:moveTo>
                <a:lnTo>
                  <a:pt x="65392" y="30162"/>
                </a:lnTo>
                <a:lnTo>
                  <a:pt x="77927" y="27025"/>
                </a:lnTo>
                <a:lnTo>
                  <a:pt x="87325" y="27025"/>
                </a:lnTo>
                <a:lnTo>
                  <a:pt x="103236" y="29549"/>
                </a:lnTo>
                <a:lnTo>
                  <a:pt x="112214" y="37202"/>
                </a:lnTo>
                <a:lnTo>
                  <a:pt x="116237" y="49945"/>
                </a:lnTo>
                <a:lnTo>
                  <a:pt x="117487" y="67741"/>
                </a:lnTo>
                <a:lnTo>
                  <a:pt x="117760" y="78307"/>
                </a:lnTo>
                <a:lnTo>
                  <a:pt x="117889" y="106135"/>
                </a:lnTo>
                <a:lnTo>
                  <a:pt x="118038" y="121023"/>
                </a:lnTo>
                <a:lnTo>
                  <a:pt x="118016" y="141871"/>
                </a:lnTo>
                <a:lnTo>
                  <a:pt x="117780" y="152000"/>
                </a:lnTo>
                <a:lnTo>
                  <a:pt x="117352" y="164712"/>
                </a:lnTo>
                <a:lnTo>
                  <a:pt x="116700" y="182092"/>
                </a:lnTo>
                <a:lnTo>
                  <a:pt x="146850" y="182092"/>
                </a:lnTo>
                <a:lnTo>
                  <a:pt x="146957" y="174487"/>
                </a:lnTo>
                <a:lnTo>
                  <a:pt x="147110" y="162795"/>
                </a:lnTo>
                <a:lnTo>
                  <a:pt x="147289" y="147767"/>
                </a:lnTo>
                <a:lnTo>
                  <a:pt x="147460" y="131083"/>
                </a:lnTo>
                <a:lnTo>
                  <a:pt x="147587" y="114423"/>
                </a:lnTo>
                <a:lnTo>
                  <a:pt x="147624" y="71983"/>
                </a:lnTo>
                <a:lnTo>
                  <a:pt x="147282" y="59290"/>
                </a:lnTo>
                <a:lnTo>
                  <a:pt x="146456" y="46596"/>
                </a:lnTo>
                <a:lnTo>
                  <a:pt x="144280" y="33529"/>
                </a:lnTo>
                <a:lnTo>
                  <a:pt x="138674" y="20115"/>
                </a:lnTo>
                <a:lnTo>
                  <a:pt x="130192" y="10559"/>
                </a:lnTo>
                <a:lnTo>
                  <a:pt x="119094" y="4357"/>
                </a:lnTo>
                <a:lnTo>
                  <a:pt x="105637" y="1005"/>
                </a:lnTo>
                <a:lnTo>
                  <a:pt x="90081" y="0"/>
                </a:lnTo>
                <a:lnTo>
                  <a:pt x="87837" y="32"/>
                </a:lnTo>
                <a:lnTo>
                  <a:pt x="73712" y="1882"/>
                </a:lnTo>
                <a:lnTo>
                  <a:pt x="61479" y="6295"/>
                </a:lnTo>
                <a:lnTo>
                  <a:pt x="50776" y="12874"/>
                </a:lnTo>
                <a:lnTo>
                  <a:pt x="41241" y="21220"/>
                </a:lnTo>
                <a:lnTo>
                  <a:pt x="32511" y="30937"/>
                </a:lnTo>
                <a:lnTo>
                  <a:pt x="27812" y="4698"/>
                </a:lnTo>
                <a:lnTo>
                  <a:pt x="0" y="4698"/>
                </a:lnTo>
                <a:lnTo>
                  <a:pt x="1574" y="18808"/>
                </a:lnTo>
                <a:lnTo>
                  <a:pt x="2389" y="27075"/>
                </a:lnTo>
                <a:lnTo>
                  <a:pt x="2978" y="39633"/>
                </a:lnTo>
                <a:lnTo>
                  <a:pt x="3149" y="54038"/>
                </a:lnTo>
                <a:lnTo>
                  <a:pt x="3149" y="182092"/>
                </a:lnTo>
                <a:lnTo>
                  <a:pt x="33286" y="182092"/>
                </a:lnTo>
                <a:lnTo>
                  <a:pt x="33286" y="63055"/>
                </a:lnTo>
                <a:lnTo>
                  <a:pt x="36385" y="58988"/>
                </a:lnTo>
                <a:lnTo>
                  <a:pt x="46360" y="47349"/>
                </a:lnTo>
                <a:lnTo>
                  <a:pt x="56274" y="37086"/>
                </a:lnTo>
                <a:lnTo>
                  <a:pt x="62661"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6"/>
          <p:cNvSpPr/>
          <p:nvPr/>
        </p:nvSpPr>
        <p:spPr>
          <a:xfrm>
            <a:off x="1852187" y="422106"/>
            <a:ext cx="34227" cy="124376"/>
          </a:xfrm>
          <a:custGeom>
            <a:avLst/>
            <a:gdLst/>
            <a:ahLst/>
            <a:cxnLst/>
            <a:rect l="l" t="t" r="r" b="b"/>
            <a:pathLst>
              <a:path w="48678" h="176891">
                <a:moveTo>
                  <a:pt x="36766" y="77831"/>
                </a:moveTo>
                <a:lnTo>
                  <a:pt x="48678" y="83292"/>
                </a:lnTo>
                <a:lnTo>
                  <a:pt x="38801" y="37607"/>
                </a:lnTo>
                <a:lnTo>
                  <a:pt x="34161" y="21483"/>
                </a:lnTo>
                <a:lnTo>
                  <a:pt x="32511" y="0"/>
                </a:lnTo>
                <a:lnTo>
                  <a:pt x="26161" y="70248"/>
                </a:lnTo>
                <a:lnTo>
                  <a:pt x="36766" y="77831"/>
                </a:lnTo>
                <a:close/>
              </a:path>
              <a:path w="48678" h="176891">
                <a:moveTo>
                  <a:pt x="968" y="19440"/>
                </a:moveTo>
                <a:lnTo>
                  <a:pt x="4267" y="35140"/>
                </a:lnTo>
                <a:lnTo>
                  <a:pt x="9704" y="48866"/>
                </a:lnTo>
                <a:lnTo>
                  <a:pt x="17071" y="60581"/>
                </a:lnTo>
                <a:lnTo>
                  <a:pt x="26161" y="70248"/>
                </a:lnTo>
                <a:lnTo>
                  <a:pt x="32511" y="0"/>
                </a:lnTo>
                <a:lnTo>
                  <a:pt x="32531" y="-2276"/>
                </a:lnTo>
                <a:lnTo>
                  <a:pt x="34572" y="-22375"/>
                </a:lnTo>
                <a:lnTo>
                  <a:pt x="39057" y="-37880"/>
                </a:lnTo>
                <a:lnTo>
                  <a:pt x="44671" y="-49218"/>
                </a:lnTo>
                <a:lnTo>
                  <a:pt x="50103" y="-56812"/>
                </a:lnTo>
                <a:lnTo>
                  <a:pt x="54038" y="-61086"/>
                </a:lnTo>
                <a:lnTo>
                  <a:pt x="69618" y="-66254"/>
                </a:lnTo>
                <a:lnTo>
                  <a:pt x="85763" y="-67754"/>
                </a:lnTo>
                <a:lnTo>
                  <a:pt x="93260" y="-67239"/>
                </a:lnTo>
                <a:lnTo>
                  <a:pt x="105142" y="-63556"/>
                </a:lnTo>
                <a:lnTo>
                  <a:pt x="114527" y="-56199"/>
                </a:lnTo>
                <a:lnTo>
                  <a:pt x="121331" y="-45018"/>
                </a:lnTo>
                <a:lnTo>
                  <a:pt x="125473" y="-29862"/>
                </a:lnTo>
                <a:lnTo>
                  <a:pt x="126872" y="-10579"/>
                </a:lnTo>
                <a:lnTo>
                  <a:pt x="126872" y="28575"/>
                </a:lnTo>
                <a:lnTo>
                  <a:pt x="123171" y="35166"/>
                </a:lnTo>
                <a:lnTo>
                  <a:pt x="114746" y="45769"/>
                </a:lnTo>
                <a:lnTo>
                  <a:pt x="104376" y="54231"/>
                </a:lnTo>
                <a:lnTo>
                  <a:pt x="92485" y="59834"/>
                </a:lnTo>
                <a:lnTo>
                  <a:pt x="79501" y="61861"/>
                </a:lnTo>
                <a:lnTo>
                  <a:pt x="78046" y="61848"/>
                </a:lnTo>
                <a:lnTo>
                  <a:pt x="66054" y="60492"/>
                </a:lnTo>
                <a:lnTo>
                  <a:pt x="55208" y="56444"/>
                </a:lnTo>
                <a:lnTo>
                  <a:pt x="45970" y="49038"/>
                </a:lnTo>
                <a:lnTo>
                  <a:pt x="38801" y="37607"/>
                </a:lnTo>
                <a:lnTo>
                  <a:pt x="48678" y="83292"/>
                </a:lnTo>
                <a:lnTo>
                  <a:pt x="61688" y="86596"/>
                </a:lnTo>
                <a:lnTo>
                  <a:pt x="75590" y="87706"/>
                </a:lnTo>
                <a:lnTo>
                  <a:pt x="82543" y="87459"/>
                </a:lnTo>
                <a:lnTo>
                  <a:pt x="96032" y="85208"/>
                </a:lnTo>
                <a:lnTo>
                  <a:pt x="107612" y="80630"/>
                </a:lnTo>
                <a:lnTo>
                  <a:pt x="117838" y="73753"/>
                </a:lnTo>
                <a:lnTo>
                  <a:pt x="127266" y="64604"/>
                </a:lnTo>
                <a:lnTo>
                  <a:pt x="127439" y="78176"/>
                </a:lnTo>
                <a:lnTo>
                  <a:pt x="127833" y="91163"/>
                </a:lnTo>
                <a:lnTo>
                  <a:pt x="128054" y="101015"/>
                </a:lnTo>
                <a:lnTo>
                  <a:pt x="127331" y="111049"/>
                </a:lnTo>
                <a:lnTo>
                  <a:pt x="122971" y="124692"/>
                </a:lnTo>
                <a:lnTo>
                  <a:pt x="114979" y="134530"/>
                </a:lnTo>
                <a:lnTo>
                  <a:pt x="103718" y="141007"/>
                </a:lnTo>
                <a:lnTo>
                  <a:pt x="89549" y="144568"/>
                </a:lnTo>
                <a:lnTo>
                  <a:pt x="72834" y="145656"/>
                </a:lnTo>
                <a:lnTo>
                  <a:pt x="70290" y="145636"/>
                </a:lnTo>
                <a:lnTo>
                  <a:pt x="53477" y="143803"/>
                </a:lnTo>
                <a:lnTo>
                  <a:pt x="42129" y="138170"/>
                </a:lnTo>
                <a:lnTo>
                  <a:pt x="35713" y="127562"/>
                </a:lnTo>
                <a:lnTo>
                  <a:pt x="33693" y="110807"/>
                </a:lnTo>
                <a:lnTo>
                  <a:pt x="2755" y="116687"/>
                </a:lnTo>
                <a:lnTo>
                  <a:pt x="4929" y="134144"/>
                </a:lnTo>
                <a:lnTo>
                  <a:pt x="10500" y="146856"/>
                </a:lnTo>
                <a:lnTo>
                  <a:pt x="19040" y="156561"/>
                </a:lnTo>
                <a:lnTo>
                  <a:pt x="30104" y="163568"/>
                </a:lnTo>
                <a:lnTo>
                  <a:pt x="43250" y="168189"/>
                </a:lnTo>
                <a:lnTo>
                  <a:pt x="58035" y="170734"/>
                </a:lnTo>
                <a:lnTo>
                  <a:pt x="74015" y="171513"/>
                </a:lnTo>
                <a:lnTo>
                  <a:pt x="81572" y="171343"/>
                </a:lnTo>
                <a:lnTo>
                  <a:pt x="98864" y="169483"/>
                </a:lnTo>
                <a:lnTo>
                  <a:pt x="114042" y="165632"/>
                </a:lnTo>
                <a:lnTo>
                  <a:pt x="127048" y="159865"/>
                </a:lnTo>
                <a:lnTo>
                  <a:pt x="137822" y="152258"/>
                </a:lnTo>
                <a:lnTo>
                  <a:pt x="146306" y="142885"/>
                </a:lnTo>
                <a:lnTo>
                  <a:pt x="152438" y="131822"/>
                </a:lnTo>
                <a:lnTo>
                  <a:pt x="156162" y="119144"/>
                </a:lnTo>
                <a:lnTo>
                  <a:pt x="157416" y="104927"/>
                </a:lnTo>
                <a:lnTo>
                  <a:pt x="157325" y="96305"/>
                </a:lnTo>
                <a:lnTo>
                  <a:pt x="157145" y="82259"/>
                </a:lnTo>
                <a:lnTo>
                  <a:pt x="157048" y="-63830"/>
                </a:lnTo>
                <a:lnTo>
                  <a:pt x="159778" y="-88899"/>
                </a:lnTo>
                <a:lnTo>
                  <a:pt x="136283" y="-88899"/>
                </a:lnTo>
                <a:lnTo>
                  <a:pt x="129628" y="-74790"/>
                </a:lnTo>
                <a:lnTo>
                  <a:pt x="121632" y="-82771"/>
                </a:lnTo>
                <a:lnTo>
                  <a:pt x="110116" y="-89118"/>
                </a:lnTo>
                <a:lnTo>
                  <a:pt x="97409" y="-92561"/>
                </a:lnTo>
                <a:lnTo>
                  <a:pt x="84581" y="-93598"/>
                </a:lnTo>
                <a:lnTo>
                  <a:pt x="81930" y="-93570"/>
                </a:lnTo>
                <a:lnTo>
                  <a:pt x="66639" y="-92197"/>
                </a:lnTo>
                <a:lnTo>
                  <a:pt x="52871" y="-88801"/>
                </a:lnTo>
                <a:lnTo>
                  <a:pt x="40647" y="-83443"/>
                </a:lnTo>
                <a:lnTo>
                  <a:pt x="29986" y="-76184"/>
                </a:lnTo>
                <a:lnTo>
                  <a:pt x="20908" y="-67084"/>
                </a:lnTo>
                <a:lnTo>
                  <a:pt x="13436" y="-56204"/>
                </a:lnTo>
                <a:lnTo>
                  <a:pt x="7588" y="-43604"/>
                </a:lnTo>
                <a:lnTo>
                  <a:pt x="3386" y="-29344"/>
                </a:lnTo>
                <a:lnTo>
                  <a:pt x="849" y="-13485"/>
                </a:lnTo>
                <a:lnTo>
                  <a:pt x="0" y="3911"/>
                </a:lnTo>
                <a:lnTo>
                  <a:pt x="968" y="1944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bject 14"/>
          <p:cNvSpPr/>
          <p:nvPr/>
        </p:nvSpPr>
        <p:spPr>
          <a:xfrm>
            <a:off x="0" y="732235"/>
            <a:ext cx="9144000" cy="667878"/>
          </a:xfrm>
          <a:custGeom>
            <a:avLst/>
            <a:gdLst/>
            <a:ahLst/>
            <a:cxnLst/>
            <a:rect l="l" t="t" r="r" b="b"/>
            <a:pathLst>
              <a:path w="13004800" h="949871">
                <a:moveTo>
                  <a:pt x="0" y="949871"/>
                </a:moveTo>
                <a:lnTo>
                  <a:pt x="13004800" y="949871"/>
                </a:lnTo>
                <a:lnTo>
                  <a:pt x="13004800" y="0"/>
                </a:lnTo>
                <a:lnTo>
                  <a:pt x="0" y="0"/>
                </a:lnTo>
                <a:lnTo>
                  <a:pt x="0" y="94987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12"/>
          <p:cNvSpPr/>
          <p:nvPr/>
        </p:nvSpPr>
        <p:spPr>
          <a:xfrm>
            <a:off x="125016" y="3433000"/>
            <a:ext cx="2446376" cy="3278981"/>
          </a:xfrm>
          <a:custGeom>
            <a:avLst/>
            <a:gdLst/>
            <a:ahLst/>
            <a:cxnLst/>
            <a:rect l="l" t="t" r="r" b="b"/>
            <a:pathLst>
              <a:path w="3479291" h="4663439">
                <a:moveTo>
                  <a:pt x="0" y="0"/>
                </a:moveTo>
                <a:lnTo>
                  <a:pt x="0" y="4663440"/>
                </a:lnTo>
                <a:lnTo>
                  <a:pt x="3479291" y="4663440"/>
                </a:lnTo>
                <a:lnTo>
                  <a:pt x="3479291" y="0"/>
                </a:lnTo>
                <a:lnTo>
                  <a:pt x="0" y="0"/>
                </a:lnTo>
                <a:close/>
              </a:path>
            </a:pathLst>
          </a:custGeom>
          <a:solidFill>
            <a:srgbClr val="000000">
              <a:alpha val="35000"/>
            </a:srgbClr>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13"/>
          <p:cNvSpPr/>
          <p:nvPr/>
        </p:nvSpPr>
        <p:spPr>
          <a:xfrm>
            <a:off x="145531" y="3474618"/>
            <a:ext cx="2348508" cy="3186925"/>
          </a:xfrm>
          <a:custGeom>
            <a:avLst/>
            <a:gdLst/>
            <a:ahLst/>
            <a:cxnLst/>
            <a:rect l="l" t="t" r="r" b="b"/>
            <a:pathLst>
              <a:path w="3340100" h="4532515">
                <a:moveTo>
                  <a:pt x="31" y="4405500"/>
                </a:moveTo>
                <a:lnTo>
                  <a:pt x="841" y="4447492"/>
                </a:lnTo>
                <a:lnTo>
                  <a:pt x="6735" y="4491345"/>
                </a:lnTo>
                <a:lnTo>
                  <a:pt x="31181" y="4521954"/>
                </a:lnTo>
                <a:lnTo>
                  <a:pt x="68505" y="4530563"/>
                </a:lnTo>
                <a:lnTo>
                  <a:pt x="127719" y="4532487"/>
                </a:lnTo>
                <a:lnTo>
                  <a:pt x="3340100" y="4532515"/>
                </a:lnTo>
                <a:lnTo>
                  <a:pt x="3340068" y="304421"/>
                </a:lnTo>
                <a:lnTo>
                  <a:pt x="3339258" y="262429"/>
                </a:lnTo>
                <a:lnTo>
                  <a:pt x="3333364" y="218576"/>
                </a:lnTo>
                <a:lnTo>
                  <a:pt x="3308918" y="187967"/>
                </a:lnTo>
                <a:lnTo>
                  <a:pt x="3271594" y="179358"/>
                </a:lnTo>
                <a:lnTo>
                  <a:pt x="3212380" y="177434"/>
                </a:lnTo>
                <a:lnTo>
                  <a:pt x="896327" y="177406"/>
                </a:lnTo>
                <a:lnTo>
                  <a:pt x="689381" y="0"/>
                </a:lnTo>
                <a:lnTo>
                  <a:pt x="482968" y="177406"/>
                </a:lnTo>
                <a:lnTo>
                  <a:pt x="0" y="177406"/>
                </a:lnTo>
                <a:lnTo>
                  <a:pt x="31" y="44055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11"/>
          <p:cNvSpPr/>
          <p:nvPr/>
        </p:nvSpPr>
        <p:spPr>
          <a:xfrm>
            <a:off x="174834" y="1553936"/>
            <a:ext cx="2396558" cy="1828626"/>
          </a:xfrm>
          <a:prstGeom prst="rect">
            <a:avLst/>
          </a:prstGeom>
          <a:blipFill>
            <a:blip r:embed="rId2" cstate="print"/>
            <a:stretch>
              <a:fillRect/>
            </a:stretch>
          </a:blip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bject 10"/>
          <p:cNvSpPr txBox="1"/>
          <p:nvPr/>
        </p:nvSpPr>
        <p:spPr>
          <a:xfrm>
            <a:off x="422710" y="935020"/>
            <a:ext cx="78636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231" normalizeH="0" baseline="0" noProof="0" dirty="0">
                <a:ln>
                  <a:noFill/>
                </a:ln>
                <a:solidFill>
                  <a:srgbClr val="FFFFFF"/>
                </a:solidFill>
                <a:effectLst/>
                <a:uLnTx/>
                <a:uFillTx/>
                <a:latin typeface="Times New Roman"/>
                <a:ea typeface="+mn-ea"/>
                <a:cs typeface="Times New Roman"/>
              </a:rPr>
              <a:t>PLAN</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 name="object 9"/>
          <p:cNvSpPr txBox="1"/>
          <p:nvPr/>
        </p:nvSpPr>
        <p:spPr>
          <a:xfrm>
            <a:off x="1222163" y="935020"/>
            <a:ext cx="45395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0" normalizeH="0" baseline="0" noProof="0" dirty="0">
                <a:ln>
                  <a:noFill/>
                </a:ln>
                <a:solidFill>
                  <a:srgbClr val="FFFFFF"/>
                </a:solidFill>
                <a:effectLst/>
                <a:uLnTx/>
                <a:uFillTx/>
                <a:latin typeface="Times New Roman"/>
                <a:ea typeface="+mn-ea"/>
                <a:cs typeface="Times New Roman"/>
              </a:rPr>
              <a:t>OF</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8" name="object 8"/>
          <p:cNvSpPr txBox="1"/>
          <p:nvPr/>
        </p:nvSpPr>
        <p:spPr>
          <a:xfrm>
            <a:off x="1689207" y="935020"/>
            <a:ext cx="773981"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326" normalizeH="0" baseline="0" noProof="0" dirty="0">
                <a:ln>
                  <a:noFill/>
                </a:ln>
                <a:solidFill>
                  <a:srgbClr val="FFFFFF"/>
                </a:solidFill>
                <a:effectLst/>
                <a:uLnTx/>
                <a:uFillTx/>
                <a:latin typeface="Times New Roman"/>
                <a:ea typeface="+mn-ea"/>
                <a:cs typeface="Times New Roman"/>
              </a:rPr>
              <a:t>CARE</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7" name="object 7"/>
          <p:cNvSpPr txBox="1"/>
          <p:nvPr/>
        </p:nvSpPr>
        <p:spPr>
          <a:xfrm>
            <a:off x="2800115" y="1899944"/>
            <a:ext cx="2265955" cy="709592"/>
          </a:xfrm>
          <a:prstGeom prst="rect">
            <a:avLst/>
          </a:prstGeom>
        </p:spPr>
        <p:txBody>
          <a:bodyPr wrap="square" lIns="0" tIns="8505" rIns="0" bIns="0" rtlCol="0">
            <a:no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Potential Problems:</a:t>
            </a:r>
            <a:endParaRPr kumimoji="0"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2" name="object 2"/>
          <p:cNvSpPr txBox="1"/>
          <p:nvPr/>
        </p:nvSpPr>
        <p:spPr>
          <a:xfrm>
            <a:off x="125016" y="3433000"/>
            <a:ext cx="2446376" cy="3278981"/>
          </a:xfrm>
          <a:prstGeom prst="rect">
            <a:avLst/>
          </a:prstGeom>
        </p:spPr>
        <p:txBody>
          <a:bodyPr wrap="square" lIns="0" tIns="2505" rIns="0" bIns="0" rtlCol="0">
            <a:noAutofit/>
          </a:bodyPr>
          <a:lstStyle/>
          <a:p>
            <a:pPr marL="0" marR="0" lvl="0" indent="0" algn="l" defTabSz="642915" rtl="0" eaLnBrk="1" fontAlgn="auto" latinLnBrk="0" hangingPunct="1">
              <a:lnSpc>
                <a:spcPts val="598"/>
              </a:lnSpc>
              <a:spcBef>
                <a:spcPts val="0"/>
              </a:spcBef>
              <a:spcAft>
                <a:spcPts val="0"/>
              </a:spcAft>
              <a:buClrTx/>
              <a:buSzTx/>
              <a:buFontTx/>
              <a:buNone/>
              <a:tabLst/>
              <a:defRPr/>
            </a:pPr>
            <a:endParaRPr kumimoji="0" sz="598" b="0" i="0" u="none" strike="noStrike" kern="1200" cap="none" spc="0" normalizeH="0" baseline="0" noProof="0" dirty="0">
              <a:ln>
                <a:noFill/>
              </a:ln>
              <a:solidFill>
                <a:prstClr val="black"/>
              </a:solidFill>
              <a:effectLst/>
              <a:uLnTx/>
              <a:uFillTx/>
              <a:latin typeface="Calibri"/>
              <a:ea typeface="+mn-ea"/>
              <a:cs typeface="+mn-cs"/>
            </a:endParaRPr>
          </a:p>
          <a:p>
            <a:pPr marL="210550" marR="0" lvl="0" indent="0" algn="l" defTabSz="642915" rtl="0" eaLnBrk="1" fontAlgn="auto" latinLnBrk="0" hangingPunct="1">
              <a:lnSpc>
                <a:spcPct val="95825"/>
              </a:lnSpc>
              <a:spcBef>
                <a:spcPts val="1406"/>
              </a:spcBef>
              <a:spcAft>
                <a:spcPts val="0"/>
              </a:spcAft>
              <a:buClrTx/>
              <a:buSzTx/>
              <a:buFontTx/>
              <a:buNone/>
              <a:tabLst/>
              <a:defRPr/>
            </a:pPr>
            <a:r>
              <a:rPr kumimoji="0" sz="1195" b="1" i="0" u="none" strike="noStrike" kern="1200" cap="none" spc="-2" normalizeH="0" baseline="0" noProof="0" dirty="0">
                <a:ln>
                  <a:noFill/>
                </a:ln>
                <a:solidFill>
                  <a:srgbClr val="FFFFFF"/>
                </a:solidFill>
                <a:effectLst/>
                <a:uLnTx/>
                <a:uFillTx/>
                <a:latin typeface="Times New Roman"/>
                <a:ea typeface="+mn-ea"/>
                <a:cs typeface="Times New Roman"/>
              </a:rPr>
              <a:t>Name: </a:t>
            </a:r>
            <a:r>
              <a:rPr kumimoji="0" sz="1195" b="0" i="0" u="none" strike="noStrike" kern="1200" cap="none" spc="-2" normalizeH="0" baseline="0" noProof="0" dirty="0">
                <a:ln>
                  <a:noFill/>
                </a:ln>
                <a:solidFill>
                  <a:srgbClr val="FFFFFF"/>
                </a:solidFill>
                <a:effectLst/>
                <a:uLnTx/>
                <a:uFillTx/>
                <a:latin typeface="Times New Roman"/>
                <a:ea typeface="+mn-ea"/>
                <a:cs typeface="Times New Roman"/>
              </a:rPr>
              <a:t>Walter Jones</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2" normalizeH="0" baseline="0" noProof="0" dirty="0">
                <a:ln>
                  <a:noFill/>
                </a:ln>
                <a:solidFill>
                  <a:srgbClr val="FFFFFF"/>
                </a:solidFill>
                <a:effectLst/>
                <a:uLnTx/>
                <a:uFillTx/>
                <a:latin typeface="Times New Roman"/>
                <a:ea typeface="+mn-ea"/>
                <a:cs typeface="Times New Roman"/>
              </a:rPr>
              <a:t>Gender: </a:t>
            </a:r>
            <a:r>
              <a:rPr kumimoji="0" sz="1195" b="0" i="0" u="none" strike="noStrike" kern="1200" cap="none" spc="-12" normalizeH="0" baseline="0" noProof="0" dirty="0">
                <a:ln>
                  <a:noFill/>
                </a:ln>
                <a:solidFill>
                  <a:srgbClr val="FFFFFF"/>
                </a:solidFill>
                <a:effectLst/>
                <a:uLnTx/>
                <a:uFillTx/>
                <a:latin typeface="Times New Roman"/>
                <a:ea typeface="+mn-ea"/>
                <a:cs typeface="Times New Roman"/>
              </a:rPr>
              <a:t>Male</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23" normalizeH="0" baseline="0" noProof="0" dirty="0">
                <a:ln>
                  <a:noFill/>
                </a:ln>
                <a:solidFill>
                  <a:srgbClr val="FFFFFF"/>
                </a:solidFill>
                <a:effectLst/>
                <a:uLnTx/>
                <a:uFillTx/>
                <a:latin typeface="Times New Roman"/>
                <a:ea typeface="+mn-ea"/>
                <a:cs typeface="Times New Roman"/>
              </a:rPr>
              <a:t>Age: </a:t>
            </a:r>
            <a:r>
              <a:rPr kumimoji="0" sz="1195" b="0" i="0" u="none" strike="noStrike" kern="1200" cap="none" spc="-23" normalizeH="0" baseline="0" noProof="0" dirty="0">
                <a:ln>
                  <a:noFill/>
                </a:ln>
                <a:solidFill>
                  <a:srgbClr val="FFFFFF"/>
                </a:solidFill>
                <a:effectLst/>
                <a:uLnTx/>
                <a:uFillTx/>
                <a:latin typeface="Times New Roman"/>
                <a:ea typeface="+mn-ea"/>
                <a:cs typeface="Times New Roman"/>
              </a:rPr>
              <a:t>65</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6" normalizeH="0" baseline="0" noProof="0" dirty="0">
                <a:ln>
                  <a:noFill/>
                </a:ln>
                <a:solidFill>
                  <a:srgbClr val="FFFFFF"/>
                </a:solidFill>
                <a:effectLst/>
                <a:uLnTx/>
                <a:uFillTx/>
                <a:latin typeface="Times New Roman"/>
                <a:ea typeface="+mn-ea"/>
                <a:cs typeface="Times New Roman"/>
              </a:rPr>
              <a:t>Height: 6' 2"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7" normalizeH="0" baseline="0" noProof="0" dirty="0">
                <a:ln>
                  <a:noFill/>
                </a:ln>
                <a:solidFill>
                  <a:srgbClr val="FFFFFF"/>
                </a:solidFill>
                <a:effectLst/>
                <a:uLnTx/>
                <a:uFillTx/>
                <a:latin typeface="Times New Roman"/>
                <a:ea typeface="+mn-ea"/>
                <a:cs typeface="Times New Roman"/>
              </a:rPr>
              <a:t>Weight: 210 lb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lang="en-US" sz="1195" b="1" i="1" u="none" strike="noStrike" kern="1200" cap="none" spc="-28" normalizeH="0" baseline="0" noProof="0" dirty="0">
                <a:ln>
                  <a:noFill/>
                </a:ln>
                <a:solidFill>
                  <a:srgbClr val="FFFFFF"/>
                </a:solidFill>
                <a:effectLst/>
                <a:uLnTx/>
                <a:uFillTx/>
                <a:latin typeface="Times New Roman"/>
                <a:ea typeface="+mn-ea"/>
                <a:cs typeface="Times New Roman"/>
              </a:rPr>
              <a:t>Pneumonia</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97"/>
              </a:spcBef>
              <a:spcAft>
                <a:spcPts val="0"/>
              </a:spcAft>
              <a:buClrTx/>
              <a:buSzTx/>
              <a:buFontTx/>
              <a:buNone/>
              <a:tabLst/>
              <a:defRPr/>
            </a:pPr>
            <a:r>
              <a:rPr kumimoji="0" sz="1195" b="1" i="0" u="none" strike="noStrike" kern="1200" cap="none" spc="-20" normalizeH="0" baseline="0" noProof="0" dirty="0">
                <a:ln>
                  <a:noFill/>
                </a:ln>
                <a:solidFill>
                  <a:srgbClr val="FFFFFF"/>
                </a:solidFill>
                <a:effectLst/>
                <a:uLnTx/>
                <a:uFillTx/>
                <a:latin typeface="Times New Roman"/>
                <a:ea typeface="+mn-ea"/>
                <a:cs typeface="Times New Roman"/>
              </a:rPr>
              <a:t>Primary Physician: </a:t>
            </a:r>
            <a:r>
              <a:rPr kumimoji="0" sz="1195" b="0" i="0" u="none" strike="noStrike" kern="1200" cap="none" spc="-20" normalizeH="0" baseline="0" noProof="0" dirty="0">
                <a:ln>
                  <a:noFill/>
                </a:ln>
                <a:solidFill>
                  <a:srgbClr val="FFFFFF"/>
                </a:solidFill>
                <a:effectLst/>
                <a:uLnTx/>
                <a:uFillTx/>
                <a:latin typeface="Times New Roman"/>
                <a:ea typeface="+mn-ea"/>
                <a:cs typeface="Times New Roman"/>
              </a:rPr>
              <a:t>Dr. Smith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5" normalizeH="0" baseline="0" noProof="0" dirty="0">
                <a:ln>
                  <a:noFill/>
                </a:ln>
                <a:solidFill>
                  <a:srgbClr val="FFFFFF"/>
                </a:solidFill>
                <a:effectLst/>
                <a:uLnTx/>
                <a:uFillTx/>
                <a:latin typeface="Times New Roman"/>
                <a:ea typeface="+mn-ea"/>
                <a:cs typeface="Times New Roman"/>
              </a:rPr>
              <a:t>Allergies: </a:t>
            </a:r>
            <a:r>
              <a:rPr kumimoji="0" sz="1195" b="0" i="0" u="none" strike="noStrike" kern="1200" cap="none" spc="-5" normalizeH="0" baseline="0" noProof="0" dirty="0">
                <a:ln>
                  <a:noFill/>
                </a:ln>
                <a:solidFill>
                  <a:srgbClr val="FFFFFF"/>
                </a:solidFill>
                <a:effectLst/>
                <a:uLnTx/>
                <a:uFillTx/>
                <a:latin typeface="Times New Roman"/>
                <a:ea typeface="+mn-ea"/>
                <a:cs typeface="Times New Roman"/>
              </a:rPr>
              <a:t>No Known Allergie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15" normalizeH="0" baseline="0" noProof="0" dirty="0">
                <a:ln>
                  <a:noFill/>
                </a:ln>
                <a:solidFill>
                  <a:srgbClr val="FFFFFF"/>
                </a:solidFill>
                <a:effectLst/>
                <a:uLnTx/>
                <a:uFillTx/>
                <a:latin typeface="Times New Roman"/>
                <a:ea typeface="+mn-ea"/>
                <a:cs typeface="Times New Roman"/>
              </a:rPr>
              <a:t>Pressure Ulcer POA: </a:t>
            </a:r>
            <a:r>
              <a:rPr kumimoji="0" sz="1195" b="0" i="0" u="none" strike="noStrike" kern="1200" cap="none" spc="-15" normalizeH="0" baseline="0" noProof="0" dirty="0">
                <a:ln>
                  <a:noFill/>
                </a:ln>
                <a:solidFill>
                  <a:srgbClr val="FFFFFF"/>
                </a:solidFill>
                <a:effectLst/>
                <a:uLnTx/>
                <a:uFillTx/>
                <a:latin typeface="Times New Roman"/>
                <a:ea typeface="+mn-ea"/>
                <a:cs typeface="Times New Roman"/>
              </a:rPr>
              <a:t>Negative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24" normalizeH="0" baseline="0" noProof="0" dirty="0">
                <a:ln>
                  <a:noFill/>
                </a:ln>
                <a:solidFill>
                  <a:srgbClr val="FFFFFF"/>
                </a:solidFill>
                <a:effectLst/>
                <a:uLnTx/>
                <a:uFillTx/>
                <a:latin typeface="Times New Roman"/>
                <a:ea typeface="+mn-ea"/>
                <a:cs typeface="Times New Roman"/>
              </a:rPr>
              <a:t>Last Braden Risk Score: </a:t>
            </a:r>
            <a:r>
              <a:rPr kumimoji="0" sz="1195" b="0" i="0" u="none" strike="noStrike" kern="1200" cap="none" spc="-24" normalizeH="0" baseline="0" noProof="0" dirty="0">
                <a:ln>
                  <a:noFill/>
                </a:ln>
                <a:solidFill>
                  <a:srgbClr val="FFFFFF"/>
                </a:solidFill>
                <a:effectLst/>
                <a:uLnTx/>
                <a:uFillTx/>
                <a:latin typeface="Times New Roman"/>
                <a:ea typeface="+mn-ea"/>
                <a:cs typeface="Times New Roman"/>
              </a:rPr>
              <a:t>19</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99"/>
              </a:spcBef>
              <a:spcAft>
                <a:spcPts val="0"/>
              </a:spcAft>
              <a:buClrTx/>
              <a:buSzTx/>
              <a:buFontTx/>
              <a:buNone/>
              <a:tabLst/>
              <a:defRPr/>
            </a:pPr>
            <a:r>
              <a:rPr kumimoji="0" sz="1195" b="1" i="0" u="none" strike="noStrike" kern="1200" cap="none" spc="-28" normalizeH="0" baseline="0" noProof="0" dirty="0">
                <a:ln>
                  <a:noFill/>
                </a:ln>
                <a:solidFill>
                  <a:srgbClr val="FFFFFF"/>
                </a:solidFill>
                <a:effectLst/>
                <a:uLnTx/>
                <a:uFillTx/>
                <a:latin typeface="Times New Roman"/>
                <a:ea typeface="+mn-ea"/>
                <a:cs typeface="Times New Roman"/>
              </a:rPr>
              <a:t>Fall Risk Score: </a:t>
            </a:r>
            <a:r>
              <a:rPr kumimoji="0" sz="1195" b="0" i="0" u="none" strike="noStrike" kern="1200" cap="none" spc="-28" normalizeH="0" baseline="0" noProof="0" dirty="0">
                <a:ln>
                  <a:noFill/>
                </a:ln>
                <a:solidFill>
                  <a:srgbClr val="FFFFFF"/>
                </a:solidFill>
                <a:effectLst/>
                <a:uLnTx/>
                <a:uFillTx/>
                <a:latin typeface="Times New Roman"/>
                <a:ea typeface="+mn-ea"/>
                <a:cs typeface="Times New Roman"/>
              </a:rPr>
              <a:t>6</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4" normalizeH="0" baseline="0" noProof="0" dirty="0">
                <a:ln>
                  <a:noFill/>
                </a:ln>
                <a:solidFill>
                  <a:srgbClr val="FFFFFF"/>
                </a:solidFill>
                <a:effectLst/>
                <a:uLnTx/>
                <a:uFillTx/>
                <a:latin typeface="Times New Roman"/>
                <a:ea typeface="+mn-ea"/>
                <a:cs typeface="Times New Roman"/>
              </a:rPr>
              <a:t>Last Pain Score: </a:t>
            </a:r>
            <a:r>
              <a:rPr kumimoji="0" lang="en-US" sz="1195" b="0" i="0" u="none" strike="noStrike" kern="1200" cap="none" spc="-14" normalizeH="0" baseline="0" noProof="0" dirty="0">
                <a:ln>
                  <a:noFill/>
                </a:ln>
                <a:solidFill>
                  <a:srgbClr val="FFFFFF"/>
                </a:solidFill>
                <a:effectLst/>
                <a:uLnTx/>
                <a:uFillTx/>
                <a:latin typeface="Times New Roman"/>
                <a:ea typeface="+mn-ea"/>
                <a:cs typeface="Times New Roman"/>
              </a:rPr>
              <a:t>5</a:t>
            </a:r>
            <a:r>
              <a:rPr kumimoji="0" sz="1195" b="0" i="0" u="none" strike="noStrike" kern="1200" cap="none" spc="-14" normalizeH="0" baseline="0" noProof="0" dirty="0">
                <a:ln>
                  <a:noFill/>
                </a:ln>
                <a:solidFill>
                  <a:srgbClr val="FFFFFF"/>
                </a:solidFill>
                <a:effectLst/>
                <a:uLnTx/>
                <a:uFillTx/>
                <a:latin typeface="Times New Roman"/>
                <a:ea typeface="+mn-ea"/>
                <a:cs typeface="Times New Roman"/>
              </a:rPr>
              <a:t> (0-10)</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3" name="TextBox 2">
            <a:extLst>
              <a:ext uri="{FF2B5EF4-FFF2-40B4-BE49-F238E27FC236}">
                <a16:creationId xmlns:a16="http://schemas.microsoft.com/office/drawing/2014/main" id="{180FBEAA-5020-4CF2-ABD9-9D69068EEEFF}"/>
              </a:ext>
            </a:extLst>
          </p:cNvPr>
          <p:cNvSpPr txBox="1"/>
          <p:nvPr/>
        </p:nvSpPr>
        <p:spPr>
          <a:xfrm>
            <a:off x="6085786" y="1822840"/>
            <a:ext cx="3009131" cy="1036822"/>
          </a:xfrm>
          <a:prstGeom prst="rect">
            <a:avLst/>
          </a:prstGeom>
          <a:noFill/>
        </p:spPr>
        <p:txBody>
          <a:bodyPr wrap="square" rtlCol="0">
            <a:sp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Suggested Care Plans:</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125"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mn-cs"/>
              </a:rPr>
              <a:t>Pneumonia</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Fall Injury Risk</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Skin Injury Risk</a:t>
            </a:r>
          </a:p>
        </p:txBody>
      </p:sp>
      <p:sp>
        <p:nvSpPr>
          <p:cNvPr id="36" name="TextBox 35">
            <a:extLst>
              <a:ext uri="{FF2B5EF4-FFF2-40B4-BE49-F238E27FC236}">
                <a16:creationId xmlns:a16="http://schemas.microsoft.com/office/drawing/2014/main" id="{7BFA69F7-AE79-4E82-AD43-629EDD7CE8EB}"/>
              </a:ext>
            </a:extLst>
          </p:cNvPr>
          <p:cNvSpPr txBox="1"/>
          <p:nvPr/>
        </p:nvSpPr>
        <p:spPr>
          <a:xfrm>
            <a:off x="2742328" y="1586598"/>
            <a:ext cx="2125984" cy="259045"/>
          </a:xfrm>
          <a:prstGeom prst="rect">
            <a:avLst/>
          </a:prstGeom>
          <a:noFill/>
        </p:spPr>
        <p:txBody>
          <a:bodyPr wrap="square" rtlCol="0">
            <a:spAutoFit/>
          </a:bodyPr>
          <a:lstStyle/>
          <a:p>
            <a:pPr marL="8929" marR="23102" lvl="0" indent="0" algn="l" defTabSz="642915" rtl="0" eaLnBrk="1" fontAlgn="auto" latinLnBrk="0" hangingPunct="1">
              <a:lnSpc>
                <a:spcPts val="1339"/>
              </a:lnSpc>
              <a:spcBef>
                <a:spcPts val="0"/>
              </a:spcBef>
              <a:spcAft>
                <a:spcPts val="0"/>
              </a:spcAft>
              <a:buClrTx/>
              <a:buSzTx/>
              <a:buFontTx/>
              <a:buNone/>
              <a:tabLst/>
              <a:defRPr/>
            </a:pPr>
            <a:r>
              <a:rPr kumimoji="0" lang="en-US" sz="1266" b="1" i="0" u="none" strike="noStrike" kern="1200" cap="none" spc="-128" normalizeH="0" baseline="0" noProof="0" dirty="0">
                <a:ln>
                  <a:noFill/>
                </a:ln>
                <a:solidFill>
                  <a:srgbClr val="F5821F"/>
                </a:solidFill>
                <a:effectLst/>
                <a:uLnTx/>
                <a:uFillTx/>
                <a:latin typeface="Times New Roman"/>
                <a:ea typeface="+mn-ea"/>
                <a:cs typeface="Times New Roman"/>
              </a:rPr>
              <a:t>PLAN OF CARE</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pic>
        <p:nvPicPr>
          <p:cNvPr id="41" name="Picture 40">
            <a:extLst>
              <a:ext uri="{FF2B5EF4-FFF2-40B4-BE49-F238E27FC236}">
                <a16:creationId xmlns:a16="http://schemas.microsoft.com/office/drawing/2014/main" id="{3D3919E8-E196-466F-BD25-073290416D4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075284" y="2203982"/>
            <a:ext cx="211216" cy="207034"/>
          </a:xfrm>
          <a:prstGeom prst="rect">
            <a:avLst/>
          </a:prstGeom>
        </p:spPr>
      </p:pic>
      <p:sp>
        <p:nvSpPr>
          <p:cNvPr id="37" name="TextBox 36">
            <a:extLst>
              <a:ext uri="{FF2B5EF4-FFF2-40B4-BE49-F238E27FC236}">
                <a16:creationId xmlns:a16="http://schemas.microsoft.com/office/drawing/2014/main" id="{9FBC310D-48BF-4CE8-904F-99E8602AFD07}"/>
              </a:ext>
            </a:extLst>
          </p:cNvPr>
          <p:cNvSpPr txBox="1"/>
          <p:nvPr/>
        </p:nvSpPr>
        <p:spPr>
          <a:xfrm>
            <a:off x="2821964" y="2184472"/>
            <a:ext cx="2867321" cy="676724"/>
          </a:xfrm>
          <a:prstGeom prst="rect">
            <a:avLst/>
          </a:prstGeom>
          <a:noFill/>
        </p:spPr>
        <p:txBody>
          <a:bodyPr wrap="square" rtlCol="0">
            <a:spAutoFit/>
          </a:bodyPr>
          <a:lstStyle/>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Respiratory Compromise</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Infection Progression</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Fluid/Electrolyte Imbalance</a:t>
            </a:r>
          </a:p>
        </p:txBody>
      </p:sp>
    </p:spTree>
    <p:extLst>
      <p:ext uri="{BB962C8B-B14F-4D97-AF65-F5344CB8AC3E}">
        <p14:creationId xmlns:p14="http://schemas.microsoft.com/office/powerpoint/2010/main" val="3114655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bject 27"/>
          <p:cNvSpPr/>
          <p:nvPr/>
        </p:nvSpPr>
        <p:spPr>
          <a:xfrm>
            <a:off x="7197328" y="273013"/>
            <a:ext cx="202266" cy="219938"/>
          </a:xfrm>
          <a:custGeom>
            <a:avLst/>
            <a:gdLst/>
            <a:ahLst/>
            <a:cxnLst/>
            <a:rect l="l" t="t" r="r" b="b"/>
            <a:pathLst>
              <a:path w="287667" h="312801">
                <a:moveTo>
                  <a:pt x="279527" y="232981"/>
                </a:moveTo>
                <a:lnTo>
                  <a:pt x="276916" y="240546"/>
                </a:lnTo>
                <a:lnTo>
                  <a:pt x="271028" y="253498"/>
                </a:lnTo>
                <a:lnTo>
                  <a:pt x="263732" y="264989"/>
                </a:lnTo>
                <a:lnTo>
                  <a:pt x="255011" y="274826"/>
                </a:lnTo>
                <a:lnTo>
                  <a:pt x="244844" y="282815"/>
                </a:lnTo>
                <a:lnTo>
                  <a:pt x="233214" y="288761"/>
                </a:lnTo>
                <a:lnTo>
                  <a:pt x="220100" y="292471"/>
                </a:lnTo>
                <a:lnTo>
                  <a:pt x="205486" y="293750"/>
                </a:lnTo>
                <a:lnTo>
                  <a:pt x="114566" y="293750"/>
                </a:lnTo>
                <a:lnTo>
                  <a:pt x="107728" y="293248"/>
                </a:lnTo>
                <a:lnTo>
                  <a:pt x="97959" y="288007"/>
                </a:lnTo>
                <a:lnTo>
                  <a:pt x="93852" y="275935"/>
                </a:lnTo>
                <a:lnTo>
                  <a:pt x="93014" y="255638"/>
                </a:lnTo>
                <a:lnTo>
                  <a:pt x="93014" y="157327"/>
                </a:lnTo>
                <a:lnTo>
                  <a:pt x="183959" y="157327"/>
                </a:lnTo>
                <a:lnTo>
                  <a:pt x="196111" y="158269"/>
                </a:lnTo>
                <a:lnTo>
                  <a:pt x="208856" y="162758"/>
                </a:lnTo>
                <a:lnTo>
                  <a:pt x="217578" y="171143"/>
                </a:lnTo>
                <a:lnTo>
                  <a:pt x="222963" y="183638"/>
                </a:lnTo>
                <a:lnTo>
                  <a:pt x="225691" y="200456"/>
                </a:lnTo>
                <a:lnTo>
                  <a:pt x="234276" y="200456"/>
                </a:lnTo>
                <a:lnTo>
                  <a:pt x="234276" y="95199"/>
                </a:lnTo>
                <a:lnTo>
                  <a:pt x="225691" y="95199"/>
                </a:lnTo>
                <a:lnTo>
                  <a:pt x="223826" y="107933"/>
                </a:lnTo>
                <a:lnTo>
                  <a:pt x="219273" y="121643"/>
                </a:lnTo>
                <a:lnTo>
                  <a:pt x="211670" y="131078"/>
                </a:lnTo>
                <a:lnTo>
                  <a:pt x="200178" y="136526"/>
                </a:lnTo>
                <a:lnTo>
                  <a:pt x="183959" y="138277"/>
                </a:lnTo>
                <a:lnTo>
                  <a:pt x="93014" y="138277"/>
                </a:lnTo>
                <a:lnTo>
                  <a:pt x="93014" y="50723"/>
                </a:lnTo>
                <a:lnTo>
                  <a:pt x="93622" y="31657"/>
                </a:lnTo>
                <a:lnTo>
                  <a:pt x="98530" y="21623"/>
                </a:lnTo>
                <a:lnTo>
                  <a:pt x="112407" y="19100"/>
                </a:lnTo>
                <a:lnTo>
                  <a:pt x="195286" y="19103"/>
                </a:lnTo>
                <a:lnTo>
                  <a:pt x="211403" y="20210"/>
                </a:lnTo>
                <a:lnTo>
                  <a:pt x="224822" y="23609"/>
                </a:lnTo>
                <a:lnTo>
                  <a:pt x="235629" y="29719"/>
                </a:lnTo>
                <a:lnTo>
                  <a:pt x="243912" y="38959"/>
                </a:lnTo>
                <a:lnTo>
                  <a:pt x="249756" y="51747"/>
                </a:lnTo>
                <a:lnTo>
                  <a:pt x="253250" y="68503"/>
                </a:lnTo>
                <a:lnTo>
                  <a:pt x="261886" y="68503"/>
                </a:lnTo>
                <a:lnTo>
                  <a:pt x="257987" y="0"/>
                </a:lnTo>
                <a:lnTo>
                  <a:pt x="0" y="0"/>
                </a:lnTo>
                <a:lnTo>
                  <a:pt x="0" y="9016"/>
                </a:lnTo>
                <a:lnTo>
                  <a:pt x="1410" y="9021"/>
                </a:lnTo>
                <a:lnTo>
                  <a:pt x="18919" y="10203"/>
                </a:lnTo>
                <a:lnTo>
                  <a:pt x="31711" y="14202"/>
                </a:lnTo>
                <a:lnTo>
                  <a:pt x="40261" y="22059"/>
                </a:lnTo>
                <a:lnTo>
                  <a:pt x="45044" y="34817"/>
                </a:lnTo>
                <a:lnTo>
                  <a:pt x="46532" y="53517"/>
                </a:lnTo>
                <a:lnTo>
                  <a:pt x="46527" y="260779"/>
                </a:lnTo>
                <a:lnTo>
                  <a:pt x="44838" y="279017"/>
                </a:lnTo>
                <a:lnTo>
                  <a:pt x="39817" y="291402"/>
                </a:lnTo>
                <a:lnTo>
                  <a:pt x="30988" y="298970"/>
                </a:lnTo>
                <a:lnTo>
                  <a:pt x="17874" y="302752"/>
                </a:lnTo>
                <a:lnTo>
                  <a:pt x="0" y="303783"/>
                </a:lnTo>
                <a:lnTo>
                  <a:pt x="0" y="312800"/>
                </a:lnTo>
                <a:lnTo>
                  <a:pt x="264439" y="312800"/>
                </a:lnTo>
                <a:lnTo>
                  <a:pt x="287667"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object 28"/>
          <p:cNvSpPr/>
          <p:nvPr/>
        </p:nvSpPr>
        <p:spPr>
          <a:xfrm>
            <a:off x="7397748" y="273013"/>
            <a:ext cx="192604" cy="219938"/>
          </a:xfrm>
          <a:custGeom>
            <a:avLst/>
            <a:gdLst/>
            <a:ahLst/>
            <a:cxnLst/>
            <a:rect l="l" t="t" r="r" b="b"/>
            <a:pathLst>
              <a:path w="273926" h="312801">
                <a:moveTo>
                  <a:pt x="263626" y="230720"/>
                </a:moveTo>
                <a:lnTo>
                  <a:pt x="254350" y="250108"/>
                </a:lnTo>
                <a:lnTo>
                  <a:pt x="246935" y="261900"/>
                </a:lnTo>
                <a:lnTo>
                  <a:pt x="238716" y="271780"/>
                </a:lnTo>
                <a:lnTo>
                  <a:pt x="229476" y="279784"/>
                </a:lnTo>
                <a:lnTo>
                  <a:pt x="218997" y="285948"/>
                </a:lnTo>
                <a:lnTo>
                  <a:pt x="207064" y="290306"/>
                </a:lnTo>
                <a:lnTo>
                  <a:pt x="193459" y="292895"/>
                </a:lnTo>
                <a:lnTo>
                  <a:pt x="177965" y="293750"/>
                </a:lnTo>
                <a:lnTo>
                  <a:pt x="116319" y="293750"/>
                </a:lnTo>
                <a:lnTo>
                  <a:pt x="103518" y="291860"/>
                </a:lnTo>
                <a:lnTo>
                  <a:pt x="94331" y="284253"/>
                </a:lnTo>
                <a:lnTo>
                  <a:pt x="90713" y="271286"/>
                </a:lnTo>
                <a:lnTo>
                  <a:pt x="90081" y="253466"/>
                </a:lnTo>
                <a:lnTo>
                  <a:pt x="90087" y="52028"/>
                </a:lnTo>
                <a:lnTo>
                  <a:pt x="91780" y="33763"/>
                </a:lnTo>
                <a:lnTo>
                  <a:pt x="96794" y="21372"/>
                </a:lnTo>
                <a:lnTo>
                  <a:pt x="105612" y="13812"/>
                </a:lnTo>
                <a:lnTo>
                  <a:pt x="118716" y="10042"/>
                </a:lnTo>
                <a:lnTo>
                  <a:pt x="136588" y="9016"/>
                </a:lnTo>
                <a:lnTo>
                  <a:pt x="136588" y="0"/>
                </a:lnTo>
                <a:lnTo>
                  <a:pt x="0" y="0"/>
                </a:lnTo>
                <a:lnTo>
                  <a:pt x="0" y="9016"/>
                </a:lnTo>
                <a:lnTo>
                  <a:pt x="14966" y="10511"/>
                </a:lnTo>
                <a:lnTo>
                  <a:pt x="28155" y="14358"/>
                </a:lnTo>
                <a:lnTo>
                  <a:pt x="37006" y="21749"/>
                </a:lnTo>
                <a:lnTo>
                  <a:pt x="41980" y="34041"/>
                </a:lnTo>
                <a:lnTo>
                  <a:pt x="43535" y="52590"/>
                </a:lnTo>
                <a:lnTo>
                  <a:pt x="43535" y="260261"/>
                </a:lnTo>
                <a:lnTo>
                  <a:pt x="42426" y="276421"/>
                </a:lnTo>
                <a:lnTo>
                  <a:pt x="37999" y="289580"/>
                </a:lnTo>
                <a:lnTo>
                  <a:pt x="29760" y="297621"/>
                </a:lnTo>
                <a:lnTo>
                  <a:pt x="17247" y="301903"/>
                </a:lnTo>
                <a:lnTo>
                  <a:pt x="0" y="303783"/>
                </a:lnTo>
                <a:lnTo>
                  <a:pt x="0" y="312800"/>
                </a:lnTo>
                <a:lnTo>
                  <a:pt x="247650" y="312800"/>
                </a:lnTo>
                <a:lnTo>
                  <a:pt x="273926" y="232625"/>
                </a:lnTo>
                <a:lnTo>
                  <a:pt x="263626" y="23072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bject 29"/>
          <p:cNvSpPr/>
          <p:nvPr/>
        </p:nvSpPr>
        <p:spPr>
          <a:xfrm>
            <a:off x="7595780" y="267888"/>
            <a:ext cx="141160" cy="230162"/>
          </a:xfrm>
          <a:custGeom>
            <a:avLst/>
            <a:gdLst/>
            <a:ahLst/>
            <a:cxnLst/>
            <a:rect l="l" t="t" r="r" b="b"/>
            <a:pathLst>
              <a:path w="200761" h="327342">
                <a:moveTo>
                  <a:pt x="10321" y="68942"/>
                </a:moveTo>
                <a:lnTo>
                  <a:pt x="9067" y="84797"/>
                </a:lnTo>
                <a:lnTo>
                  <a:pt x="9094" y="86841"/>
                </a:lnTo>
                <a:lnTo>
                  <a:pt x="10343" y="98306"/>
                </a:lnTo>
                <a:lnTo>
                  <a:pt x="13392" y="108843"/>
                </a:lnTo>
                <a:lnTo>
                  <a:pt x="18155" y="118652"/>
                </a:lnTo>
                <a:lnTo>
                  <a:pt x="24544" y="127932"/>
                </a:lnTo>
                <a:lnTo>
                  <a:pt x="32474" y="136881"/>
                </a:lnTo>
                <a:lnTo>
                  <a:pt x="41858" y="145698"/>
                </a:lnTo>
                <a:lnTo>
                  <a:pt x="52609" y="154583"/>
                </a:lnTo>
                <a:lnTo>
                  <a:pt x="64641" y="163733"/>
                </a:lnTo>
                <a:lnTo>
                  <a:pt x="77867" y="173349"/>
                </a:lnTo>
                <a:lnTo>
                  <a:pt x="92202" y="183629"/>
                </a:lnTo>
                <a:lnTo>
                  <a:pt x="104017" y="192251"/>
                </a:lnTo>
                <a:lnTo>
                  <a:pt x="117107" y="202385"/>
                </a:lnTo>
                <a:lnTo>
                  <a:pt x="128553" y="212154"/>
                </a:lnTo>
                <a:lnTo>
                  <a:pt x="138219" y="221667"/>
                </a:lnTo>
                <a:lnTo>
                  <a:pt x="145972" y="231033"/>
                </a:lnTo>
                <a:lnTo>
                  <a:pt x="151675" y="240363"/>
                </a:lnTo>
                <a:lnTo>
                  <a:pt x="155196" y="249764"/>
                </a:lnTo>
                <a:lnTo>
                  <a:pt x="156400" y="259346"/>
                </a:lnTo>
                <a:lnTo>
                  <a:pt x="154334" y="274067"/>
                </a:lnTo>
                <a:lnTo>
                  <a:pt x="148555" y="286590"/>
                </a:lnTo>
                <a:lnTo>
                  <a:pt x="139643" y="296736"/>
                </a:lnTo>
                <a:lnTo>
                  <a:pt x="128181" y="304271"/>
                </a:lnTo>
                <a:lnTo>
                  <a:pt x="114751" y="308962"/>
                </a:lnTo>
                <a:lnTo>
                  <a:pt x="99936" y="310578"/>
                </a:lnTo>
                <a:lnTo>
                  <a:pt x="89934" y="309904"/>
                </a:lnTo>
                <a:lnTo>
                  <a:pt x="76906" y="306822"/>
                </a:lnTo>
                <a:lnTo>
                  <a:pt x="65028" y="301521"/>
                </a:lnTo>
                <a:lnTo>
                  <a:pt x="54235" y="294302"/>
                </a:lnTo>
                <a:lnTo>
                  <a:pt x="44462" y="285468"/>
                </a:lnTo>
                <a:lnTo>
                  <a:pt x="35645" y="275322"/>
                </a:lnTo>
                <a:lnTo>
                  <a:pt x="27718" y="264166"/>
                </a:lnTo>
                <a:lnTo>
                  <a:pt x="20618" y="252302"/>
                </a:lnTo>
                <a:lnTo>
                  <a:pt x="14278" y="240032"/>
                </a:lnTo>
                <a:lnTo>
                  <a:pt x="8636" y="227660"/>
                </a:lnTo>
                <a:lnTo>
                  <a:pt x="0" y="227660"/>
                </a:lnTo>
                <a:lnTo>
                  <a:pt x="16802" y="324192"/>
                </a:lnTo>
                <a:lnTo>
                  <a:pt x="25463" y="324192"/>
                </a:lnTo>
                <a:lnTo>
                  <a:pt x="26352" y="317449"/>
                </a:lnTo>
                <a:lnTo>
                  <a:pt x="31876" y="314299"/>
                </a:lnTo>
                <a:lnTo>
                  <a:pt x="37096" y="314299"/>
                </a:lnTo>
                <a:lnTo>
                  <a:pt x="41516" y="314915"/>
                </a:lnTo>
                <a:lnTo>
                  <a:pt x="50668" y="317201"/>
                </a:lnTo>
                <a:lnTo>
                  <a:pt x="62825" y="320407"/>
                </a:lnTo>
                <a:lnTo>
                  <a:pt x="77157" y="323713"/>
                </a:lnTo>
                <a:lnTo>
                  <a:pt x="92835" y="326298"/>
                </a:lnTo>
                <a:lnTo>
                  <a:pt x="109029" y="327342"/>
                </a:lnTo>
                <a:lnTo>
                  <a:pt x="109480" y="327341"/>
                </a:lnTo>
                <a:lnTo>
                  <a:pt x="124538" y="326156"/>
                </a:lnTo>
                <a:lnTo>
                  <a:pt x="138729" y="322841"/>
                </a:lnTo>
                <a:lnTo>
                  <a:pt x="151884" y="317559"/>
                </a:lnTo>
                <a:lnTo>
                  <a:pt x="163836" y="310469"/>
                </a:lnTo>
                <a:lnTo>
                  <a:pt x="174413" y="301732"/>
                </a:lnTo>
                <a:lnTo>
                  <a:pt x="183447" y="291509"/>
                </a:lnTo>
                <a:lnTo>
                  <a:pt x="190768" y="279961"/>
                </a:lnTo>
                <a:lnTo>
                  <a:pt x="196207" y="267249"/>
                </a:lnTo>
                <a:lnTo>
                  <a:pt x="199594" y="253534"/>
                </a:lnTo>
                <a:lnTo>
                  <a:pt x="200761" y="238975"/>
                </a:lnTo>
                <a:lnTo>
                  <a:pt x="200208" y="229802"/>
                </a:lnTo>
                <a:lnTo>
                  <a:pt x="197518" y="217185"/>
                </a:lnTo>
                <a:lnTo>
                  <a:pt x="192813" y="205469"/>
                </a:lnTo>
                <a:lnTo>
                  <a:pt x="186339" y="194585"/>
                </a:lnTo>
                <a:lnTo>
                  <a:pt x="178341" y="184463"/>
                </a:lnTo>
                <a:lnTo>
                  <a:pt x="169065" y="175032"/>
                </a:lnTo>
                <a:lnTo>
                  <a:pt x="158755" y="166225"/>
                </a:lnTo>
                <a:lnTo>
                  <a:pt x="147657" y="157969"/>
                </a:lnTo>
                <a:lnTo>
                  <a:pt x="136016" y="150196"/>
                </a:lnTo>
                <a:lnTo>
                  <a:pt x="124079" y="142836"/>
                </a:lnTo>
                <a:lnTo>
                  <a:pt x="114617" y="137112"/>
                </a:lnTo>
                <a:lnTo>
                  <a:pt x="99689" y="127857"/>
                </a:lnTo>
                <a:lnTo>
                  <a:pt x="86381" y="119077"/>
                </a:lnTo>
                <a:lnTo>
                  <a:pt x="74808" y="110584"/>
                </a:lnTo>
                <a:lnTo>
                  <a:pt x="65084" y="102185"/>
                </a:lnTo>
                <a:lnTo>
                  <a:pt x="57322" y="93693"/>
                </a:lnTo>
                <a:lnTo>
                  <a:pt x="51636" y="84916"/>
                </a:lnTo>
                <a:lnTo>
                  <a:pt x="48142" y="75664"/>
                </a:lnTo>
                <a:lnTo>
                  <a:pt x="46951" y="65747"/>
                </a:lnTo>
                <a:lnTo>
                  <a:pt x="47315" y="59506"/>
                </a:lnTo>
                <a:lnTo>
                  <a:pt x="51053" y="45528"/>
                </a:lnTo>
                <a:lnTo>
                  <a:pt x="58334" y="33757"/>
                </a:lnTo>
                <a:lnTo>
                  <a:pt x="68536" y="24710"/>
                </a:lnTo>
                <a:lnTo>
                  <a:pt x="81036" y="18903"/>
                </a:lnTo>
                <a:lnTo>
                  <a:pt x="95211" y="16852"/>
                </a:lnTo>
                <a:lnTo>
                  <a:pt x="95535" y="16853"/>
                </a:lnTo>
                <a:lnTo>
                  <a:pt x="109355" y="18312"/>
                </a:lnTo>
                <a:lnTo>
                  <a:pt x="121957" y="22352"/>
                </a:lnTo>
                <a:lnTo>
                  <a:pt x="133357" y="28658"/>
                </a:lnTo>
                <a:lnTo>
                  <a:pt x="143574" y="36919"/>
                </a:lnTo>
                <a:lnTo>
                  <a:pt x="152623" y="46820"/>
                </a:lnTo>
                <a:lnTo>
                  <a:pt x="160524" y="58051"/>
                </a:lnTo>
                <a:lnTo>
                  <a:pt x="167294" y="70297"/>
                </a:lnTo>
                <a:lnTo>
                  <a:pt x="172949" y="83245"/>
                </a:lnTo>
                <a:lnTo>
                  <a:pt x="177507" y="96583"/>
                </a:lnTo>
                <a:lnTo>
                  <a:pt x="186093" y="96583"/>
                </a:lnTo>
                <a:lnTo>
                  <a:pt x="176225" y="3314"/>
                </a:lnTo>
                <a:lnTo>
                  <a:pt x="167627" y="3314"/>
                </a:lnTo>
                <a:lnTo>
                  <a:pt x="168846" y="10477"/>
                </a:lnTo>
                <a:lnTo>
                  <a:pt x="167627" y="14592"/>
                </a:lnTo>
                <a:lnTo>
                  <a:pt x="158018" y="14521"/>
                </a:lnTo>
                <a:lnTo>
                  <a:pt x="148019" y="12591"/>
                </a:lnTo>
                <a:lnTo>
                  <a:pt x="137982" y="8937"/>
                </a:lnTo>
                <a:lnTo>
                  <a:pt x="126710" y="4796"/>
                </a:lnTo>
                <a:lnTo>
                  <a:pt x="113009" y="1405"/>
                </a:lnTo>
                <a:lnTo>
                  <a:pt x="95681" y="0"/>
                </a:lnTo>
                <a:lnTo>
                  <a:pt x="87648" y="311"/>
                </a:lnTo>
                <a:lnTo>
                  <a:pt x="73426" y="2477"/>
                </a:lnTo>
                <a:lnTo>
                  <a:pt x="60081" y="6636"/>
                </a:lnTo>
                <a:lnTo>
                  <a:pt x="47824" y="12709"/>
                </a:lnTo>
                <a:lnTo>
                  <a:pt x="36869" y="20614"/>
                </a:lnTo>
                <a:lnTo>
                  <a:pt x="27428" y="30271"/>
                </a:lnTo>
                <a:lnTo>
                  <a:pt x="19714" y="41598"/>
                </a:lnTo>
                <a:lnTo>
                  <a:pt x="13941" y="54516"/>
                </a:lnTo>
                <a:lnTo>
                  <a:pt x="10321" y="68942"/>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bject 30"/>
          <p:cNvSpPr/>
          <p:nvPr/>
        </p:nvSpPr>
        <p:spPr>
          <a:xfrm>
            <a:off x="7737814" y="273013"/>
            <a:ext cx="202338" cy="219938"/>
          </a:xfrm>
          <a:custGeom>
            <a:avLst/>
            <a:gdLst/>
            <a:ahLst/>
            <a:cxnLst/>
            <a:rect l="l" t="t" r="r" b="b"/>
            <a:pathLst>
              <a:path w="287769" h="312801">
                <a:moveTo>
                  <a:pt x="279552" y="232981"/>
                </a:moveTo>
                <a:lnTo>
                  <a:pt x="276943" y="240536"/>
                </a:lnTo>
                <a:lnTo>
                  <a:pt x="271058" y="253490"/>
                </a:lnTo>
                <a:lnTo>
                  <a:pt x="263768" y="264984"/>
                </a:lnTo>
                <a:lnTo>
                  <a:pt x="255054" y="274822"/>
                </a:lnTo>
                <a:lnTo>
                  <a:pt x="244894" y="282812"/>
                </a:lnTo>
                <a:lnTo>
                  <a:pt x="233266" y="288760"/>
                </a:lnTo>
                <a:lnTo>
                  <a:pt x="220150" y="292470"/>
                </a:lnTo>
                <a:lnTo>
                  <a:pt x="205524" y="293750"/>
                </a:lnTo>
                <a:lnTo>
                  <a:pt x="114617" y="293750"/>
                </a:lnTo>
                <a:lnTo>
                  <a:pt x="107743" y="293243"/>
                </a:lnTo>
                <a:lnTo>
                  <a:pt x="97971" y="287995"/>
                </a:lnTo>
                <a:lnTo>
                  <a:pt x="93848" y="275924"/>
                </a:lnTo>
                <a:lnTo>
                  <a:pt x="93002" y="255638"/>
                </a:lnTo>
                <a:lnTo>
                  <a:pt x="93002" y="157327"/>
                </a:lnTo>
                <a:lnTo>
                  <a:pt x="183972" y="157327"/>
                </a:lnTo>
                <a:lnTo>
                  <a:pt x="196132" y="158270"/>
                </a:lnTo>
                <a:lnTo>
                  <a:pt x="208870" y="162761"/>
                </a:lnTo>
                <a:lnTo>
                  <a:pt x="217590" y="171146"/>
                </a:lnTo>
                <a:lnTo>
                  <a:pt x="222977" y="183640"/>
                </a:lnTo>
                <a:lnTo>
                  <a:pt x="225717" y="200456"/>
                </a:lnTo>
                <a:lnTo>
                  <a:pt x="234302" y="200456"/>
                </a:lnTo>
                <a:lnTo>
                  <a:pt x="234302" y="95199"/>
                </a:lnTo>
                <a:lnTo>
                  <a:pt x="225717" y="95199"/>
                </a:lnTo>
                <a:lnTo>
                  <a:pt x="223839" y="107942"/>
                </a:lnTo>
                <a:lnTo>
                  <a:pt x="219288" y="121649"/>
                </a:lnTo>
                <a:lnTo>
                  <a:pt x="211694" y="131080"/>
                </a:lnTo>
                <a:lnTo>
                  <a:pt x="200206" y="136526"/>
                </a:lnTo>
                <a:lnTo>
                  <a:pt x="183972" y="138277"/>
                </a:lnTo>
                <a:lnTo>
                  <a:pt x="93002" y="138277"/>
                </a:lnTo>
                <a:lnTo>
                  <a:pt x="93002" y="50723"/>
                </a:lnTo>
                <a:lnTo>
                  <a:pt x="93614" y="31635"/>
                </a:lnTo>
                <a:lnTo>
                  <a:pt x="98538" y="21619"/>
                </a:lnTo>
                <a:lnTo>
                  <a:pt x="112445" y="19100"/>
                </a:lnTo>
                <a:lnTo>
                  <a:pt x="195307" y="19104"/>
                </a:lnTo>
                <a:lnTo>
                  <a:pt x="211444" y="20221"/>
                </a:lnTo>
                <a:lnTo>
                  <a:pt x="224871" y="23628"/>
                </a:lnTo>
                <a:lnTo>
                  <a:pt x="235677" y="29742"/>
                </a:lnTo>
                <a:lnTo>
                  <a:pt x="243952" y="38981"/>
                </a:lnTo>
                <a:lnTo>
                  <a:pt x="249784" y="51762"/>
                </a:lnTo>
                <a:lnTo>
                  <a:pt x="253263" y="68503"/>
                </a:lnTo>
                <a:lnTo>
                  <a:pt x="261861" y="68503"/>
                </a:lnTo>
                <a:lnTo>
                  <a:pt x="258025" y="0"/>
                </a:lnTo>
                <a:lnTo>
                  <a:pt x="0" y="0"/>
                </a:lnTo>
                <a:lnTo>
                  <a:pt x="0" y="9016"/>
                </a:lnTo>
                <a:lnTo>
                  <a:pt x="1382" y="9021"/>
                </a:lnTo>
                <a:lnTo>
                  <a:pt x="18909" y="10200"/>
                </a:lnTo>
                <a:lnTo>
                  <a:pt x="31704" y="14197"/>
                </a:lnTo>
                <a:lnTo>
                  <a:pt x="40248" y="22053"/>
                </a:lnTo>
                <a:lnTo>
                  <a:pt x="45022" y="34812"/>
                </a:lnTo>
                <a:lnTo>
                  <a:pt x="46507" y="53517"/>
                </a:lnTo>
                <a:lnTo>
                  <a:pt x="46501" y="260748"/>
                </a:lnTo>
                <a:lnTo>
                  <a:pt x="44822" y="278999"/>
                </a:lnTo>
                <a:lnTo>
                  <a:pt x="39815" y="291394"/>
                </a:lnTo>
                <a:lnTo>
                  <a:pt x="30996" y="298967"/>
                </a:lnTo>
                <a:lnTo>
                  <a:pt x="17886" y="302752"/>
                </a:lnTo>
                <a:lnTo>
                  <a:pt x="0" y="303783"/>
                </a:lnTo>
                <a:lnTo>
                  <a:pt x="0" y="312800"/>
                </a:lnTo>
                <a:lnTo>
                  <a:pt x="264502" y="312800"/>
                </a:lnTo>
                <a:lnTo>
                  <a:pt x="287769" y="236232"/>
                </a:lnTo>
                <a:lnTo>
                  <a:pt x="279552"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object 31"/>
          <p:cNvSpPr/>
          <p:nvPr/>
        </p:nvSpPr>
        <p:spPr>
          <a:xfrm>
            <a:off x="7923469" y="273014"/>
            <a:ext cx="228341" cy="222528"/>
          </a:xfrm>
          <a:custGeom>
            <a:avLst/>
            <a:gdLst/>
            <a:ahLst/>
            <a:cxnLst/>
            <a:rect l="l" t="t" r="r" b="b"/>
            <a:pathLst>
              <a:path w="324751" h="316484">
                <a:moveTo>
                  <a:pt x="91997" y="24011"/>
                </a:moveTo>
                <a:lnTo>
                  <a:pt x="99871" y="13459"/>
                </a:lnTo>
                <a:lnTo>
                  <a:pt x="114130" y="9572"/>
                </a:lnTo>
                <a:lnTo>
                  <a:pt x="127977" y="9016"/>
                </a:lnTo>
                <a:lnTo>
                  <a:pt x="127977" y="0"/>
                </a:lnTo>
                <a:lnTo>
                  <a:pt x="0" y="0"/>
                </a:lnTo>
                <a:lnTo>
                  <a:pt x="0" y="9016"/>
                </a:lnTo>
                <a:lnTo>
                  <a:pt x="2948" y="9122"/>
                </a:lnTo>
                <a:lnTo>
                  <a:pt x="15857" y="12204"/>
                </a:lnTo>
                <a:lnTo>
                  <a:pt x="26953" y="19165"/>
                </a:lnTo>
                <a:lnTo>
                  <a:pt x="35356" y="29476"/>
                </a:lnTo>
                <a:lnTo>
                  <a:pt x="42551" y="42746"/>
                </a:lnTo>
                <a:lnTo>
                  <a:pt x="48256" y="54127"/>
                </a:lnTo>
                <a:lnTo>
                  <a:pt x="53680" y="65620"/>
                </a:lnTo>
                <a:lnTo>
                  <a:pt x="58887" y="77198"/>
                </a:lnTo>
                <a:lnTo>
                  <a:pt x="63944" y="88835"/>
                </a:lnTo>
                <a:lnTo>
                  <a:pt x="68916" y="100505"/>
                </a:lnTo>
                <a:lnTo>
                  <a:pt x="73868" y="112181"/>
                </a:lnTo>
                <a:lnTo>
                  <a:pt x="78866" y="123837"/>
                </a:lnTo>
                <a:lnTo>
                  <a:pt x="161975" y="316483"/>
                </a:lnTo>
                <a:lnTo>
                  <a:pt x="168401" y="316483"/>
                </a:lnTo>
                <a:lnTo>
                  <a:pt x="268338" y="86550"/>
                </a:lnTo>
                <a:lnTo>
                  <a:pt x="270549" y="81247"/>
                </a:lnTo>
                <a:lnTo>
                  <a:pt x="275260" y="69665"/>
                </a:lnTo>
                <a:lnTo>
                  <a:pt x="280885" y="56348"/>
                </a:lnTo>
                <a:lnTo>
                  <a:pt x="287239" y="42690"/>
                </a:lnTo>
                <a:lnTo>
                  <a:pt x="294141" y="30083"/>
                </a:lnTo>
                <a:lnTo>
                  <a:pt x="301406" y="19918"/>
                </a:lnTo>
                <a:lnTo>
                  <a:pt x="308851" y="13588"/>
                </a:lnTo>
                <a:lnTo>
                  <a:pt x="314007" y="10883"/>
                </a:lnTo>
                <a:lnTo>
                  <a:pt x="319557" y="10020"/>
                </a:lnTo>
                <a:lnTo>
                  <a:pt x="324751" y="9016"/>
                </a:lnTo>
                <a:lnTo>
                  <a:pt x="324751" y="0"/>
                </a:lnTo>
                <a:lnTo>
                  <a:pt x="233476" y="0"/>
                </a:lnTo>
                <a:lnTo>
                  <a:pt x="233476" y="9016"/>
                </a:lnTo>
                <a:lnTo>
                  <a:pt x="250754" y="11440"/>
                </a:lnTo>
                <a:lnTo>
                  <a:pt x="262460" y="16957"/>
                </a:lnTo>
                <a:lnTo>
                  <a:pt x="266280" y="25387"/>
                </a:lnTo>
                <a:lnTo>
                  <a:pt x="266156" y="28939"/>
                </a:lnTo>
                <a:lnTo>
                  <a:pt x="264646" y="38693"/>
                </a:lnTo>
                <a:lnTo>
                  <a:pt x="260974" y="51036"/>
                </a:lnTo>
                <a:lnTo>
                  <a:pt x="254584" y="67132"/>
                </a:lnTo>
                <a:lnTo>
                  <a:pt x="179616" y="241617"/>
                </a:lnTo>
                <a:lnTo>
                  <a:pt x="117182" y="92976"/>
                </a:lnTo>
                <a:lnTo>
                  <a:pt x="113376" y="83986"/>
                </a:lnTo>
                <a:lnTo>
                  <a:pt x="106936" y="68608"/>
                </a:lnTo>
                <a:lnTo>
                  <a:pt x="101056" y="54194"/>
                </a:lnTo>
                <a:lnTo>
                  <a:pt x="96237" y="41751"/>
                </a:lnTo>
                <a:lnTo>
                  <a:pt x="92979" y="32283"/>
                </a:lnTo>
                <a:lnTo>
                  <a:pt x="91782" y="26796"/>
                </a:lnTo>
                <a:lnTo>
                  <a:pt x="91997" y="2401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object 32"/>
          <p:cNvSpPr/>
          <p:nvPr/>
        </p:nvSpPr>
        <p:spPr>
          <a:xfrm>
            <a:off x="8153924" y="273013"/>
            <a:ext cx="98146" cy="219938"/>
          </a:xfrm>
          <a:custGeom>
            <a:avLst/>
            <a:gdLst/>
            <a:ahLst/>
            <a:cxnLst/>
            <a:rect l="l" t="t" r="r" b="b"/>
            <a:pathLst>
              <a:path w="139585" h="312801">
                <a:moveTo>
                  <a:pt x="46570" y="259397"/>
                </a:moveTo>
                <a:lnTo>
                  <a:pt x="44869" y="279043"/>
                </a:lnTo>
                <a:lnTo>
                  <a:pt x="39840" y="291415"/>
                </a:lnTo>
                <a:lnTo>
                  <a:pt x="31003" y="298975"/>
                </a:lnTo>
                <a:lnTo>
                  <a:pt x="17881" y="302753"/>
                </a:lnTo>
                <a:lnTo>
                  <a:pt x="0" y="303783"/>
                </a:lnTo>
                <a:lnTo>
                  <a:pt x="0" y="312800"/>
                </a:lnTo>
                <a:lnTo>
                  <a:pt x="139585" y="312800"/>
                </a:lnTo>
                <a:lnTo>
                  <a:pt x="139585" y="303783"/>
                </a:lnTo>
                <a:lnTo>
                  <a:pt x="138180" y="303779"/>
                </a:lnTo>
                <a:lnTo>
                  <a:pt x="120634" y="302594"/>
                </a:lnTo>
                <a:lnTo>
                  <a:pt x="107812" y="298593"/>
                </a:lnTo>
                <a:lnTo>
                  <a:pt x="99240" y="290746"/>
                </a:lnTo>
                <a:lnTo>
                  <a:pt x="94444" y="278024"/>
                </a:lnTo>
                <a:lnTo>
                  <a:pt x="92951" y="259397"/>
                </a:lnTo>
                <a:lnTo>
                  <a:pt x="92959" y="51875"/>
                </a:lnTo>
                <a:lnTo>
                  <a:pt x="94681" y="33676"/>
                </a:lnTo>
                <a:lnTo>
                  <a:pt x="99733" y="21330"/>
                </a:lnTo>
                <a:lnTo>
                  <a:pt x="108586" y="13797"/>
                </a:lnTo>
                <a:lnTo>
                  <a:pt x="121713" y="10038"/>
                </a:lnTo>
                <a:lnTo>
                  <a:pt x="139585" y="9016"/>
                </a:lnTo>
                <a:lnTo>
                  <a:pt x="139585" y="0"/>
                </a:lnTo>
                <a:lnTo>
                  <a:pt x="0" y="0"/>
                </a:lnTo>
                <a:lnTo>
                  <a:pt x="0" y="9016"/>
                </a:lnTo>
                <a:lnTo>
                  <a:pt x="1454" y="9021"/>
                </a:lnTo>
                <a:lnTo>
                  <a:pt x="18959" y="10207"/>
                </a:lnTo>
                <a:lnTo>
                  <a:pt x="31749" y="14209"/>
                </a:lnTo>
                <a:lnTo>
                  <a:pt x="40299" y="22068"/>
                </a:lnTo>
                <a:lnTo>
                  <a:pt x="45081" y="34823"/>
                </a:lnTo>
                <a:lnTo>
                  <a:pt x="46570" y="53517"/>
                </a:lnTo>
                <a:lnTo>
                  <a:pt x="46570" y="25939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bject 33"/>
          <p:cNvSpPr/>
          <p:nvPr/>
        </p:nvSpPr>
        <p:spPr>
          <a:xfrm>
            <a:off x="8265583" y="273013"/>
            <a:ext cx="202319" cy="219938"/>
          </a:xfrm>
          <a:custGeom>
            <a:avLst/>
            <a:gdLst/>
            <a:ahLst/>
            <a:cxnLst/>
            <a:rect l="l" t="t" r="r" b="b"/>
            <a:pathLst>
              <a:path w="287743" h="312801">
                <a:moveTo>
                  <a:pt x="279527" y="232981"/>
                </a:moveTo>
                <a:lnTo>
                  <a:pt x="276917" y="240565"/>
                </a:lnTo>
                <a:lnTo>
                  <a:pt x="271048" y="253513"/>
                </a:lnTo>
                <a:lnTo>
                  <a:pt x="263772" y="265000"/>
                </a:lnTo>
                <a:lnTo>
                  <a:pt x="255065" y="274833"/>
                </a:lnTo>
                <a:lnTo>
                  <a:pt x="244903" y="282819"/>
                </a:lnTo>
                <a:lnTo>
                  <a:pt x="233264" y="288763"/>
                </a:lnTo>
                <a:lnTo>
                  <a:pt x="220124" y="292471"/>
                </a:lnTo>
                <a:lnTo>
                  <a:pt x="205460" y="293750"/>
                </a:lnTo>
                <a:lnTo>
                  <a:pt x="114579" y="293750"/>
                </a:lnTo>
                <a:lnTo>
                  <a:pt x="107757" y="293250"/>
                </a:lnTo>
                <a:lnTo>
                  <a:pt x="97991" y="288011"/>
                </a:lnTo>
                <a:lnTo>
                  <a:pt x="93888" y="275940"/>
                </a:lnTo>
                <a:lnTo>
                  <a:pt x="93052" y="255638"/>
                </a:lnTo>
                <a:lnTo>
                  <a:pt x="93052" y="157327"/>
                </a:lnTo>
                <a:lnTo>
                  <a:pt x="183908" y="157327"/>
                </a:lnTo>
                <a:lnTo>
                  <a:pt x="196122" y="158276"/>
                </a:lnTo>
                <a:lnTo>
                  <a:pt x="208868" y="162773"/>
                </a:lnTo>
                <a:lnTo>
                  <a:pt x="217594" y="171159"/>
                </a:lnTo>
                <a:lnTo>
                  <a:pt x="222980" y="183649"/>
                </a:lnTo>
                <a:lnTo>
                  <a:pt x="225704" y="200456"/>
                </a:lnTo>
                <a:lnTo>
                  <a:pt x="234340" y="200456"/>
                </a:lnTo>
                <a:lnTo>
                  <a:pt x="234340" y="95199"/>
                </a:lnTo>
                <a:lnTo>
                  <a:pt x="225704" y="95199"/>
                </a:lnTo>
                <a:lnTo>
                  <a:pt x="223860" y="107980"/>
                </a:lnTo>
                <a:lnTo>
                  <a:pt x="219304" y="121669"/>
                </a:lnTo>
                <a:lnTo>
                  <a:pt x="211672" y="131089"/>
                </a:lnTo>
                <a:lnTo>
                  <a:pt x="200145" y="136528"/>
                </a:lnTo>
                <a:lnTo>
                  <a:pt x="183908" y="138277"/>
                </a:lnTo>
                <a:lnTo>
                  <a:pt x="93052" y="138277"/>
                </a:lnTo>
                <a:lnTo>
                  <a:pt x="93052" y="50723"/>
                </a:lnTo>
                <a:lnTo>
                  <a:pt x="93667" y="31624"/>
                </a:lnTo>
                <a:lnTo>
                  <a:pt x="98599" y="21617"/>
                </a:lnTo>
                <a:lnTo>
                  <a:pt x="112522" y="19100"/>
                </a:lnTo>
                <a:lnTo>
                  <a:pt x="195377" y="19104"/>
                </a:lnTo>
                <a:lnTo>
                  <a:pt x="211528" y="20228"/>
                </a:lnTo>
                <a:lnTo>
                  <a:pt x="224950" y="23640"/>
                </a:lnTo>
                <a:lnTo>
                  <a:pt x="235741" y="29756"/>
                </a:lnTo>
                <a:lnTo>
                  <a:pt x="244002" y="38995"/>
                </a:lnTo>
                <a:lnTo>
                  <a:pt x="249831" y="51771"/>
                </a:lnTo>
                <a:lnTo>
                  <a:pt x="253326" y="68503"/>
                </a:lnTo>
                <a:lnTo>
                  <a:pt x="261861" y="68503"/>
                </a:lnTo>
                <a:lnTo>
                  <a:pt x="258025" y="0"/>
                </a:lnTo>
                <a:lnTo>
                  <a:pt x="0" y="0"/>
                </a:lnTo>
                <a:lnTo>
                  <a:pt x="0" y="9016"/>
                </a:lnTo>
                <a:lnTo>
                  <a:pt x="1385" y="9021"/>
                </a:lnTo>
                <a:lnTo>
                  <a:pt x="18934" y="10200"/>
                </a:lnTo>
                <a:lnTo>
                  <a:pt x="31731" y="14197"/>
                </a:lnTo>
                <a:lnTo>
                  <a:pt x="40266" y="22053"/>
                </a:lnTo>
                <a:lnTo>
                  <a:pt x="45028" y="34812"/>
                </a:lnTo>
                <a:lnTo>
                  <a:pt x="46507" y="53517"/>
                </a:lnTo>
                <a:lnTo>
                  <a:pt x="46501" y="260748"/>
                </a:lnTo>
                <a:lnTo>
                  <a:pt x="44829" y="278999"/>
                </a:lnTo>
                <a:lnTo>
                  <a:pt x="39833" y="291394"/>
                </a:lnTo>
                <a:lnTo>
                  <a:pt x="31024" y="298967"/>
                </a:lnTo>
                <a:lnTo>
                  <a:pt x="17910" y="302752"/>
                </a:lnTo>
                <a:lnTo>
                  <a:pt x="0" y="303783"/>
                </a:lnTo>
                <a:lnTo>
                  <a:pt x="0" y="312800"/>
                </a:lnTo>
                <a:lnTo>
                  <a:pt x="264439" y="312800"/>
                </a:lnTo>
                <a:lnTo>
                  <a:pt x="287743"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34"/>
          <p:cNvSpPr/>
          <p:nvPr/>
        </p:nvSpPr>
        <p:spPr>
          <a:xfrm>
            <a:off x="8467537" y="273015"/>
            <a:ext cx="221045" cy="219938"/>
          </a:xfrm>
          <a:custGeom>
            <a:avLst/>
            <a:gdLst/>
            <a:ahLst/>
            <a:cxnLst/>
            <a:rect l="l" t="t" r="r" b="b"/>
            <a:pathLst>
              <a:path w="314375" h="312801">
                <a:moveTo>
                  <a:pt x="314375" y="303783"/>
                </a:moveTo>
                <a:lnTo>
                  <a:pt x="300670" y="299079"/>
                </a:lnTo>
                <a:lnTo>
                  <a:pt x="290550" y="293294"/>
                </a:lnTo>
                <a:lnTo>
                  <a:pt x="281779" y="285095"/>
                </a:lnTo>
                <a:lnTo>
                  <a:pt x="276504" y="278803"/>
                </a:lnTo>
                <a:lnTo>
                  <a:pt x="181749" y="161886"/>
                </a:lnTo>
                <a:lnTo>
                  <a:pt x="196480" y="158116"/>
                </a:lnTo>
                <a:lnTo>
                  <a:pt x="210046" y="153248"/>
                </a:lnTo>
                <a:lnTo>
                  <a:pt x="222306" y="147169"/>
                </a:lnTo>
                <a:lnTo>
                  <a:pt x="233118" y="139769"/>
                </a:lnTo>
                <a:lnTo>
                  <a:pt x="242342" y="130933"/>
                </a:lnTo>
                <a:lnTo>
                  <a:pt x="249835" y="120551"/>
                </a:lnTo>
                <a:lnTo>
                  <a:pt x="255456" y="108509"/>
                </a:lnTo>
                <a:lnTo>
                  <a:pt x="259064" y="94696"/>
                </a:lnTo>
                <a:lnTo>
                  <a:pt x="260517" y="78998"/>
                </a:lnTo>
                <a:lnTo>
                  <a:pt x="260540" y="76606"/>
                </a:lnTo>
                <a:lnTo>
                  <a:pt x="259020" y="58622"/>
                </a:lnTo>
                <a:lnTo>
                  <a:pt x="254681" y="43691"/>
                </a:lnTo>
                <a:lnTo>
                  <a:pt x="247856" y="31531"/>
                </a:lnTo>
                <a:lnTo>
                  <a:pt x="238877" y="21857"/>
                </a:lnTo>
                <a:lnTo>
                  <a:pt x="228075" y="14388"/>
                </a:lnTo>
                <a:lnTo>
                  <a:pt x="215784" y="8840"/>
                </a:lnTo>
                <a:lnTo>
                  <a:pt x="202336" y="4930"/>
                </a:lnTo>
                <a:lnTo>
                  <a:pt x="188062" y="2374"/>
                </a:lnTo>
                <a:lnTo>
                  <a:pt x="173296" y="890"/>
                </a:lnTo>
                <a:lnTo>
                  <a:pt x="158369" y="193"/>
                </a:lnTo>
                <a:lnTo>
                  <a:pt x="143614" y="2"/>
                </a:lnTo>
                <a:lnTo>
                  <a:pt x="0" y="0"/>
                </a:lnTo>
                <a:lnTo>
                  <a:pt x="0" y="9016"/>
                </a:lnTo>
                <a:lnTo>
                  <a:pt x="17847" y="10042"/>
                </a:lnTo>
                <a:lnTo>
                  <a:pt x="30948" y="13812"/>
                </a:lnTo>
                <a:lnTo>
                  <a:pt x="39774" y="21372"/>
                </a:lnTo>
                <a:lnTo>
                  <a:pt x="44801" y="33763"/>
                </a:lnTo>
                <a:lnTo>
                  <a:pt x="103533" y="18338"/>
                </a:lnTo>
                <a:lnTo>
                  <a:pt x="121766" y="16832"/>
                </a:lnTo>
                <a:lnTo>
                  <a:pt x="126542" y="16814"/>
                </a:lnTo>
                <a:lnTo>
                  <a:pt x="141816" y="17509"/>
                </a:lnTo>
                <a:lnTo>
                  <a:pt x="156370" y="19742"/>
                </a:lnTo>
                <a:lnTo>
                  <a:pt x="169834" y="23743"/>
                </a:lnTo>
                <a:lnTo>
                  <a:pt x="181839" y="29736"/>
                </a:lnTo>
                <a:lnTo>
                  <a:pt x="192017" y="37950"/>
                </a:lnTo>
                <a:lnTo>
                  <a:pt x="199998" y="48611"/>
                </a:lnTo>
                <a:lnTo>
                  <a:pt x="205414" y="61946"/>
                </a:lnTo>
                <a:lnTo>
                  <a:pt x="207894" y="78182"/>
                </a:lnTo>
                <a:lnTo>
                  <a:pt x="208013" y="83007"/>
                </a:lnTo>
                <a:lnTo>
                  <a:pt x="206455" y="99861"/>
                </a:lnTo>
                <a:lnTo>
                  <a:pt x="202008" y="114037"/>
                </a:lnTo>
                <a:lnTo>
                  <a:pt x="195011" y="125725"/>
                </a:lnTo>
                <a:lnTo>
                  <a:pt x="185804" y="135111"/>
                </a:lnTo>
                <a:lnTo>
                  <a:pt x="174724" y="142386"/>
                </a:lnTo>
                <a:lnTo>
                  <a:pt x="162113" y="147737"/>
                </a:lnTo>
                <a:lnTo>
                  <a:pt x="148307" y="151354"/>
                </a:lnTo>
                <a:lnTo>
                  <a:pt x="133648" y="153423"/>
                </a:lnTo>
                <a:lnTo>
                  <a:pt x="132219" y="173189"/>
                </a:lnTo>
                <a:lnTo>
                  <a:pt x="244652" y="312800"/>
                </a:lnTo>
                <a:lnTo>
                  <a:pt x="314375" y="312800"/>
                </a:lnTo>
                <a:lnTo>
                  <a:pt x="314375" y="303783"/>
                </a:lnTo>
                <a:close/>
              </a:path>
              <a:path w="314375" h="312801">
                <a:moveTo>
                  <a:pt x="139547" y="312800"/>
                </a:moveTo>
                <a:lnTo>
                  <a:pt x="139547" y="303783"/>
                </a:lnTo>
                <a:lnTo>
                  <a:pt x="121667" y="302754"/>
                </a:lnTo>
                <a:lnTo>
                  <a:pt x="108541" y="298978"/>
                </a:lnTo>
                <a:lnTo>
                  <a:pt x="99696" y="291423"/>
                </a:lnTo>
                <a:lnTo>
                  <a:pt x="94659" y="279060"/>
                </a:lnTo>
                <a:lnTo>
                  <a:pt x="92957" y="260855"/>
                </a:lnTo>
                <a:lnTo>
                  <a:pt x="92951" y="173189"/>
                </a:lnTo>
                <a:lnTo>
                  <a:pt x="132219" y="173189"/>
                </a:lnTo>
                <a:lnTo>
                  <a:pt x="133648" y="153423"/>
                </a:lnTo>
                <a:lnTo>
                  <a:pt x="118474" y="154135"/>
                </a:lnTo>
                <a:lnTo>
                  <a:pt x="92951" y="154139"/>
                </a:lnTo>
                <a:lnTo>
                  <a:pt x="92951" y="39408"/>
                </a:lnTo>
                <a:lnTo>
                  <a:pt x="95040" y="24720"/>
                </a:lnTo>
                <a:lnTo>
                  <a:pt x="103533" y="18338"/>
                </a:lnTo>
                <a:lnTo>
                  <a:pt x="44801" y="33763"/>
                </a:lnTo>
                <a:lnTo>
                  <a:pt x="46500" y="52028"/>
                </a:lnTo>
                <a:lnTo>
                  <a:pt x="46507" y="259397"/>
                </a:lnTo>
                <a:lnTo>
                  <a:pt x="45014" y="278046"/>
                </a:lnTo>
                <a:lnTo>
                  <a:pt x="40217" y="290775"/>
                </a:lnTo>
                <a:lnTo>
                  <a:pt x="31643" y="298617"/>
                </a:lnTo>
                <a:lnTo>
                  <a:pt x="18814" y="302607"/>
                </a:lnTo>
                <a:lnTo>
                  <a:pt x="1257" y="303780"/>
                </a:lnTo>
                <a:lnTo>
                  <a:pt x="0" y="303783"/>
                </a:lnTo>
                <a:lnTo>
                  <a:pt x="0" y="312800"/>
                </a:lnTo>
                <a:lnTo>
                  <a:pt x="139547" y="3128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5"/>
          <p:cNvSpPr/>
          <p:nvPr/>
        </p:nvSpPr>
        <p:spPr>
          <a:xfrm>
            <a:off x="473271" y="314717"/>
            <a:ext cx="137392" cy="172914"/>
          </a:xfrm>
          <a:custGeom>
            <a:avLst/>
            <a:gdLst/>
            <a:ahLst/>
            <a:cxnLst/>
            <a:rect l="l" t="t" r="r" b="b"/>
            <a:pathLst>
              <a:path w="195402" h="245922">
                <a:moveTo>
                  <a:pt x="35286" y="117306"/>
                </a:moveTo>
                <a:lnTo>
                  <a:pt x="36531" y="103026"/>
                </a:lnTo>
                <a:lnTo>
                  <a:pt x="39488" y="89346"/>
                </a:lnTo>
                <a:lnTo>
                  <a:pt x="44162" y="76478"/>
                </a:lnTo>
                <a:lnTo>
                  <a:pt x="50557" y="64635"/>
                </a:lnTo>
                <a:lnTo>
                  <a:pt x="58677" y="54030"/>
                </a:lnTo>
                <a:lnTo>
                  <a:pt x="68527" y="44876"/>
                </a:lnTo>
                <a:lnTo>
                  <a:pt x="80111" y="37385"/>
                </a:lnTo>
                <a:lnTo>
                  <a:pt x="93434" y="31772"/>
                </a:lnTo>
                <a:lnTo>
                  <a:pt x="108499" y="28247"/>
                </a:lnTo>
                <a:lnTo>
                  <a:pt x="125310" y="27025"/>
                </a:lnTo>
                <a:lnTo>
                  <a:pt x="131111" y="27142"/>
                </a:lnTo>
                <a:lnTo>
                  <a:pt x="143066" y="28077"/>
                </a:lnTo>
                <a:lnTo>
                  <a:pt x="155696" y="30052"/>
                </a:lnTo>
                <a:lnTo>
                  <a:pt x="168583" y="33191"/>
                </a:lnTo>
                <a:lnTo>
                  <a:pt x="181306" y="37623"/>
                </a:lnTo>
                <a:lnTo>
                  <a:pt x="193446" y="43472"/>
                </a:lnTo>
                <a:lnTo>
                  <a:pt x="195402" y="13715"/>
                </a:lnTo>
                <a:lnTo>
                  <a:pt x="184701" y="9126"/>
                </a:lnTo>
                <a:lnTo>
                  <a:pt x="173914" y="5608"/>
                </a:lnTo>
                <a:lnTo>
                  <a:pt x="161366" y="2704"/>
                </a:lnTo>
                <a:lnTo>
                  <a:pt x="147006" y="728"/>
                </a:lnTo>
                <a:lnTo>
                  <a:pt x="130784" y="0"/>
                </a:lnTo>
                <a:lnTo>
                  <a:pt x="126835" y="40"/>
                </a:lnTo>
                <a:lnTo>
                  <a:pt x="109616" y="1232"/>
                </a:lnTo>
                <a:lnTo>
                  <a:pt x="93617" y="4001"/>
                </a:lnTo>
                <a:lnTo>
                  <a:pt x="78846" y="8249"/>
                </a:lnTo>
                <a:lnTo>
                  <a:pt x="65312" y="13877"/>
                </a:lnTo>
                <a:lnTo>
                  <a:pt x="53024" y="20789"/>
                </a:lnTo>
                <a:lnTo>
                  <a:pt x="41992" y="28885"/>
                </a:lnTo>
                <a:lnTo>
                  <a:pt x="32223" y="38067"/>
                </a:lnTo>
                <a:lnTo>
                  <a:pt x="23728" y="48238"/>
                </a:lnTo>
                <a:lnTo>
                  <a:pt x="16515" y="59300"/>
                </a:lnTo>
                <a:lnTo>
                  <a:pt x="10594" y="71155"/>
                </a:lnTo>
                <a:lnTo>
                  <a:pt x="5972" y="83703"/>
                </a:lnTo>
                <a:lnTo>
                  <a:pt x="2660" y="96848"/>
                </a:lnTo>
                <a:lnTo>
                  <a:pt x="666" y="110492"/>
                </a:lnTo>
                <a:lnTo>
                  <a:pt x="0" y="124536"/>
                </a:lnTo>
                <a:lnTo>
                  <a:pt x="630" y="138065"/>
                </a:lnTo>
                <a:lnTo>
                  <a:pt x="3013" y="153464"/>
                </a:lnTo>
                <a:lnTo>
                  <a:pt x="7057" y="167764"/>
                </a:lnTo>
                <a:lnTo>
                  <a:pt x="12644" y="180943"/>
                </a:lnTo>
                <a:lnTo>
                  <a:pt x="19651" y="192976"/>
                </a:lnTo>
                <a:lnTo>
                  <a:pt x="27960" y="203841"/>
                </a:lnTo>
                <a:lnTo>
                  <a:pt x="37450" y="213514"/>
                </a:lnTo>
                <a:lnTo>
                  <a:pt x="48001" y="221973"/>
                </a:lnTo>
                <a:lnTo>
                  <a:pt x="59494" y="229194"/>
                </a:lnTo>
                <a:lnTo>
                  <a:pt x="71808" y="235155"/>
                </a:lnTo>
                <a:lnTo>
                  <a:pt x="84822" y="239831"/>
                </a:lnTo>
                <a:lnTo>
                  <a:pt x="98418" y="243199"/>
                </a:lnTo>
                <a:lnTo>
                  <a:pt x="112475" y="245238"/>
                </a:lnTo>
                <a:lnTo>
                  <a:pt x="126872" y="245922"/>
                </a:lnTo>
                <a:lnTo>
                  <a:pt x="132177" y="245840"/>
                </a:lnTo>
                <a:lnTo>
                  <a:pt x="144006" y="245133"/>
                </a:lnTo>
                <a:lnTo>
                  <a:pt x="156948" y="243572"/>
                </a:lnTo>
                <a:lnTo>
                  <a:pt x="170298" y="241002"/>
                </a:lnTo>
                <a:lnTo>
                  <a:pt x="183352" y="237269"/>
                </a:lnTo>
                <a:lnTo>
                  <a:pt x="195402" y="232219"/>
                </a:lnTo>
                <a:lnTo>
                  <a:pt x="193446" y="202056"/>
                </a:lnTo>
                <a:lnTo>
                  <a:pt x="188941" y="204345"/>
                </a:lnTo>
                <a:lnTo>
                  <a:pt x="175560" y="209939"/>
                </a:lnTo>
                <a:lnTo>
                  <a:pt x="162324" y="213968"/>
                </a:lnTo>
                <a:lnTo>
                  <a:pt x="149651" y="216618"/>
                </a:lnTo>
                <a:lnTo>
                  <a:pt x="137958" y="218072"/>
                </a:lnTo>
                <a:lnTo>
                  <a:pt x="127660" y="218516"/>
                </a:lnTo>
                <a:lnTo>
                  <a:pt x="118573" y="218118"/>
                </a:lnTo>
                <a:lnTo>
                  <a:pt x="104205" y="215746"/>
                </a:lnTo>
                <a:lnTo>
                  <a:pt x="90889" y="211362"/>
                </a:lnTo>
                <a:lnTo>
                  <a:pt x="78733" y="205105"/>
                </a:lnTo>
                <a:lnTo>
                  <a:pt x="67845" y="197115"/>
                </a:lnTo>
                <a:lnTo>
                  <a:pt x="58335" y="187532"/>
                </a:lnTo>
                <a:lnTo>
                  <a:pt x="50311" y="176496"/>
                </a:lnTo>
                <a:lnTo>
                  <a:pt x="43881" y="164147"/>
                </a:lnTo>
                <a:lnTo>
                  <a:pt x="39154" y="150626"/>
                </a:lnTo>
                <a:lnTo>
                  <a:pt x="36238" y="136071"/>
                </a:lnTo>
                <a:lnTo>
                  <a:pt x="35242" y="120624"/>
                </a:lnTo>
                <a:lnTo>
                  <a:pt x="35286" y="11730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object 26"/>
          <p:cNvSpPr/>
          <p:nvPr/>
        </p:nvSpPr>
        <p:spPr>
          <a:xfrm>
            <a:off x="629089"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1"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5" y="-88506"/>
                </a:lnTo>
                <a:lnTo>
                  <a:pt x="136270"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601" y="-65859"/>
                </a:lnTo>
                <a:lnTo>
                  <a:pt x="85750" y="-67360"/>
                </a:lnTo>
                <a:lnTo>
                  <a:pt x="93254" y="-66844"/>
                </a:lnTo>
                <a:lnTo>
                  <a:pt x="105137" y="-63160"/>
                </a:lnTo>
                <a:lnTo>
                  <a:pt x="114522" y="-55803"/>
                </a:lnTo>
                <a:lnTo>
                  <a:pt x="121328" y="-44622"/>
                </a:lnTo>
                <a:lnTo>
                  <a:pt x="125473" y="-29466"/>
                </a:lnTo>
                <a:lnTo>
                  <a:pt x="126872" y="-10185"/>
                </a:lnTo>
                <a:lnTo>
                  <a:pt x="126872"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3"/>
          <p:cNvSpPr/>
          <p:nvPr/>
        </p:nvSpPr>
        <p:spPr>
          <a:xfrm>
            <a:off x="775818" y="356571"/>
            <a:ext cx="75992" cy="127756"/>
          </a:xfrm>
          <a:custGeom>
            <a:avLst/>
            <a:gdLst/>
            <a:ahLst/>
            <a:cxnLst/>
            <a:rect l="l" t="t" r="r" b="b"/>
            <a:pathLst>
              <a:path w="108077" h="181698">
                <a:moveTo>
                  <a:pt x="83400" y="39560"/>
                </a:moveTo>
                <a:lnTo>
                  <a:pt x="108077" y="32499"/>
                </a:lnTo>
                <a:lnTo>
                  <a:pt x="107683" y="28587"/>
                </a:lnTo>
                <a:lnTo>
                  <a:pt x="107289" y="25844"/>
                </a:lnTo>
                <a:lnTo>
                  <a:pt x="106000" y="20626"/>
                </a:lnTo>
                <a:lnTo>
                  <a:pt x="99644" y="9293"/>
                </a:lnTo>
                <a:lnTo>
                  <a:pt x="88841" y="2355"/>
                </a:lnTo>
                <a:lnTo>
                  <a:pt x="73228" y="0"/>
                </a:lnTo>
                <a:lnTo>
                  <a:pt x="72122" y="19"/>
                </a:lnTo>
                <a:lnTo>
                  <a:pt x="58986" y="3260"/>
                </a:lnTo>
                <a:lnTo>
                  <a:pt x="47814" y="10886"/>
                </a:lnTo>
                <a:lnTo>
                  <a:pt x="38989" y="21199"/>
                </a:lnTo>
                <a:lnTo>
                  <a:pt x="32893" y="32499"/>
                </a:lnTo>
                <a:lnTo>
                  <a:pt x="27800" y="4305"/>
                </a:lnTo>
                <a:lnTo>
                  <a:pt x="0" y="4305"/>
                </a:lnTo>
                <a:lnTo>
                  <a:pt x="1562" y="18414"/>
                </a:lnTo>
                <a:lnTo>
                  <a:pt x="2339" y="26086"/>
                </a:lnTo>
                <a:lnTo>
                  <a:pt x="2957" y="38564"/>
                </a:lnTo>
                <a:lnTo>
                  <a:pt x="3136" y="52870"/>
                </a:lnTo>
                <a:lnTo>
                  <a:pt x="3136" y="181698"/>
                </a:lnTo>
                <a:lnTo>
                  <a:pt x="33286" y="181698"/>
                </a:lnTo>
                <a:lnTo>
                  <a:pt x="33286" y="68922"/>
                </a:lnTo>
                <a:lnTo>
                  <a:pt x="35886" y="62885"/>
                </a:lnTo>
                <a:lnTo>
                  <a:pt x="42221" y="50341"/>
                </a:lnTo>
                <a:lnTo>
                  <a:pt x="50365" y="38075"/>
                </a:lnTo>
                <a:lnTo>
                  <a:pt x="60017" y="28756"/>
                </a:lnTo>
                <a:lnTo>
                  <a:pt x="70878" y="25057"/>
                </a:lnTo>
                <a:lnTo>
                  <a:pt x="82232" y="25057"/>
                </a:lnTo>
                <a:lnTo>
                  <a:pt x="83400" y="36804"/>
                </a:lnTo>
                <a:lnTo>
                  <a:pt x="83400" y="3956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4"/>
          <p:cNvSpPr/>
          <p:nvPr/>
        </p:nvSpPr>
        <p:spPr>
          <a:xfrm>
            <a:off x="861154" y="356297"/>
            <a:ext cx="105728" cy="131337"/>
          </a:xfrm>
          <a:custGeom>
            <a:avLst/>
            <a:gdLst/>
            <a:ahLst/>
            <a:cxnLst/>
            <a:rect l="l" t="t" r="r" b="b"/>
            <a:pathLst>
              <a:path w="150368" h="186791">
                <a:moveTo>
                  <a:pt x="35010" y="62876"/>
                </a:moveTo>
                <a:lnTo>
                  <a:pt x="41098" y="46175"/>
                </a:lnTo>
                <a:lnTo>
                  <a:pt x="48702" y="35750"/>
                </a:lnTo>
                <a:lnTo>
                  <a:pt x="53657" y="30937"/>
                </a:lnTo>
                <a:lnTo>
                  <a:pt x="55600" y="28968"/>
                </a:lnTo>
                <a:lnTo>
                  <a:pt x="68922" y="25450"/>
                </a:lnTo>
                <a:lnTo>
                  <a:pt x="77139" y="25450"/>
                </a:lnTo>
                <a:lnTo>
                  <a:pt x="90999" y="26113"/>
                </a:lnTo>
                <a:lnTo>
                  <a:pt x="104434" y="29335"/>
                </a:lnTo>
                <a:lnTo>
                  <a:pt x="114238" y="36308"/>
                </a:lnTo>
                <a:lnTo>
                  <a:pt x="120413" y="48200"/>
                </a:lnTo>
                <a:lnTo>
                  <a:pt x="122961" y="66179"/>
                </a:lnTo>
                <a:lnTo>
                  <a:pt x="34455" y="66179"/>
                </a:lnTo>
                <a:lnTo>
                  <a:pt x="31330" y="89674"/>
                </a:lnTo>
                <a:lnTo>
                  <a:pt x="150367" y="89674"/>
                </a:lnTo>
                <a:lnTo>
                  <a:pt x="150367" y="89275"/>
                </a:lnTo>
                <a:lnTo>
                  <a:pt x="149692" y="70094"/>
                </a:lnTo>
                <a:lnTo>
                  <a:pt x="147602" y="53325"/>
                </a:lnTo>
                <a:lnTo>
                  <a:pt x="143927" y="38928"/>
                </a:lnTo>
                <a:lnTo>
                  <a:pt x="138497" y="26860"/>
                </a:lnTo>
                <a:lnTo>
                  <a:pt x="131144" y="17079"/>
                </a:lnTo>
                <a:lnTo>
                  <a:pt x="121697" y="9544"/>
                </a:lnTo>
                <a:lnTo>
                  <a:pt x="109986" y="4214"/>
                </a:lnTo>
                <a:lnTo>
                  <a:pt x="95842" y="1046"/>
                </a:lnTo>
                <a:lnTo>
                  <a:pt x="79095" y="0"/>
                </a:lnTo>
                <a:lnTo>
                  <a:pt x="69735" y="474"/>
                </a:lnTo>
                <a:lnTo>
                  <a:pt x="56568" y="2924"/>
                </a:lnTo>
                <a:lnTo>
                  <a:pt x="44434" y="7432"/>
                </a:lnTo>
                <a:lnTo>
                  <a:pt x="35010" y="62876"/>
                </a:lnTo>
                <a:close/>
              </a:path>
              <a:path w="150368" h="186791">
                <a:moveTo>
                  <a:pt x="0" y="93980"/>
                </a:moveTo>
                <a:lnTo>
                  <a:pt x="461" y="105315"/>
                </a:lnTo>
                <a:lnTo>
                  <a:pt x="2938" y="121659"/>
                </a:lnTo>
                <a:lnTo>
                  <a:pt x="7407" y="136345"/>
                </a:lnTo>
                <a:lnTo>
                  <a:pt x="13692" y="149304"/>
                </a:lnTo>
                <a:lnTo>
                  <a:pt x="21622" y="160463"/>
                </a:lnTo>
                <a:lnTo>
                  <a:pt x="31023" y="169752"/>
                </a:lnTo>
                <a:lnTo>
                  <a:pt x="41723" y="177100"/>
                </a:lnTo>
                <a:lnTo>
                  <a:pt x="53548" y="182437"/>
                </a:lnTo>
                <a:lnTo>
                  <a:pt x="66325" y="185691"/>
                </a:lnTo>
                <a:lnTo>
                  <a:pt x="79882" y="186791"/>
                </a:lnTo>
                <a:lnTo>
                  <a:pt x="88087" y="186632"/>
                </a:lnTo>
                <a:lnTo>
                  <a:pt x="103693" y="185288"/>
                </a:lnTo>
                <a:lnTo>
                  <a:pt x="116964" y="182744"/>
                </a:lnTo>
                <a:lnTo>
                  <a:pt x="128347" y="179203"/>
                </a:lnTo>
                <a:lnTo>
                  <a:pt x="138287" y="174867"/>
                </a:lnTo>
                <a:lnTo>
                  <a:pt x="147231" y="169938"/>
                </a:lnTo>
                <a:lnTo>
                  <a:pt x="144894" y="142544"/>
                </a:lnTo>
                <a:lnTo>
                  <a:pt x="139995" y="146247"/>
                </a:lnTo>
                <a:lnTo>
                  <a:pt x="129511" y="151889"/>
                </a:lnTo>
                <a:lnTo>
                  <a:pt x="116861" y="156570"/>
                </a:lnTo>
                <a:lnTo>
                  <a:pt x="103100" y="159765"/>
                </a:lnTo>
                <a:lnTo>
                  <a:pt x="89280" y="160947"/>
                </a:lnTo>
                <a:lnTo>
                  <a:pt x="75824" y="159821"/>
                </a:lnTo>
                <a:lnTo>
                  <a:pt x="62559" y="155850"/>
                </a:lnTo>
                <a:lnTo>
                  <a:pt x="51528" y="149086"/>
                </a:lnTo>
                <a:lnTo>
                  <a:pt x="42811" y="139602"/>
                </a:lnTo>
                <a:lnTo>
                  <a:pt x="36486" y="127470"/>
                </a:lnTo>
                <a:lnTo>
                  <a:pt x="32632" y="112763"/>
                </a:lnTo>
                <a:lnTo>
                  <a:pt x="31330" y="95554"/>
                </a:lnTo>
                <a:lnTo>
                  <a:pt x="31330" y="89674"/>
                </a:lnTo>
                <a:lnTo>
                  <a:pt x="34455" y="66179"/>
                </a:lnTo>
                <a:lnTo>
                  <a:pt x="35010" y="62876"/>
                </a:lnTo>
                <a:lnTo>
                  <a:pt x="44434" y="7432"/>
                </a:lnTo>
                <a:lnTo>
                  <a:pt x="33472" y="13966"/>
                </a:lnTo>
                <a:lnTo>
                  <a:pt x="23818" y="22495"/>
                </a:lnTo>
                <a:lnTo>
                  <a:pt x="15610" y="32988"/>
                </a:lnTo>
                <a:lnTo>
                  <a:pt x="8987" y="45415"/>
                </a:lnTo>
                <a:lnTo>
                  <a:pt x="4086" y="59743"/>
                </a:lnTo>
                <a:lnTo>
                  <a:pt x="1044" y="75941"/>
                </a:lnTo>
                <a:lnTo>
                  <a:pt x="0" y="9398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22"/>
          <p:cNvSpPr/>
          <p:nvPr/>
        </p:nvSpPr>
        <p:spPr>
          <a:xfrm>
            <a:off x="1050010" y="318031"/>
            <a:ext cx="110406" cy="166298"/>
          </a:xfrm>
          <a:custGeom>
            <a:avLst/>
            <a:gdLst/>
            <a:ahLst/>
            <a:cxnLst/>
            <a:rect l="l" t="t" r="r" b="b"/>
            <a:pathLst>
              <a:path w="157022" h="236512">
                <a:moveTo>
                  <a:pt x="71455" y="126006"/>
                </a:moveTo>
                <a:lnTo>
                  <a:pt x="55994" y="126873"/>
                </a:lnTo>
                <a:lnTo>
                  <a:pt x="45034" y="126873"/>
                </a:lnTo>
                <a:lnTo>
                  <a:pt x="30937" y="125298"/>
                </a:lnTo>
                <a:lnTo>
                  <a:pt x="30937" y="25057"/>
                </a:lnTo>
                <a:lnTo>
                  <a:pt x="0" y="0"/>
                </a:lnTo>
                <a:lnTo>
                  <a:pt x="0" y="236512"/>
                </a:lnTo>
                <a:lnTo>
                  <a:pt x="30937" y="236512"/>
                </a:lnTo>
                <a:lnTo>
                  <a:pt x="30937" y="150749"/>
                </a:lnTo>
                <a:lnTo>
                  <a:pt x="43178" y="151895"/>
                </a:lnTo>
                <a:lnTo>
                  <a:pt x="56058" y="152535"/>
                </a:lnTo>
                <a:lnTo>
                  <a:pt x="71455" y="126006"/>
                </a:lnTo>
                <a:close/>
              </a:path>
              <a:path w="157022" h="236512">
                <a:moveTo>
                  <a:pt x="30937" y="25057"/>
                </a:moveTo>
                <a:lnTo>
                  <a:pt x="66179" y="25057"/>
                </a:lnTo>
                <a:lnTo>
                  <a:pt x="81534" y="26150"/>
                </a:lnTo>
                <a:lnTo>
                  <a:pt x="96054" y="30091"/>
                </a:lnTo>
                <a:lnTo>
                  <a:pt x="107326" y="36913"/>
                </a:lnTo>
                <a:lnTo>
                  <a:pt x="115364" y="46630"/>
                </a:lnTo>
                <a:lnTo>
                  <a:pt x="120178" y="59251"/>
                </a:lnTo>
                <a:lnTo>
                  <a:pt x="121780" y="74790"/>
                </a:lnTo>
                <a:lnTo>
                  <a:pt x="121018" y="85191"/>
                </a:lnTo>
                <a:lnTo>
                  <a:pt x="116679" y="99384"/>
                </a:lnTo>
                <a:lnTo>
                  <a:pt x="108991" y="110212"/>
                </a:lnTo>
                <a:lnTo>
                  <a:pt x="98516" y="118025"/>
                </a:lnTo>
                <a:lnTo>
                  <a:pt x="85817" y="123173"/>
                </a:lnTo>
                <a:lnTo>
                  <a:pt x="71455" y="126006"/>
                </a:lnTo>
                <a:lnTo>
                  <a:pt x="56058" y="152535"/>
                </a:lnTo>
                <a:lnTo>
                  <a:pt x="67741" y="152704"/>
                </a:lnTo>
                <a:lnTo>
                  <a:pt x="72445" y="152586"/>
                </a:lnTo>
                <a:lnTo>
                  <a:pt x="86585" y="150820"/>
                </a:lnTo>
                <a:lnTo>
                  <a:pt x="100330" y="147037"/>
                </a:lnTo>
                <a:lnTo>
                  <a:pt x="113340" y="141366"/>
                </a:lnTo>
                <a:lnTo>
                  <a:pt x="125277" y="133933"/>
                </a:lnTo>
                <a:lnTo>
                  <a:pt x="135803" y="124865"/>
                </a:lnTo>
                <a:lnTo>
                  <a:pt x="144579" y="114289"/>
                </a:lnTo>
                <a:lnTo>
                  <a:pt x="151266" y="102333"/>
                </a:lnTo>
                <a:lnTo>
                  <a:pt x="155527" y="89125"/>
                </a:lnTo>
                <a:lnTo>
                  <a:pt x="157022" y="74790"/>
                </a:lnTo>
                <a:lnTo>
                  <a:pt x="156430" y="64454"/>
                </a:lnTo>
                <a:lnTo>
                  <a:pt x="153253" y="49732"/>
                </a:lnTo>
                <a:lnTo>
                  <a:pt x="147577" y="36821"/>
                </a:lnTo>
                <a:lnTo>
                  <a:pt x="139683" y="25766"/>
                </a:lnTo>
                <a:lnTo>
                  <a:pt x="129850" y="16616"/>
                </a:lnTo>
                <a:lnTo>
                  <a:pt x="118359" y="9417"/>
                </a:lnTo>
                <a:lnTo>
                  <a:pt x="105492" y="4217"/>
                </a:lnTo>
                <a:lnTo>
                  <a:pt x="91527" y="1062"/>
                </a:lnTo>
                <a:lnTo>
                  <a:pt x="76746" y="0"/>
                </a:lnTo>
                <a:lnTo>
                  <a:pt x="0" y="0"/>
                </a:lnTo>
                <a:lnTo>
                  <a:pt x="30937" y="2505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21"/>
          <p:cNvSpPr/>
          <p:nvPr/>
        </p:nvSpPr>
        <p:spPr>
          <a:xfrm>
            <a:off x="1196328" y="304538"/>
            <a:ext cx="0" cy="179790"/>
          </a:xfrm>
          <a:custGeom>
            <a:avLst/>
            <a:gdLst/>
            <a:ahLst/>
            <a:cxnLst/>
            <a:rect l="l" t="t" r="r" b="b"/>
            <a:pathLst>
              <a:path h="255701">
                <a:moveTo>
                  <a:pt x="0" y="0"/>
                </a:moveTo>
                <a:lnTo>
                  <a:pt x="0" y="255701"/>
                </a:lnTo>
              </a:path>
            </a:pathLst>
          </a:custGeom>
          <a:ln w="31419">
            <a:solidFill>
              <a:srgbClr val="F5821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20"/>
          <p:cNvSpPr/>
          <p:nvPr/>
        </p:nvSpPr>
        <p:spPr>
          <a:xfrm>
            <a:off x="1235550"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2"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6" y="-88506"/>
                </a:lnTo>
                <a:lnTo>
                  <a:pt x="136271"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595" y="-65859"/>
                </a:lnTo>
                <a:lnTo>
                  <a:pt x="85750" y="-67360"/>
                </a:lnTo>
                <a:lnTo>
                  <a:pt x="93254" y="-66844"/>
                </a:lnTo>
                <a:lnTo>
                  <a:pt x="105137" y="-63160"/>
                </a:lnTo>
                <a:lnTo>
                  <a:pt x="114522" y="-55803"/>
                </a:lnTo>
                <a:lnTo>
                  <a:pt x="121328" y="-44622"/>
                </a:lnTo>
                <a:lnTo>
                  <a:pt x="125473" y="-29466"/>
                </a:lnTo>
                <a:lnTo>
                  <a:pt x="126873" y="-10185"/>
                </a:lnTo>
                <a:lnTo>
                  <a:pt x="126873"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19"/>
          <p:cNvSpPr/>
          <p:nvPr/>
        </p:nvSpPr>
        <p:spPr>
          <a:xfrm>
            <a:off x="1382277" y="356293"/>
            <a:ext cx="103790" cy="128033"/>
          </a:xfrm>
          <a:custGeom>
            <a:avLst/>
            <a:gdLst/>
            <a:ahLst/>
            <a:cxnLst/>
            <a:rect l="l" t="t" r="r" b="b"/>
            <a:pathLst>
              <a:path w="147613" h="182092">
                <a:moveTo>
                  <a:pt x="62649" y="31724"/>
                </a:moveTo>
                <a:lnTo>
                  <a:pt x="65392" y="30162"/>
                </a:lnTo>
                <a:lnTo>
                  <a:pt x="77927" y="27025"/>
                </a:lnTo>
                <a:lnTo>
                  <a:pt x="87325" y="27025"/>
                </a:lnTo>
                <a:lnTo>
                  <a:pt x="103229" y="29547"/>
                </a:lnTo>
                <a:lnTo>
                  <a:pt x="112206" y="37199"/>
                </a:lnTo>
                <a:lnTo>
                  <a:pt x="116226" y="49942"/>
                </a:lnTo>
                <a:lnTo>
                  <a:pt x="117475" y="67741"/>
                </a:lnTo>
                <a:lnTo>
                  <a:pt x="117747" y="78307"/>
                </a:lnTo>
                <a:lnTo>
                  <a:pt x="117877" y="106135"/>
                </a:lnTo>
                <a:lnTo>
                  <a:pt x="118031" y="121023"/>
                </a:lnTo>
                <a:lnTo>
                  <a:pt x="118013" y="141871"/>
                </a:lnTo>
                <a:lnTo>
                  <a:pt x="117776" y="152000"/>
                </a:lnTo>
                <a:lnTo>
                  <a:pt x="117345" y="164712"/>
                </a:lnTo>
                <a:lnTo>
                  <a:pt x="116687" y="182092"/>
                </a:lnTo>
                <a:lnTo>
                  <a:pt x="146837" y="182092"/>
                </a:lnTo>
                <a:lnTo>
                  <a:pt x="146944" y="174487"/>
                </a:lnTo>
                <a:lnTo>
                  <a:pt x="147097" y="162795"/>
                </a:lnTo>
                <a:lnTo>
                  <a:pt x="147276" y="147767"/>
                </a:lnTo>
                <a:lnTo>
                  <a:pt x="147447" y="131083"/>
                </a:lnTo>
                <a:lnTo>
                  <a:pt x="147574" y="114423"/>
                </a:lnTo>
                <a:lnTo>
                  <a:pt x="147613" y="71983"/>
                </a:lnTo>
                <a:lnTo>
                  <a:pt x="147275" y="59290"/>
                </a:lnTo>
                <a:lnTo>
                  <a:pt x="146456" y="46596"/>
                </a:lnTo>
                <a:lnTo>
                  <a:pt x="144273" y="33519"/>
                </a:lnTo>
                <a:lnTo>
                  <a:pt x="138664" y="20109"/>
                </a:lnTo>
                <a:lnTo>
                  <a:pt x="130182" y="10555"/>
                </a:lnTo>
                <a:lnTo>
                  <a:pt x="119084" y="4355"/>
                </a:lnTo>
                <a:lnTo>
                  <a:pt x="105627" y="1005"/>
                </a:lnTo>
                <a:lnTo>
                  <a:pt x="90068" y="0"/>
                </a:lnTo>
                <a:lnTo>
                  <a:pt x="87824" y="32"/>
                </a:lnTo>
                <a:lnTo>
                  <a:pt x="73699" y="1882"/>
                </a:lnTo>
                <a:lnTo>
                  <a:pt x="61466" y="6295"/>
                </a:lnTo>
                <a:lnTo>
                  <a:pt x="50763" y="12874"/>
                </a:lnTo>
                <a:lnTo>
                  <a:pt x="41228" y="21220"/>
                </a:lnTo>
                <a:lnTo>
                  <a:pt x="32499" y="30937"/>
                </a:lnTo>
                <a:lnTo>
                  <a:pt x="27800" y="4698"/>
                </a:lnTo>
                <a:lnTo>
                  <a:pt x="0" y="4698"/>
                </a:lnTo>
                <a:lnTo>
                  <a:pt x="1562" y="18808"/>
                </a:lnTo>
                <a:lnTo>
                  <a:pt x="2377" y="27075"/>
                </a:lnTo>
                <a:lnTo>
                  <a:pt x="2965" y="39633"/>
                </a:lnTo>
                <a:lnTo>
                  <a:pt x="3136" y="54038"/>
                </a:lnTo>
                <a:lnTo>
                  <a:pt x="3136" y="182092"/>
                </a:lnTo>
                <a:lnTo>
                  <a:pt x="33286" y="182092"/>
                </a:lnTo>
                <a:lnTo>
                  <a:pt x="33286" y="63055"/>
                </a:lnTo>
                <a:lnTo>
                  <a:pt x="36379" y="58995"/>
                </a:lnTo>
                <a:lnTo>
                  <a:pt x="46352" y="47354"/>
                </a:lnTo>
                <a:lnTo>
                  <a:pt x="56262" y="37087"/>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8"/>
          <p:cNvSpPr/>
          <p:nvPr/>
        </p:nvSpPr>
        <p:spPr>
          <a:xfrm>
            <a:off x="1521577" y="356293"/>
            <a:ext cx="103787" cy="128033"/>
          </a:xfrm>
          <a:custGeom>
            <a:avLst/>
            <a:gdLst/>
            <a:ahLst/>
            <a:cxnLst/>
            <a:rect l="l" t="t" r="r" b="b"/>
            <a:pathLst>
              <a:path w="147608" h="182092">
                <a:moveTo>
                  <a:pt x="62649" y="31724"/>
                </a:moveTo>
                <a:lnTo>
                  <a:pt x="65392" y="30162"/>
                </a:lnTo>
                <a:lnTo>
                  <a:pt x="77927" y="27025"/>
                </a:lnTo>
                <a:lnTo>
                  <a:pt x="87312" y="27025"/>
                </a:lnTo>
                <a:lnTo>
                  <a:pt x="103218" y="29547"/>
                </a:lnTo>
                <a:lnTo>
                  <a:pt x="112198" y="37199"/>
                </a:lnTo>
                <a:lnTo>
                  <a:pt x="116218" y="49942"/>
                </a:lnTo>
                <a:lnTo>
                  <a:pt x="117462" y="67741"/>
                </a:lnTo>
                <a:lnTo>
                  <a:pt x="117734" y="78307"/>
                </a:lnTo>
                <a:lnTo>
                  <a:pt x="117864" y="106135"/>
                </a:lnTo>
                <a:lnTo>
                  <a:pt x="118018" y="121023"/>
                </a:lnTo>
                <a:lnTo>
                  <a:pt x="118001" y="141871"/>
                </a:lnTo>
                <a:lnTo>
                  <a:pt x="117767" y="152000"/>
                </a:lnTo>
                <a:lnTo>
                  <a:pt x="117339" y="164712"/>
                </a:lnTo>
                <a:lnTo>
                  <a:pt x="116687" y="182092"/>
                </a:lnTo>
                <a:lnTo>
                  <a:pt x="146837" y="182092"/>
                </a:lnTo>
                <a:lnTo>
                  <a:pt x="146944" y="174487"/>
                </a:lnTo>
                <a:lnTo>
                  <a:pt x="147097" y="162795"/>
                </a:lnTo>
                <a:lnTo>
                  <a:pt x="147276" y="147767"/>
                </a:lnTo>
                <a:lnTo>
                  <a:pt x="147447" y="131083"/>
                </a:lnTo>
                <a:lnTo>
                  <a:pt x="147574" y="114423"/>
                </a:lnTo>
                <a:lnTo>
                  <a:pt x="147608" y="71984"/>
                </a:lnTo>
                <a:lnTo>
                  <a:pt x="147270" y="59290"/>
                </a:lnTo>
                <a:lnTo>
                  <a:pt x="146456" y="46596"/>
                </a:lnTo>
                <a:lnTo>
                  <a:pt x="144270" y="33508"/>
                </a:lnTo>
                <a:lnTo>
                  <a:pt x="138658" y="20103"/>
                </a:lnTo>
                <a:lnTo>
                  <a:pt x="130172" y="10552"/>
                </a:lnTo>
                <a:lnTo>
                  <a:pt x="119071" y="4354"/>
                </a:lnTo>
                <a:lnTo>
                  <a:pt x="105613" y="1004"/>
                </a:lnTo>
                <a:lnTo>
                  <a:pt x="90055" y="0"/>
                </a:lnTo>
                <a:lnTo>
                  <a:pt x="87812" y="32"/>
                </a:lnTo>
                <a:lnTo>
                  <a:pt x="73688" y="1882"/>
                </a:lnTo>
                <a:lnTo>
                  <a:pt x="61457" y="6295"/>
                </a:lnTo>
                <a:lnTo>
                  <a:pt x="50756" y="12874"/>
                </a:lnTo>
                <a:lnTo>
                  <a:pt x="41220" y="21220"/>
                </a:lnTo>
                <a:lnTo>
                  <a:pt x="32486" y="30937"/>
                </a:lnTo>
                <a:lnTo>
                  <a:pt x="27800" y="4698"/>
                </a:lnTo>
                <a:lnTo>
                  <a:pt x="0" y="4698"/>
                </a:lnTo>
                <a:lnTo>
                  <a:pt x="1549" y="18808"/>
                </a:lnTo>
                <a:lnTo>
                  <a:pt x="2372" y="27075"/>
                </a:lnTo>
                <a:lnTo>
                  <a:pt x="2964" y="39633"/>
                </a:lnTo>
                <a:lnTo>
                  <a:pt x="3136" y="54038"/>
                </a:lnTo>
                <a:lnTo>
                  <a:pt x="3136" y="182092"/>
                </a:lnTo>
                <a:lnTo>
                  <a:pt x="33274" y="182092"/>
                </a:lnTo>
                <a:lnTo>
                  <a:pt x="33274" y="63055"/>
                </a:lnTo>
                <a:lnTo>
                  <a:pt x="36372" y="58988"/>
                </a:lnTo>
                <a:lnTo>
                  <a:pt x="46348" y="47349"/>
                </a:lnTo>
                <a:lnTo>
                  <a:pt x="56261" y="37086"/>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7"/>
          <p:cNvSpPr/>
          <p:nvPr/>
        </p:nvSpPr>
        <p:spPr>
          <a:xfrm>
            <a:off x="1659762" y="307292"/>
            <a:ext cx="27816" cy="177040"/>
          </a:xfrm>
          <a:custGeom>
            <a:avLst/>
            <a:gdLst/>
            <a:ahLst/>
            <a:cxnLst/>
            <a:rect l="l" t="t" r="r" b="b"/>
            <a:pathLst>
              <a:path w="39560" h="251790">
                <a:moveTo>
                  <a:pt x="0" y="21526"/>
                </a:moveTo>
                <a:lnTo>
                  <a:pt x="482" y="25980"/>
                </a:lnTo>
                <a:lnTo>
                  <a:pt x="7360" y="38207"/>
                </a:lnTo>
                <a:lnTo>
                  <a:pt x="19583" y="43459"/>
                </a:lnTo>
                <a:lnTo>
                  <a:pt x="24294" y="42714"/>
                </a:lnTo>
                <a:lnTo>
                  <a:pt x="35117" y="34404"/>
                </a:lnTo>
                <a:lnTo>
                  <a:pt x="39560" y="21145"/>
                </a:lnTo>
                <a:lnTo>
                  <a:pt x="39123" y="17027"/>
                </a:lnTo>
                <a:lnTo>
                  <a:pt x="32080" y="5036"/>
                </a:lnTo>
                <a:lnTo>
                  <a:pt x="19583" y="0"/>
                </a:lnTo>
                <a:lnTo>
                  <a:pt x="15527" y="508"/>
                </a:lnTo>
                <a:lnTo>
                  <a:pt x="4404" y="8411"/>
                </a:lnTo>
                <a:lnTo>
                  <a:pt x="0" y="21526"/>
                </a:lnTo>
                <a:close/>
              </a:path>
              <a:path w="39560" h="251790">
                <a:moveTo>
                  <a:pt x="4711" y="74396"/>
                </a:moveTo>
                <a:lnTo>
                  <a:pt x="4711" y="251790"/>
                </a:lnTo>
                <a:lnTo>
                  <a:pt x="34861" y="251790"/>
                </a:lnTo>
                <a:lnTo>
                  <a:pt x="34861" y="74396"/>
                </a:lnTo>
                <a:lnTo>
                  <a:pt x="4711" y="7439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5"/>
          <p:cNvSpPr/>
          <p:nvPr/>
        </p:nvSpPr>
        <p:spPr>
          <a:xfrm>
            <a:off x="1720600" y="356293"/>
            <a:ext cx="103798" cy="128033"/>
          </a:xfrm>
          <a:custGeom>
            <a:avLst/>
            <a:gdLst/>
            <a:ahLst/>
            <a:cxnLst/>
            <a:rect l="l" t="t" r="r" b="b"/>
            <a:pathLst>
              <a:path w="147624" h="182092">
                <a:moveTo>
                  <a:pt x="62661" y="31724"/>
                </a:moveTo>
                <a:lnTo>
                  <a:pt x="65392" y="30162"/>
                </a:lnTo>
                <a:lnTo>
                  <a:pt x="77927" y="27025"/>
                </a:lnTo>
                <a:lnTo>
                  <a:pt x="87325" y="27025"/>
                </a:lnTo>
                <a:lnTo>
                  <a:pt x="103236" y="29549"/>
                </a:lnTo>
                <a:lnTo>
                  <a:pt x="112214" y="37202"/>
                </a:lnTo>
                <a:lnTo>
                  <a:pt x="116237" y="49945"/>
                </a:lnTo>
                <a:lnTo>
                  <a:pt x="117487" y="67741"/>
                </a:lnTo>
                <a:lnTo>
                  <a:pt x="117760" y="78307"/>
                </a:lnTo>
                <a:lnTo>
                  <a:pt x="117889" y="106135"/>
                </a:lnTo>
                <a:lnTo>
                  <a:pt x="118038" y="121023"/>
                </a:lnTo>
                <a:lnTo>
                  <a:pt x="118016" y="141871"/>
                </a:lnTo>
                <a:lnTo>
                  <a:pt x="117780" y="152000"/>
                </a:lnTo>
                <a:lnTo>
                  <a:pt x="117352" y="164712"/>
                </a:lnTo>
                <a:lnTo>
                  <a:pt x="116700" y="182092"/>
                </a:lnTo>
                <a:lnTo>
                  <a:pt x="146850" y="182092"/>
                </a:lnTo>
                <a:lnTo>
                  <a:pt x="146957" y="174487"/>
                </a:lnTo>
                <a:lnTo>
                  <a:pt x="147110" y="162795"/>
                </a:lnTo>
                <a:lnTo>
                  <a:pt x="147289" y="147767"/>
                </a:lnTo>
                <a:lnTo>
                  <a:pt x="147460" y="131083"/>
                </a:lnTo>
                <a:lnTo>
                  <a:pt x="147587" y="114423"/>
                </a:lnTo>
                <a:lnTo>
                  <a:pt x="147624" y="71983"/>
                </a:lnTo>
                <a:lnTo>
                  <a:pt x="147282" y="59290"/>
                </a:lnTo>
                <a:lnTo>
                  <a:pt x="146456" y="46596"/>
                </a:lnTo>
                <a:lnTo>
                  <a:pt x="144280" y="33529"/>
                </a:lnTo>
                <a:lnTo>
                  <a:pt x="138674" y="20115"/>
                </a:lnTo>
                <a:lnTo>
                  <a:pt x="130192" y="10559"/>
                </a:lnTo>
                <a:lnTo>
                  <a:pt x="119094" y="4357"/>
                </a:lnTo>
                <a:lnTo>
                  <a:pt x="105637" y="1005"/>
                </a:lnTo>
                <a:lnTo>
                  <a:pt x="90081" y="0"/>
                </a:lnTo>
                <a:lnTo>
                  <a:pt x="87837" y="32"/>
                </a:lnTo>
                <a:lnTo>
                  <a:pt x="73712" y="1882"/>
                </a:lnTo>
                <a:lnTo>
                  <a:pt x="61479" y="6295"/>
                </a:lnTo>
                <a:lnTo>
                  <a:pt x="50776" y="12874"/>
                </a:lnTo>
                <a:lnTo>
                  <a:pt x="41241" y="21220"/>
                </a:lnTo>
                <a:lnTo>
                  <a:pt x="32511" y="30937"/>
                </a:lnTo>
                <a:lnTo>
                  <a:pt x="27812" y="4698"/>
                </a:lnTo>
                <a:lnTo>
                  <a:pt x="0" y="4698"/>
                </a:lnTo>
                <a:lnTo>
                  <a:pt x="1574" y="18808"/>
                </a:lnTo>
                <a:lnTo>
                  <a:pt x="2389" y="27075"/>
                </a:lnTo>
                <a:lnTo>
                  <a:pt x="2978" y="39633"/>
                </a:lnTo>
                <a:lnTo>
                  <a:pt x="3149" y="54038"/>
                </a:lnTo>
                <a:lnTo>
                  <a:pt x="3149" y="182092"/>
                </a:lnTo>
                <a:lnTo>
                  <a:pt x="33286" y="182092"/>
                </a:lnTo>
                <a:lnTo>
                  <a:pt x="33286" y="63055"/>
                </a:lnTo>
                <a:lnTo>
                  <a:pt x="36385" y="58988"/>
                </a:lnTo>
                <a:lnTo>
                  <a:pt x="46360" y="47349"/>
                </a:lnTo>
                <a:lnTo>
                  <a:pt x="56274" y="37086"/>
                </a:lnTo>
                <a:lnTo>
                  <a:pt x="62661"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6"/>
          <p:cNvSpPr/>
          <p:nvPr/>
        </p:nvSpPr>
        <p:spPr>
          <a:xfrm>
            <a:off x="1852187" y="422106"/>
            <a:ext cx="34227" cy="124376"/>
          </a:xfrm>
          <a:custGeom>
            <a:avLst/>
            <a:gdLst/>
            <a:ahLst/>
            <a:cxnLst/>
            <a:rect l="l" t="t" r="r" b="b"/>
            <a:pathLst>
              <a:path w="48678" h="176891">
                <a:moveTo>
                  <a:pt x="36766" y="77831"/>
                </a:moveTo>
                <a:lnTo>
                  <a:pt x="48678" y="83292"/>
                </a:lnTo>
                <a:lnTo>
                  <a:pt x="38801" y="37607"/>
                </a:lnTo>
                <a:lnTo>
                  <a:pt x="34161" y="21483"/>
                </a:lnTo>
                <a:lnTo>
                  <a:pt x="32511" y="0"/>
                </a:lnTo>
                <a:lnTo>
                  <a:pt x="26161" y="70248"/>
                </a:lnTo>
                <a:lnTo>
                  <a:pt x="36766" y="77831"/>
                </a:lnTo>
                <a:close/>
              </a:path>
              <a:path w="48678" h="176891">
                <a:moveTo>
                  <a:pt x="968" y="19440"/>
                </a:moveTo>
                <a:lnTo>
                  <a:pt x="4267" y="35140"/>
                </a:lnTo>
                <a:lnTo>
                  <a:pt x="9704" y="48866"/>
                </a:lnTo>
                <a:lnTo>
                  <a:pt x="17071" y="60581"/>
                </a:lnTo>
                <a:lnTo>
                  <a:pt x="26161" y="70248"/>
                </a:lnTo>
                <a:lnTo>
                  <a:pt x="32511" y="0"/>
                </a:lnTo>
                <a:lnTo>
                  <a:pt x="32531" y="-2276"/>
                </a:lnTo>
                <a:lnTo>
                  <a:pt x="34572" y="-22375"/>
                </a:lnTo>
                <a:lnTo>
                  <a:pt x="39057" y="-37880"/>
                </a:lnTo>
                <a:lnTo>
                  <a:pt x="44671" y="-49218"/>
                </a:lnTo>
                <a:lnTo>
                  <a:pt x="50103" y="-56812"/>
                </a:lnTo>
                <a:lnTo>
                  <a:pt x="54038" y="-61086"/>
                </a:lnTo>
                <a:lnTo>
                  <a:pt x="69618" y="-66254"/>
                </a:lnTo>
                <a:lnTo>
                  <a:pt x="85763" y="-67754"/>
                </a:lnTo>
                <a:lnTo>
                  <a:pt x="93260" y="-67239"/>
                </a:lnTo>
                <a:lnTo>
                  <a:pt x="105142" y="-63556"/>
                </a:lnTo>
                <a:lnTo>
                  <a:pt x="114527" y="-56199"/>
                </a:lnTo>
                <a:lnTo>
                  <a:pt x="121331" y="-45018"/>
                </a:lnTo>
                <a:lnTo>
                  <a:pt x="125473" y="-29862"/>
                </a:lnTo>
                <a:lnTo>
                  <a:pt x="126872" y="-10579"/>
                </a:lnTo>
                <a:lnTo>
                  <a:pt x="126872" y="28575"/>
                </a:lnTo>
                <a:lnTo>
                  <a:pt x="123171" y="35166"/>
                </a:lnTo>
                <a:lnTo>
                  <a:pt x="114746" y="45769"/>
                </a:lnTo>
                <a:lnTo>
                  <a:pt x="104376" y="54231"/>
                </a:lnTo>
                <a:lnTo>
                  <a:pt x="92485" y="59834"/>
                </a:lnTo>
                <a:lnTo>
                  <a:pt x="79501" y="61861"/>
                </a:lnTo>
                <a:lnTo>
                  <a:pt x="78046" y="61848"/>
                </a:lnTo>
                <a:lnTo>
                  <a:pt x="66054" y="60492"/>
                </a:lnTo>
                <a:lnTo>
                  <a:pt x="55208" y="56444"/>
                </a:lnTo>
                <a:lnTo>
                  <a:pt x="45970" y="49038"/>
                </a:lnTo>
                <a:lnTo>
                  <a:pt x="38801" y="37607"/>
                </a:lnTo>
                <a:lnTo>
                  <a:pt x="48678" y="83292"/>
                </a:lnTo>
                <a:lnTo>
                  <a:pt x="61688" y="86596"/>
                </a:lnTo>
                <a:lnTo>
                  <a:pt x="75590" y="87706"/>
                </a:lnTo>
                <a:lnTo>
                  <a:pt x="82543" y="87459"/>
                </a:lnTo>
                <a:lnTo>
                  <a:pt x="96032" y="85208"/>
                </a:lnTo>
                <a:lnTo>
                  <a:pt x="107612" y="80630"/>
                </a:lnTo>
                <a:lnTo>
                  <a:pt x="117838" y="73753"/>
                </a:lnTo>
                <a:lnTo>
                  <a:pt x="127266" y="64604"/>
                </a:lnTo>
                <a:lnTo>
                  <a:pt x="127439" y="78176"/>
                </a:lnTo>
                <a:lnTo>
                  <a:pt x="127833" y="91163"/>
                </a:lnTo>
                <a:lnTo>
                  <a:pt x="128054" y="101015"/>
                </a:lnTo>
                <a:lnTo>
                  <a:pt x="127331" y="111049"/>
                </a:lnTo>
                <a:lnTo>
                  <a:pt x="122971" y="124692"/>
                </a:lnTo>
                <a:lnTo>
                  <a:pt x="114979" y="134530"/>
                </a:lnTo>
                <a:lnTo>
                  <a:pt x="103718" y="141007"/>
                </a:lnTo>
                <a:lnTo>
                  <a:pt x="89549" y="144568"/>
                </a:lnTo>
                <a:lnTo>
                  <a:pt x="72834" y="145656"/>
                </a:lnTo>
                <a:lnTo>
                  <a:pt x="70290" y="145636"/>
                </a:lnTo>
                <a:lnTo>
                  <a:pt x="53477" y="143803"/>
                </a:lnTo>
                <a:lnTo>
                  <a:pt x="42129" y="138170"/>
                </a:lnTo>
                <a:lnTo>
                  <a:pt x="35713" y="127562"/>
                </a:lnTo>
                <a:lnTo>
                  <a:pt x="33693" y="110807"/>
                </a:lnTo>
                <a:lnTo>
                  <a:pt x="2755" y="116687"/>
                </a:lnTo>
                <a:lnTo>
                  <a:pt x="4929" y="134144"/>
                </a:lnTo>
                <a:lnTo>
                  <a:pt x="10500" y="146856"/>
                </a:lnTo>
                <a:lnTo>
                  <a:pt x="19040" y="156561"/>
                </a:lnTo>
                <a:lnTo>
                  <a:pt x="30104" y="163568"/>
                </a:lnTo>
                <a:lnTo>
                  <a:pt x="43250" y="168189"/>
                </a:lnTo>
                <a:lnTo>
                  <a:pt x="58035" y="170734"/>
                </a:lnTo>
                <a:lnTo>
                  <a:pt x="74015" y="171513"/>
                </a:lnTo>
                <a:lnTo>
                  <a:pt x="81572" y="171343"/>
                </a:lnTo>
                <a:lnTo>
                  <a:pt x="98864" y="169483"/>
                </a:lnTo>
                <a:lnTo>
                  <a:pt x="114042" y="165632"/>
                </a:lnTo>
                <a:lnTo>
                  <a:pt x="127048" y="159865"/>
                </a:lnTo>
                <a:lnTo>
                  <a:pt x="137822" y="152258"/>
                </a:lnTo>
                <a:lnTo>
                  <a:pt x="146306" y="142885"/>
                </a:lnTo>
                <a:lnTo>
                  <a:pt x="152438" y="131822"/>
                </a:lnTo>
                <a:lnTo>
                  <a:pt x="156162" y="119144"/>
                </a:lnTo>
                <a:lnTo>
                  <a:pt x="157416" y="104927"/>
                </a:lnTo>
                <a:lnTo>
                  <a:pt x="157325" y="96305"/>
                </a:lnTo>
                <a:lnTo>
                  <a:pt x="157145" y="82259"/>
                </a:lnTo>
                <a:lnTo>
                  <a:pt x="157048" y="-63830"/>
                </a:lnTo>
                <a:lnTo>
                  <a:pt x="159778" y="-88899"/>
                </a:lnTo>
                <a:lnTo>
                  <a:pt x="136283" y="-88899"/>
                </a:lnTo>
                <a:lnTo>
                  <a:pt x="129628" y="-74790"/>
                </a:lnTo>
                <a:lnTo>
                  <a:pt x="121632" y="-82771"/>
                </a:lnTo>
                <a:lnTo>
                  <a:pt x="110116" y="-89118"/>
                </a:lnTo>
                <a:lnTo>
                  <a:pt x="97409" y="-92561"/>
                </a:lnTo>
                <a:lnTo>
                  <a:pt x="84581" y="-93598"/>
                </a:lnTo>
                <a:lnTo>
                  <a:pt x="81930" y="-93570"/>
                </a:lnTo>
                <a:lnTo>
                  <a:pt x="66639" y="-92197"/>
                </a:lnTo>
                <a:lnTo>
                  <a:pt x="52871" y="-88801"/>
                </a:lnTo>
                <a:lnTo>
                  <a:pt x="40647" y="-83443"/>
                </a:lnTo>
                <a:lnTo>
                  <a:pt x="29986" y="-76184"/>
                </a:lnTo>
                <a:lnTo>
                  <a:pt x="20908" y="-67084"/>
                </a:lnTo>
                <a:lnTo>
                  <a:pt x="13436" y="-56204"/>
                </a:lnTo>
                <a:lnTo>
                  <a:pt x="7588" y="-43604"/>
                </a:lnTo>
                <a:lnTo>
                  <a:pt x="3386" y="-29344"/>
                </a:lnTo>
                <a:lnTo>
                  <a:pt x="849" y="-13485"/>
                </a:lnTo>
                <a:lnTo>
                  <a:pt x="0" y="3911"/>
                </a:lnTo>
                <a:lnTo>
                  <a:pt x="968" y="1944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bject 14"/>
          <p:cNvSpPr/>
          <p:nvPr/>
        </p:nvSpPr>
        <p:spPr>
          <a:xfrm>
            <a:off x="0" y="732235"/>
            <a:ext cx="9144000" cy="667878"/>
          </a:xfrm>
          <a:custGeom>
            <a:avLst/>
            <a:gdLst/>
            <a:ahLst/>
            <a:cxnLst/>
            <a:rect l="l" t="t" r="r" b="b"/>
            <a:pathLst>
              <a:path w="13004800" h="949871">
                <a:moveTo>
                  <a:pt x="0" y="949871"/>
                </a:moveTo>
                <a:lnTo>
                  <a:pt x="13004800" y="949871"/>
                </a:lnTo>
                <a:lnTo>
                  <a:pt x="13004800" y="0"/>
                </a:lnTo>
                <a:lnTo>
                  <a:pt x="0" y="0"/>
                </a:lnTo>
                <a:lnTo>
                  <a:pt x="0" y="94987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12"/>
          <p:cNvSpPr/>
          <p:nvPr/>
        </p:nvSpPr>
        <p:spPr>
          <a:xfrm>
            <a:off x="125016" y="3433000"/>
            <a:ext cx="2446376" cy="3278981"/>
          </a:xfrm>
          <a:custGeom>
            <a:avLst/>
            <a:gdLst/>
            <a:ahLst/>
            <a:cxnLst/>
            <a:rect l="l" t="t" r="r" b="b"/>
            <a:pathLst>
              <a:path w="3479291" h="4663439">
                <a:moveTo>
                  <a:pt x="0" y="0"/>
                </a:moveTo>
                <a:lnTo>
                  <a:pt x="0" y="4663440"/>
                </a:lnTo>
                <a:lnTo>
                  <a:pt x="3479291" y="4663440"/>
                </a:lnTo>
                <a:lnTo>
                  <a:pt x="3479291" y="0"/>
                </a:lnTo>
                <a:lnTo>
                  <a:pt x="0" y="0"/>
                </a:lnTo>
                <a:close/>
              </a:path>
            </a:pathLst>
          </a:custGeom>
          <a:solidFill>
            <a:srgbClr val="000000">
              <a:alpha val="35000"/>
            </a:srgbClr>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13"/>
          <p:cNvSpPr/>
          <p:nvPr/>
        </p:nvSpPr>
        <p:spPr>
          <a:xfrm>
            <a:off x="145531" y="3474618"/>
            <a:ext cx="2348508" cy="3186925"/>
          </a:xfrm>
          <a:custGeom>
            <a:avLst/>
            <a:gdLst/>
            <a:ahLst/>
            <a:cxnLst/>
            <a:rect l="l" t="t" r="r" b="b"/>
            <a:pathLst>
              <a:path w="3340100" h="4532515">
                <a:moveTo>
                  <a:pt x="31" y="4405500"/>
                </a:moveTo>
                <a:lnTo>
                  <a:pt x="841" y="4447492"/>
                </a:lnTo>
                <a:lnTo>
                  <a:pt x="6735" y="4491345"/>
                </a:lnTo>
                <a:lnTo>
                  <a:pt x="31181" y="4521954"/>
                </a:lnTo>
                <a:lnTo>
                  <a:pt x="68505" y="4530563"/>
                </a:lnTo>
                <a:lnTo>
                  <a:pt x="127719" y="4532487"/>
                </a:lnTo>
                <a:lnTo>
                  <a:pt x="3340100" y="4532515"/>
                </a:lnTo>
                <a:lnTo>
                  <a:pt x="3340068" y="304421"/>
                </a:lnTo>
                <a:lnTo>
                  <a:pt x="3339258" y="262429"/>
                </a:lnTo>
                <a:lnTo>
                  <a:pt x="3333364" y="218576"/>
                </a:lnTo>
                <a:lnTo>
                  <a:pt x="3308918" y="187967"/>
                </a:lnTo>
                <a:lnTo>
                  <a:pt x="3271594" y="179358"/>
                </a:lnTo>
                <a:lnTo>
                  <a:pt x="3212380" y="177434"/>
                </a:lnTo>
                <a:lnTo>
                  <a:pt x="896327" y="177406"/>
                </a:lnTo>
                <a:lnTo>
                  <a:pt x="689381" y="0"/>
                </a:lnTo>
                <a:lnTo>
                  <a:pt x="482968" y="177406"/>
                </a:lnTo>
                <a:lnTo>
                  <a:pt x="0" y="177406"/>
                </a:lnTo>
                <a:lnTo>
                  <a:pt x="31" y="44055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11"/>
          <p:cNvSpPr/>
          <p:nvPr/>
        </p:nvSpPr>
        <p:spPr>
          <a:xfrm>
            <a:off x="174834" y="1553936"/>
            <a:ext cx="2396558" cy="1828626"/>
          </a:xfrm>
          <a:prstGeom prst="rect">
            <a:avLst/>
          </a:prstGeom>
          <a:blipFill>
            <a:blip r:embed="rId3" cstate="print"/>
            <a:stretch>
              <a:fillRect/>
            </a:stretch>
          </a:blip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bject 10"/>
          <p:cNvSpPr txBox="1"/>
          <p:nvPr/>
        </p:nvSpPr>
        <p:spPr>
          <a:xfrm>
            <a:off x="422710" y="935020"/>
            <a:ext cx="78636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231" normalizeH="0" baseline="0" noProof="0" dirty="0">
                <a:ln>
                  <a:noFill/>
                </a:ln>
                <a:solidFill>
                  <a:srgbClr val="FFFFFF"/>
                </a:solidFill>
                <a:effectLst/>
                <a:uLnTx/>
                <a:uFillTx/>
                <a:latin typeface="Times New Roman"/>
                <a:ea typeface="+mn-ea"/>
                <a:cs typeface="Times New Roman"/>
              </a:rPr>
              <a:t>PLAN</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 name="object 9"/>
          <p:cNvSpPr txBox="1"/>
          <p:nvPr/>
        </p:nvSpPr>
        <p:spPr>
          <a:xfrm>
            <a:off x="1222163" y="935020"/>
            <a:ext cx="45395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0" normalizeH="0" baseline="0" noProof="0" dirty="0">
                <a:ln>
                  <a:noFill/>
                </a:ln>
                <a:solidFill>
                  <a:srgbClr val="FFFFFF"/>
                </a:solidFill>
                <a:effectLst/>
                <a:uLnTx/>
                <a:uFillTx/>
                <a:latin typeface="Times New Roman"/>
                <a:ea typeface="+mn-ea"/>
                <a:cs typeface="Times New Roman"/>
              </a:rPr>
              <a:t>OF</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8" name="object 8"/>
          <p:cNvSpPr txBox="1"/>
          <p:nvPr/>
        </p:nvSpPr>
        <p:spPr>
          <a:xfrm>
            <a:off x="1689207" y="935020"/>
            <a:ext cx="773981"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326" normalizeH="0" baseline="0" noProof="0" dirty="0">
                <a:ln>
                  <a:noFill/>
                </a:ln>
                <a:solidFill>
                  <a:srgbClr val="FFFFFF"/>
                </a:solidFill>
                <a:effectLst/>
                <a:uLnTx/>
                <a:uFillTx/>
                <a:latin typeface="Times New Roman"/>
                <a:ea typeface="+mn-ea"/>
                <a:cs typeface="Times New Roman"/>
              </a:rPr>
              <a:t>CARE</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7" name="object 7"/>
          <p:cNvSpPr txBox="1"/>
          <p:nvPr/>
        </p:nvSpPr>
        <p:spPr>
          <a:xfrm>
            <a:off x="2800115" y="1899944"/>
            <a:ext cx="2265955" cy="709592"/>
          </a:xfrm>
          <a:prstGeom prst="rect">
            <a:avLst/>
          </a:prstGeom>
        </p:spPr>
        <p:txBody>
          <a:bodyPr wrap="square" lIns="0" tIns="8505" rIns="0" bIns="0" rtlCol="0">
            <a:no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Potential Problems:</a:t>
            </a:r>
            <a:endParaRPr kumimoji="0"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2" name="object 2"/>
          <p:cNvSpPr txBox="1"/>
          <p:nvPr/>
        </p:nvSpPr>
        <p:spPr>
          <a:xfrm>
            <a:off x="125016" y="3433000"/>
            <a:ext cx="2446376" cy="3278981"/>
          </a:xfrm>
          <a:prstGeom prst="rect">
            <a:avLst/>
          </a:prstGeom>
        </p:spPr>
        <p:txBody>
          <a:bodyPr wrap="square" lIns="0" tIns="2505" rIns="0" bIns="0" rtlCol="0">
            <a:noAutofit/>
          </a:bodyPr>
          <a:lstStyle/>
          <a:p>
            <a:pPr marL="0" marR="0" lvl="0" indent="0" algn="l" defTabSz="642915" rtl="0" eaLnBrk="1" fontAlgn="auto" latinLnBrk="0" hangingPunct="1">
              <a:lnSpc>
                <a:spcPts val="598"/>
              </a:lnSpc>
              <a:spcBef>
                <a:spcPts val="0"/>
              </a:spcBef>
              <a:spcAft>
                <a:spcPts val="0"/>
              </a:spcAft>
              <a:buClrTx/>
              <a:buSzTx/>
              <a:buFontTx/>
              <a:buNone/>
              <a:tabLst/>
              <a:defRPr/>
            </a:pPr>
            <a:endParaRPr kumimoji="0" sz="598" b="0" i="0" u="none" strike="noStrike" kern="1200" cap="none" spc="0" normalizeH="0" baseline="0" noProof="0" dirty="0">
              <a:ln>
                <a:noFill/>
              </a:ln>
              <a:solidFill>
                <a:prstClr val="black"/>
              </a:solidFill>
              <a:effectLst/>
              <a:uLnTx/>
              <a:uFillTx/>
              <a:latin typeface="Calibri"/>
              <a:ea typeface="+mn-ea"/>
              <a:cs typeface="+mn-cs"/>
            </a:endParaRPr>
          </a:p>
          <a:p>
            <a:pPr marL="210550" marR="0" lvl="0" indent="0" algn="l" defTabSz="642915" rtl="0" eaLnBrk="1" fontAlgn="auto" latinLnBrk="0" hangingPunct="1">
              <a:lnSpc>
                <a:spcPct val="95825"/>
              </a:lnSpc>
              <a:spcBef>
                <a:spcPts val="1406"/>
              </a:spcBef>
              <a:spcAft>
                <a:spcPts val="0"/>
              </a:spcAft>
              <a:buClrTx/>
              <a:buSzTx/>
              <a:buFontTx/>
              <a:buNone/>
              <a:tabLst/>
              <a:defRPr/>
            </a:pPr>
            <a:r>
              <a:rPr kumimoji="0" sz="1195" b="1" i="0" u="none" strike="noStrike" kern="1200" cap="none" spc="-2" normalizeH="0" baseline="0" noProof="0" dirty="0">
                <a:ln>
                  <a:noFill/>
                </a:ln>
                <a:solidFill>
                  <a:srgbClr val="FFFFFF"/>
                </a:solidFill>
                <a:effectLst/>
                <a:uLnTx/>
                <a:uFillTx/>
                <a:latin typeface="Times New Roman"/>
                <a:ea typeface="+mn-ea"/>
                <a:cs typeface="Times New Roman"/>
              </a:rPr>
              <a:t>Name: </a:t>
            </a:r>
            <a:r>
              <a:rPr kumimoji="0" sz="1195" b="0" i="0" u="none" strike="noStrike" kern="1200" cap="none" spc="-2" normalizeH="0" baseline="0" noProof="0" dirty="0">
                <a:ln>
                  <a:noFill/>
                </a:ln>
                <a:solidFill>
                  <a:srgbClr val="FFFFFF"/>
                </a:solidFill>
                <a:effectLst/>
                <a:uLnTx/>
                <a:uFillTx/>
                <a:latin typeface="Times New Roman"/>
                <a:ea typeface="+mn-ea"/>
                <a:cs typeface="Times New Roman"/>
              </a:rPr>
              <a:t>Walter Jones</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2" normalizeH="0" baseline="0" noProof="0" dirty="0">
                <a:ln>
                  <a:noFill/>
                </a:ln>
                <a:solidFill>
                  <a:srgbClr val="FFFFFF"/>
                </a:solidFill>
                <a:effectLst/>
                <a:uLnTx/>
                <a:uFillTx/>
                <a:latin typeface="Times New Roman"/>
                <a:ea typeface="+mn-ea"/>
                <a:cs typeface="Times New Roman"/>
              </a:rPr>
              <a:t>Gender: </a:t>
            </a:r>
            <a:r>
              <a:rPr kumimoji="0" sz="1195" b="0" i="0" u="none" strike="noStrike" kern="1200" cap="none" spc="-12" normalizeH="0" baseline="0" noProof="0" dirty="0">
                <a:ln>
                  <a:noFill/>
                </a:ln>
                <a:solidFill>
                  <a:srgbClr val="FFFFFF"/>
                </a:solidFill>
                <a:effectLst/>
                <a:uLnTx/>
                <a:uFillTx/>
                <a:latin typeface="Times New Roman"/>
                <a:ea typeface="+mn-ea"/>
                <a:cs typeface="Times New Roman"/>
              </a:rPr>
              <a:t>Male</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23" normalizeH="0" baseline="0" noProof="0" dirty="0">
                <a:ln>
                  <a:noFill/>
                </a:ln>
                <a:solidFill>
                  <a:srgbClr val="FFFFFF"/>
                </a:solidFill>
                <a:effectLst/>
                <a:uLnTx/>
                <a:uFillTx/>
                <a:latin typeface="Times New Roman"/>
                <a:ea typeface="+mn-ea"/>
                <a:cs typeface="Times New Roman"/>
              </a:rPr>
              <a:t>Age: </a:t>
            </a:r>
            <a:r>
              <a:rPr kumimoji="0" sz="1195" b="0" i="0" u="none" strike="noStrike" kern="1200" cap="none" spc="-23" normalizeH="0" baseline="0" noProof="0" dirty="0">
                <a:ln>
                  <a:noFill/>
                </a:ln>
                <a:solidFill>
                  <a:srgbClr val="FFFFFF"/>
                </a:solidFill>
                <a:effectLst/>
                <a:uLnTx/>
                <a:uFillTx/>
                <a:latin typeface="Times New Roman"/>
                <a:ea typeface="+mn-ea"/>
                <a:cs typeface="Times New Roman"/>
              </a:rPr>
              <a:t>65</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6" normalizeH="0" baseline="0" noProof="0" dirty="0">
                <a:ln>
                  <a:noFill/>
                </a:ln>
                <a:solidFill>
                  <a:srgbClr val="FFFFFF"/>
                </a:solidFill>
                <a:effectLst/>
                <a:uLnTx/>
                <a:uFillTx/>
                <a:latin typeface="Times New Roman"/>
                <a:ea typeface="+mn-ea"/>
                <a:cs typeface="Times New Roman"/>
              </a:rPr>
              <a:t>Height: 6' 2"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7" normalizeH="0" baseline="0" noProof="0" dirty="0">
                <a:ln>
                  <a:noFill/>
                </a:ln>
                <a:solidFill>
                  <a:srgbClr val="FFFFFF"/>
                </a:solidFill>
                <a:effectLst/>
                <a:uLnTx/>
                <a:uFillTx/>
                <a:latin typeface="Times New Roman"/>
                <a:ea typeface="+mn-ea"/>
                <a:cs typeface="Times New Roman"/>
              </a:rPr>
              <a:t>Weight: 210 lb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lang="en-US" sz="1195" b="1" i="1" u="none" strike="noStrike" kern="1200" cap="none" spc="-28" normalizeH="0" baseline="0" noProof="0" dirty="0">
                <a:ln>
                  <a:noFill/>
                </a:ln>
                <a:solidFill>
                  <a:srgbClr val="FFFFFF"/>
                </a:solidFill>
                <a:effectLst/>
                <a:uLnTx/>
                <a:uFillTx/>
                <a:latin typeface="Times New Roman"/>
                <a:ea typeface="+mn-ea"/>
                <a:cs typeface="Times New Roman"/>
              </a:rPr>
              <a:t>CABG</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97"/>
              </a:spcBef>
              <a:spcAft>
                <a:spcPts val="0"/>
              </a:spcAft>
              <a:buClrTx/>
              <a:buSzTx/>
              <a:buFontTx/>
              <a:buNone/>
              <a:tabLst/>
              <a:defRPr/>
            </a:pPr>
            <a:r>
              <a:rPr kumimoji="0" sz="1195" b="1" i="0" u="none" strike="noStrike" kern="1200" cap="none" spc="-20" normalizeH="0" baseline="0" noProof="0" dirty="0">
                <a:ln>
                  <a:noFill/>
                </a:ln>
                <a:solidFill>
                  <a:srgbClr val="FFFFFF"/>
                </a:solidFill>
                <a:effectLst/>
                <a:uLnTx/>
                <a:uFillTx/>
                <a:latin typeface="Times New Roman"/>
                <a:ea typeface="+mn-ea"/>
                <a:cs typeface="Times New Roman"/>
              </a:rPr>
              <a:t>Primary Physician: </a:t>
            </a:r>
            <a:r>
              <a:rPr kumimoji="0" sz="1195" b="0" i="0" u="none" strike="noStrike" kern="1200" cap="none" spc="-20" normalizeH="0" baseline="0" noProof="0" dirty="0">
                <a:ln>
                  <a:noFill/>
                </a:ln>
                <a:solidFill>
                  <a:srgbClr val="FFFFFF"/>
                </a:solidFill>
                <a:effectLst/>
                <a:uLnTx/>
                <a:uFillTx/>
                <a:latin typeface="Times New Roman"/>
                <a:ea typeface="+mn-ea"/>
                <a:cs typeface="Times New Roman"/>
              </a:rPr>
              <a:t>Dr. Smith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5" normalizeH="0" baseline="0" noProof="0" dirty="0">
                <a:ln>
                  <a:noFill/>
                </a:ln>
                <a:solidFill>
                  <a:srgbClr val="FFFFFF"/>
                </a:solidFill>
                <a:effectLst/>
                <a:uLnTx/>
                <a:uFillTx/>
                <a:latin typeface="Times New Roman"/>
                <a:ea typeface="+mn-ea"/>
                <a:cs typeface="Times New Roman"/>
              </a:rPr>
              <a:t>Allergies: </a:t>
            </a:r>
            <a:r>
              <a:rPr kumimoji="0" sz="1195" b="0" i="0" u="none" strike="noStrike" kern="1200" cap="none" spc="-5" normalizeH="0" baseline="0" noProof="0" dirty="0">
                <a:ln>
                  <a:noFill/>
                </a:ln>
                <a:solidFill>
                  <a:srgbClr val="FFFFFF"/>
                </a:solidFill>
                <a:effectLst/>
                <a:uLnTx/>
                <a:uFillTx/>
                <a:latin typeface="Times New Roman"/>
                <a:ea typeface="+mn-ea"/>
                <a:cs typeface="Times New Roman"/>
              </a:rPr>
              <a:t>No Known Allergie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15" normalizeH="0" baseline="0" noProof="0" dirty="0">
                <a:ln>
                  <a:noFill/>
                </a:ln>
                <a:solidFill>
                  <a:srgbClr val="FFFFFF"/>
                </a:solidFill>
                <a:effectLst/>
                <a:uLnTx/>
                <a:uFillTx/>
                <a:latin typeface="Times New Roman"/>
                <a:ea typeface="+mn-ea"/>
                <a:cs typeface="Times New Roman"/>
              </a:rPr>
              <a:t>Pressure Ulcer POA: </a:t>
            </a:r>
            <a:r>
              <a:rPr kumimoji="0" sz="1195" b="0" i="0" u="none" strike="noStrike" kern="1200" cap="none" spc="-15" normalizeH="0" baseline="0" noProof="0" dirty="0">
                <a:ln>
                  <a:noFill/>
                </a:ln>
                <a:solidFill>
                  <a:srgbClr val="FFFFFF"/>
                </a:solidFill>
                <a:effectLst/>
                <a:uLnTx/>
                <a:uFillTx/>
                <a:latin typeface="Times New Roman"/>
                <a:ea typeface="+mn-ea"/>
                <a:cs typeface="Times New Roman"/>
              </a:rPr>
              <a:t>Negative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24" normalizeH="0" baseline="0" noProof="0" dirty="0">
                <a:ln>
                  <a:noFill/>
                </a:ln>
                <a:solidFill>
                  <a:srgbClr val="FFFFFF"/>
                </a:solidFill>
                <a:effectLst/>
                <a:uLnTx/>
                <a:uFillTx/>
                <a:latin typeface="Times New Roman"/>
                <a:ea typeface="+mn-ea"/>
                <a:cs typeface="Times New Roman"/>
              </a:rPr>
              <a:t>Last Braden Risk Score: </a:t>
            </a:r>
            <a:r>
              <a:rPr kumimoji="0" sz="1195" b="0" i="0" u="none" strike="noStrike" kern="1200" cap="none" spc="-24" normalizeH="0" baseline="0" noProof="0" dirty="0">
                <a:ln>
                  <a:noFill/>
                </a:ln>
                <a:solidFill>
                  <a:srgbClr val="FFFFFF"/>
                </a:solidFill>
                <a:effectLst/>
                <a:uLnTx/>
                <a:uFillTx/>
                <a:latin typeface="Times New Roman"/>
                <a:ea typeface="+mn-ea"/>
                <a:cs typeface="Times New Roman"/>
              </a:rPr>
              <a:t>19</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99"/>
              </a:spcBef>
              <a:spcAft>
                <a:spcPts val="0"/>
              </a:spcAft>
              <a:buClrTx/>
              <a:buSzTx/>
              <a:buFontTx/>
              <a:buNone/>
              <a:tabLst/>
              <a:defRPr/>
            </a:pPr>
            <a:r>
              <a:rPr kumimoji="0" sz="1195" b="1" i="0" u="none" strike="noStrike" kern="1200" cap="none" spc="-28" normalizeH="0" baseline="0" noProof="0" dirty="0">
                <a:ln>
                  <a:noFill/>
                </a:ln>
                <a:solidFill>
                  <a:srgbClr val="FFFFFF"/>
                </a:solidFill>
                <a:effectLst/>
                <a:uLnTx/>
                <a:uFillTx/>
                <a:latin typeface="Times New Roman"/>
                <a:ea typeface="+mn-ea"/>
                <a:cs typeface="Times New Roman"/>
              </a:rPr>
              <a:t>Fall Risk Score: </a:t>
            </a:r>
            <a:r>
              <a:rPr kumimoji="0" sz="1195" b="0" i="0" u="none" strike="noStrike" kern="1200" cap="none" spc="-28" normalizeH="0" baseline="0" noProof="0" dirty="0">
                <a:ln>
                  <a:noFill/>
                </a:ln>
                <a:solidFill>
                  <a:srgbClr val="FFFFFF"/>
                </a:solidFill>
                <a:effectLst/>
                <a:uLnTx/>
                <a:uFillTx/>
                <a:latin typeface="Times New Roman"/>
                <a:ea typeface="+mn-ea"/>
                <a:cs typeface="Times New Roman"/>
              </a:rPr>
              <a:t>6</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4" normalizeH="0" baseline="0" noProof="0" dirty="0">
                <a:ln>
                  <a:noFill/>
                </a:ln>
                <a:solidFill>
                  <a:srgbClr val="FFFFFF"/>
                </a:solidFill>
                <a:effectLst/>
                <a:uLnTx/>
                <a:uFillTx/>
                <a:latin typeface="Times New Roman"/>
                <a:ea typeface="+mn-ea"/>
                <a:cs typeface="Times New Roman"/>
              </a:rPr>
              <a:t>Last Pain Score: </a:t>
            </a:r>
            <a:r>
              <a:rPr kumimoji="0" lang="en-US" sz="1195" b="0" i="0" u="none" strike="noStrike" kern="1200" cap="none" spc="-14" normalizeH="0" baseline="0" noProof="0" dirty="0">
                <a:ln>
                  <a:noFill/>
                </a:ln>
                <a:solidFill>
                  <a:srgbClr val="FFFFFF"/>
                </a:solidFill>
                <a:effectLst/>
                <a:uLnTx/>
                <a:uFillTx/>
                <a:latin typeface="Times New Roman"/>
                <a:ea typeface="+mn-ea"/>
                <a:cs typeface="Times New Roman"/>
              </a:rPr>
              <a:t>5</a:t>
            </a:r>
            <a:r>
              <a:rPr kumimoji="0" sz="1195" b="0" i="0" u="none" strike="noStrike" kern="1200" cap="none" spc="-14" normalizeH="0" baseline="0" noProof="0" dirty="0">
                <a:ln>
                  <a:noFill/>
                </a:ln>
                <a:solidFill>
                  <a:srgbClr val="FFFFFF"/>
                </a:solidFill>
                <a:effectLst/>
                <a:uLnTx/>
                <a:uFillTx/>
                <a:latin typeface="Times New Roman"/>
                <a:ea typeface="+mn-ea"/>
                <a:cs typeface="Times New Roman"/>
              </a:rPr>
              <a:t> (0-10)</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3" name="TextBox 2">
            <a:extLst>
              <a:ext uri="{FF2B5EF4-FFF2-40B4-BE49-F238E27FC236}">
                <a16:creationId xmlns:a16="http://schemas.microsoft.com/office/drawing/2014/main" id="{180FBEAA-5020-4CF2-ABD9-9D69068EEEFF}"/>
              </a:ext>
            </a:extLst>
          </p:cNvPr>
          <p:cNvSpPr txBox="1"/>
          <p:nvPr/>
        </p:nvSpPr>
        <p:spPr>
          <a:xfrm>
            <a:off x="6085786" y="1822840"/>
            <a:ext cx="3009131" cy="1209947"/>
          </a:xfrm>
          <a:prstGeom prst="rect">
            <a:avLst/>
          </a:prstGeom>
          <a:noFill/>
        </p:spPr>
        <p:txBody>
          <a:bodyPr wrap="square" rtlCol="0">
            <a:sp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Suggested Care Plans:</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125"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mn-cs"/>
              </a:rPr>
              <a:t>Pneumonia</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Fall Injury Risk</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Times New Roman" panose="02020603050405020304" pitchFamily="18" charset="0"/>
              </a:rPr>
              <a:t>Skin Injury Risk</a:t>
            </a: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6" name="TextBox 35">
            <a:extLst>
              <a:ext uri="{FF2B5EF4-FFF2-40B4-BE49-F238E27FC236}">
                <a16:creationId xmlns:a16="http://schemas.microsoft.com/office/drawing/2014/main" id="{7BFA69F7-AE79-4E82-AD43-629EDD7CE8EB}"/>
              </a:ext>
            </a:extLst>
          </p:cNvPr>
          <p:cNvSpPr txBox="1"/>
          <p:nvPr/>
        </p:nvSpPr>
        <p:spPr>
          <a:xfrm>
            <a:off x="2742328" y="1586598"/>
            <a:ext cx="2125984" cy="259045"/>
          </a:xfrm>
          <a:prstGeom prst="rect">
            <a:avLst/>
          </a:prstGeom>
          <a:noFill/>
        </p:spPr>
        <p:txBody>
          <a:bodyPr wrap="square" rtlCol="0">
            <a:spAutoFit/>
          </a:bodyPr>
          <a:lstStyle/>
          <a:p>
            <a:pPr marL="8929" marR="23102" lvl="0" indent="0" algn="l" defTabSz="642915" rtl="0" eaLnBrk="1" fontAlgn="auto" latinLnBrk="0" hangingPunct="1">
              <a:lnSpc>
                <a:spcPts val="1339"/>
              </a:lnSpc>
              <a:spcBef>
                <a:spcPts val="0"/>
              </a:spcBef>
              <a:spcAft>
                <a:spcPts val="0"/>
              </a:spcAft>
              <a:buClrTx/>
              <a:buSzTx/>
              <a:buFontTx/>
              <a:buNone/>
              <a:tabLst/>
              <a:defRPr/>
            </a:pPr>
            <a:r>
              <a:rPr kumimoji="0" lang="en-US" sz="1266" b="1" i="0" u="none" strike="noStrike" kern="1200" cap="none" spc="-128" normalizeH="0" baseline="0" noProof="0" dirty="0">
                <a:ln>
                  <a:noFill/>
                </a:ln>
                <a:solidFill>
                  <a:srgbClr val="F5821F"/>
                </a:solidFill>
                <a:effectLst/>
                <a:uLnTx/>
                <a:uFillTx/>
                <a:latin typeface="Times New Roman"/>
                <a:ea typeface="+mn-ea"/>
                <a:cs typeface="Times New Roman"/>
              </a:rPr>
              <a:t>PLAN OF CARE</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pic>
        <p:nvPicPr>
          <p:cNvPr id="41" name="Picture 40">
            <a:extLst>
              <a:ext uri="{FF2B5EF4-FFF2-40B4-BE49-F238E27FC236}">
                <a16:creationId xmlns:a16="http://schemas.microsoft.com/office/drawing/2014/main" id="{3D3919E8-E196-466F-BD25-073290416D4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75284" y="2203982"/>
            <a:ext cx="211216" cy="207034"/>
          </a:xfrm>
          <a:prstGeom prst="rect">
            <a:avLst/>
          </a:prstGeom>
        </p:spPr>
      </p:pic>
      <p:sp>
        <p:nvSpPr>
          <p:cNvPr id="37" name="TextBox 36">
            <a:extLst>
              <a:ext uri="{FF2B5EF4-FFF2-40B4-BE49-F238E27FC236}">
                <a16:creationId xmlns:a16="http://schemas.microsoft.com/office/drawing/2014/main" id="{9FBC310D-48BF-4CE8-904F-99E8602AFD07}"/>
              </a:ext>
            </a:extLst>
          </p:cNvPr>
          <p:cNvSpPr txBox="1"/>
          <p:nvPr/>
        </p:nvSpPr>
        <p:spPr>
          <a:xfrm>
            <a:off x="2821964" y="2184472"/>
            <a:ext cx="2867321" cy="676724"/>
          </a:xfrm>
          <a:prstGeom prst="rect">
            <a:avLst/>
          </a:prstGeom>
          <a:noFill/>
        </p:spPr>
        <p:txBody>
          <a:bodyPr wrap="square" rtlCol="0">
            <a:spAutoFit/>
          </a:bodyPr>
          <a:lstStyle/>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Respiratory Compromise</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Infection Progression</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Fluid/Electrolyte Imbalance</a:t>
            </a:r>
          </a:p>
        </p:txBody>
      </p:sp>
      <p:pic>
        <p:nvPicPr>
          <p:cNvPr id="35" name="Picture 34">
            <a:extLst>
              <a:ext uri="{FF2B5EF4-FFF2-40B4-BE49-F238E27FC236}">
                <a16:creationId xmlns:a16="http://schemas.microsoft.com/office/drawing/2014/main" id="{D3E708D1-28C1-4C73-BB0B-CC08F37EB0E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807018" y="2196703"/>
            <a:ext cx="211216" cy="207034"/>
          </a:xfrm>
          <a:prstGeom prst="rect">
            <a:avLst/>
          </a:prstGeom>
        </p:spPr>
      </p:pic>
    </p:spTree>
    <p:extLst>
      <p:ext uri="{BB962C8B-B14F-4D97-AF65-F5344CB8AC3E}">
        <p14:creationId xmlns:p14="http://schemas.microsoft.com/office/powerpoint/2010/main" val="2208442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9" presetClass="emph" presetSubtype="0" fill="hold" nodeType="withEffect">
                                  <p:stCondLst>
                                    <p:cond delay="0"/>
                                  </p:stCondLst>
                                  <p:childTnLst>
                                    <p:animClr clrSpc="rgb" dir="cw">
                                      <p:cBhvr override="childStyle">
                                        <p:cTn id="8" dur="500" fill="hold"/>
                                        <p:tgtEl>
                                          <p:spTgt spid="37">
                                            <p:txEl>
                                              <p:pRg st="0" end="0"/>
                                            </p:txEl>
                                          </p:spTgt>
                                        </p:tgtEl>
                                        <p:attrNameLst>
                                          <p:attrName>style.color</p:attrName>
                                        </p:attrNameLst>
                                      </p:cBhvr>
                                      <p:to>
                                        <a:schemeClr val="hlink"/>
                                      </p:to>
                                    </p:animClr>
                                    <p:animClr clrSpc="rgb" dir="cw">
                                      <p:cBhvr>
                                        <p:cTn id="9" dur="500" fill="hold"/>
                                        <p:tgtEl>
                                          <p:spTgt spid="37">
                                            <p:txEl>
                                              <p:pRg st="0" end="0"/>
                                            </p:txEl>
                                          </p:spTgt>
                                        </p:tgtEl>
                                        <p:attrNameLst>
                                          <p:attrName>fillcolor</p:attrName>
                                        </p:attrNameLst>
                                      </p:cBhvr>
                                      <p:to>
                                        <a:schemeClr val="hlink"/>
                                      </p:to>
                                    </p:animClr>
                                    <p:set>
                                      <p:cBhvr>
                                        <p:cTn id="10" dur="500" fill="hold"/>
                                        <p:tgtEl>
                                          <p:spTgt spid="37">
                                            <p:txEl>
                                              <p:pRg st="0" end="0"/>
                                            </p:txEl>
                                          </p:spTgt>
                                        </p:tgtEl>
                                        <p:attrNameLst>
                                          <p:attrName>fill.type</p:attrName>
                                        </p:attrNameLst>
                                      </p:cBhvr>
                                      <p:to>
                                        <p:strVal val="solid"/>
                                      </p:to>
                                    </p:set>
                                    <p:set>
                                      <p:cBhvr>
                                        <p:cTn id="11" dur="500" fill="hold"/>
                                        <p:tgtEl>
                                          <p:spTgt spid="37">
                                            <p:txEl>
                                              <p:pRg st="0" end="0"/>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bject 27"/>
          <p:cNvSpPr/>
          <p:nvPr/>
        </p:nvSpPr>
        <p:spPr>
          <a:xfrm>
            <a:off x="7197328" y="273013"/>
            <a:ext cx="202266" cy="219938"/>
          </a:xfrm>
          <a:custGeom>
            <a:avLst/>
            <a:gdLst/>
            <a:ahLst/>
            <a:cxnLst/>
            <a:rect l="l" t="t" r="r" b="b"/>
            <a:pathLst>
              <a:path w="287667" h="312801">
                <a:moveTo>
                  <a:pt x="279527" y="232981"/>
                </a:moveTo>
                <a:lnTo>
                  <a:pt x="276916" y="240546"/>
                </a:lnTo>
                <a:lnTo>
                  <a:pt x="271028" y="253498"/>
                </a:lnTo>
                <a:lnTo>
                  <a:pt x="263732" y="264989"/>
                </a:lnTo>
                <a:lnTo>
                  <a:pt x="255011" y="274826"/>
                </a:lnTo>
                <a:lnTo>
                  <a:pt x="244844" y="282815"/>
                </a:lnTo>
                <a:lnTo>
                  <a:pt x="233214" y="288761"/>
                </a:lnTo>
                <a:lnTo>
                  <a:pt x="220100" y="292471"/>
                </a:lnTo>
                <a:lnTo>
                  <a:pt x="205486" y="293750"/>
                </a:lnTo>
                <a:lnTo>
                  <a:pt x="114566" y="293750"/>
                </a:lnTo>
                <a:lnTo>
                  <a:pt x="107728" y="293248"/>
                </a:lnTo>
                <a:lnTo>
                  <a:pt x="97959" y="288007"/>
                </a:lnTo>
                <a:lnTo>
                  <a:pt x="93852" y="275935"/>
                </a:lnTo>
                <a:lnTo>
                  <a:pt x="93014" y="255638"/>
                </a:lnTo>
                <a:lnTo>
                  <a:pt x="93014" y="157327"/>
                </a:lnTo>
                <a:lnTo>
                  <a:pt x="183959" y="157327"/>
                </a:lnTo>
                <a:lnTo>
                  <a:pt x="196111" y="158269"/>
                </a:lnTo>
                <a:lnTo>
                  <a:pt x="208856" y="162758"/>
                </a:lnTo>
                <a:lnTo>
                  <a:pt x="217578" y="171143"/>
                </a:lnTo>
                <a:lnTo>
                  <a:pt x="222963" y="183638"/>
                </a:lnTo>
                <a:lnTo>
                  <a:pt x="225691" y="200456"/>
                </a:lnTo>
                <a:lnTo>
                  <a:pt x="234276" y="200456"/>
                </a:lnTo>
                <a:lnTo>
                  <a:pt x="234276" y="95199"/>
                </a:lnTo>
                <a:lnTo>
                  <a:pt x="225691" y="95199"/>
                </a:lnTo>
                <a:lnTo>
                  <a:pt x="223826" y="107933"/>
                </a:lnTo>
                <a:lnTo>
                  <a:pt x="219273" y="121643"/>
                </a:lnTo>
                <a:lnTo>
                  <a:pt x="211670" y="131078"/>
                </a:lnTo>
                <a:lnTo>
                  <a:pt x="200178" y="136526"/>
                </a:lnTo>
                <a:lnTo>
                  <a:pt x="183959" y="138277"/>
                </a:lnTo>
                <a:lnTo>
                  <a:pt x="93014" y="138277"/>
                </a:lnTo>
                <a:lnTo>
                  <a:pt x="93014" y="50723"/>
                </a:lnTo>
                <a:lnTo>
                  <a:pt x="93622" y="31657"/>
                </a:lnTo>
                <a:lnTo>
                  <a:pt x="98530" y="21623"/>
                </a:lnTo>
                <a:lnTo>
                  <a:pt x="112407" y="19100"/>
                </a:lnTo>
                <a:lnTo>
                  <a:pt x="195286" y="19103"/>
                </a:lnTo>
                <a:lnTo>
                  <a:pt x="211403" y="20210"/>
                </a:lnTo>
                <a:lnTo>
                  <a:pt x="224822" y="23609"/>
                </a:lnTo>
                <a:lnTo>
                  <a:pt x="235629" y="29719"/>
                </a:lnTo>
                <a:lnTo>
                  <a:pt x="243912" y="38959"/>
                </a:lnTo>
                <a:lnTo>
                  <a:pt x="249756" y="51747"/>
                </a:lnTo>
                <a:lnTo>
                  <a:pt x="253250" y="68503"/>
                </a:lnTo>
                <a:lnTo>
                  <a:pt x="261886" y="68503"/>
                </a:lnTo>
                <a:lnTo>
                  <a:pt x="257987" y="0"/>
                </a:lnTo>
                <a:lnTo>
                  <a:pt x="0" y="0"/>
                </a:lnTo>
                <a:lnTo>
                  <a:pt x="0" y="9016"/>
                </a:lnTo>
                <a:lnTo>
                  <a:pt x="1410" y="9021"/>
                </a:lnTo>
                <a:lnTo>
                  <a:pt x="18919" y="10203"/>
                </a:lnTo>
                <a:lnTo>
                  <a:pt x="31711" y="14202"/>
                </a:lnTo>
                <a:lnTo>
                  <a:pt x="40261" y="22059"/>
                </a:lnTo>
                <a:lnTo>
                  <a:pt x="45044" y="34817"/>
                </a:lnTo>
                <a:lnTo>
                  <a:pt x="46532" y="53517"/>
                </a:lnTo>
                <a:lnTo>
                  <a:pt x="46527" y="260779"/>
                </a:lnTo>
                <a:lnTo>
                  <a:pt x="44838" y="279017"/>
                </a:lnTo>
                <a:lnTo>
                  <a:pt x="39817" y="291402"/>
                </a:lnTo>
                <a:lnTo>
                  <a:pt x="30988" y="298970"/>
                </a:lnTo>
                <a:lnTo>
                  <a:pt x="17874" y="302752"/>
                </a:lnTo>
                <a:lnTo>
                  <a:pt x="0" y="303783"/>
                </a:lnTo>
                <a:lnTo>
                  <a:pt x="0" y="312800"/>
                </a:lnTo>
                <a:lnTo>
                  <a:pt x="264439" y="312800"/>
                </a:lnTo>
                <a:lnTo>
                  <a:pt x="287667"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object 28"/>
          <p:cNvSpPr/>
          <p:nvPr/>
        </p:nvSpPr>
        <p:spPr>
          <a:xfrm>
            <a:off x="7397748" y="273013"/>
            <a:ext cx="192604" cy="219938"/>
          </a:xfrm>
          <a:custGeom>
            <a:avLst/>
            <a:gdLst/>
            <a:ahLst/>
            <a:cxnLst/>
            <a:rect l="l" t="t" r="r" b="b"/>
            <a:pathLst>
              <a:path w="273926" h="312801">
                <a:moveTo>
                  <a:pt x="263626" y="230720"/>
                </a:moveTo>
                <a:lnTo>
                  <a:pt x="254350" y="250108"/>
                </a:lnTo>
                <a:lnTo>
                  <a:pt x="246935" y="261900"/>
                </a:lnTo>
                <a:lnTo>
                  <a:pt x="238716" y="271780"/>
                </a:lnTo>
                <a:lnTo>
                  <a:pt x="229476" y="279784"/>
                </a:lnTo>
                <a:lnTo>
                  <a:pt x="218997" y="285948"/>
                </a:lnTo>
                <a:lnTo>
                  <a:pt x="207064" y="290306"/>
                </a:lnTo>
                <a:lnTo>
                  <a:pt x="193459" y="292895"/>
                </a:lnTo>
                <a:lnTo>
                  <a:pt x="177965" y="293750"/>
                </a:lnTo>
                <a:lnTo>
                  <a:pt x="116319" y="293750"/>
                </a:lnTo>
                <a:lnTo>
                  <a:pt x="103518" y="291860"/>
                </a:lnTo>
                <a:lnTo>
                  <a:pt x="94331" y="284253"/>
                </a:lnTo>
                <a:lnTo>
                  <a:pt x="90713" y="271286"/>
                </a:lnTo>
                <a:lnTo>
                  <a:pt x="90081" y="253466"/>
                </a:lnTo>
                <a:lnTo>
                  <a:pt x="90087" y="52028"/>
                </a:lnTo>
                <a:lnTo>
                  <a:pt x="91780" y="33763"/>
                </a:lnTo>
                <a:lnTo>
                  <a:pt x="96794" y="21372"/>
                </a:lnTo>
                <a:lnTo>
                  <a:pt x="105612" y="13812"/>
                </a:lnTo>
                <a:lnTo>
                  <a:pt x="118716" y="10042"/>
                </a:lnTo>
                <a:lnTo>
                  <a:pt x="136588" y="9016"/>
                </a:lnTo>
                <a:lnTo>
                  <a:pt x="136588" y="0"/>
                </a:lnTo>
                <a:lnTo>
                  <a:pt x="0" y="0"/>
                </a:lnTo>
                <a:lnTo>
                  <a:pt x="0" y="9016"/>
                </a:lnTo>
                <a:lnTo>
                  <a:pt x="14966" y="10511"/>
                </a:lnTo>
                <a:lnTo>
                  <a:pt x="28155" y="14358"/>
                </a:lnTo>
                <a:lnTo>
                  <a:pt x="37006" y="21749"/>
                </a:lnTo>
                <a:lnTo>
                  <a:pt x="41980" y="34041"/>
                </a:lnTo>
                <a:lnTo>
                  <a:pt x="43535" y="52590"/>
                </a:lnTo>
                <a:lnTo>
                  <a:pt x="43535" y="260261"/>
                </a:lnTo>
                <a:lnTo>
                  <a:pt x="42426" y="276421"/>
                </a:lnTo>
                <a:lnTo>
                  <a:pt x="37999" y="289580"/>
                </a:lnTo>
                <a:lnTo>
                  <a:pt x="29760" y="297621"/>
                </a:lnTo>
                <a:lnTo>
                  <a:pt x="17247" y="301903"/>
                </a:lnTo>
                <a:lnTo>
                  <a:pt x="0" y="303783"/>
                </a:lnTo>
                <a:lnTo>
                  <a:pt x="0" y="312800"/>
                </a:lnTo>
                <a:lnTo>
                  <a:pt x="247650" y="312800"/>
                </a:lnTo>
                <a:lnTo>
                  <a:pt x="273926" y="232625"/>
                </a:lnTo>
                <a:lnTo>
                  <a:pt x="263626" y="23072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bject 29"/>
          <p:cNvSpPr/>
          <p:nvPr/>
        </p:nvSpPr>
        <p:spPr>
          <a:xfrm>
            <a:off x="7595780" y="267888"/>
            <a:ext cx="141160" cy="230162"/>
          </a:xfrm>
          <a:custGeom>
            <a:avLst/>
            <a:gdLst/>
            <a:ahLst/>
            <a:cxnLst/>
            <a:rect l="l" t="t" r="r" b="b"/>
            <a:pathLst>
              <a:path w="200761" h="327342">
                <a:moveTo>
                  <a:pt x="10321" y="68942"/>
                </a:moveTo>
                <a:lnTo>
                  <a:pt x="9067" y="84797"/>
                </a:lnTo>
                <a:lnTo>
                  <a:pt x="9094" y="86841"/>
                </a:lnTo>
                <a:lnTo>
                  <a:pt x="10343" y="98306"/>
                </a:lnTo>
                <a:lnTo>
                  <a:pt x="13392" y="108843"/>
                </a:lnTo>
                <a:lnTo>
                  <a:pt x="18155" y="118652"/>
                </a:lnTo>
                <a:lnTo>
                  <a:pt x="24544" y="127932"/>
                </a:lnTo>
                <a:lnTo>
                  <a:pt x="32474" y="136881"/>
                </a:lnTo>
                <a:lnTo>
                  <a:pt x="41858" y="145698"/>
                </a:lnTo>
                <a:lnTo>
                  <a:pt x="52609" y="154583"/>
                </a:lnTo>
                <a:lnTo>
                  <a:pt x="64641" y="163733"/>
                </a:lnTo>
                <a:lnTo>
                  <a:pt x="77867" y="173349"/>
                </a:lnTo>
                <a:lnTo>
                  <a:pt x="92202" y="183629"/>
                </a:lnTo>
                <a:lnTo>
                  <a:pt x="104017" y="192251"/>
                </a:lnTo>
                <a:lnTo>
                  <a:pt x="117107" y="202385"/>
                </a:lnTo>
                <a:lnTo>
                  <a:pt x="128553" y="212154"/>
                </a:lnTo>
                <a:lnTo>
                  <a:pt x="138219" y="221667"/>
                </a:lnTo>
                <a:lnTo>
                  <a:pt x="145972" y="231033"/>
                </a:lnTo>
                <a:lnTo>
                  <a:pt x="151675" y="240363"/>
                </a:lnTo>
                <a:lnTo>
                  <a:pt x="155196" y="249764"/>
                </a:lnTo>
                <a:lnTo>
                  <a:pt x="156400" y="259346"/>
                </a:lnTo>
                <a:lnTo>
                  <a:pt x="154334" y="274067"/>
                </a:lnTo>
                <a:lnTo>
                  <a:pt x="148555" y="286590"/>
                </a:lnTo>
                <a:lnTo>
                  <a:pt x="139643" y="296736"/>
                </a:lnTo>
                <a:lnTo>
                  <a:pt x="128181" y="304271"/>
                </a:lnTo>
                <a:lnTo>
                  <a:pt x="114751" y="308962"/>
                </a:lnTo>
                <a:lnTo>
                  <a:pt x="99936" y="310578"/>
                </a:lnTo>
                <a:lnTo>
                  <a:pt x="89934" y="309904"/>
                </a:lnTo>
                <a:lnTo>
                  <a:pt x="76906" y="306822"/>
                </a:lnTo>
                <a:lnTo>
                  <a:pt x="65028" y="301521"/>
                </a:lnTo>
                <a:lnTo>
                  <a:pt x="54235" y="294302"/>
                </a:lnTo>
                <a:lnTo>
                  <a:pt x="44462" y="285468"/>
                </a:lnTo>
                <a:lnTo>
                  <a:pt x="35645" y="275322"/>
                </a:lnTo>
                <a:lnTo>
                  <a:pt x="27718" y="264166"/>
                </a:lnTo>
                <a:lnTo>
                  <a:pt x="20618" y="252302"/>
                </a:lnTo>
                <a:lnTo>
                  <a:pt x="14278" y="240032"/>
                </a:lnTo>
                <a:lnTo>
                  <a:pt x="8636" y="227660"/>
                </a:lnTo>
                <a:lnTo>
                  <a:pt x="0" y="227660"/>
                </a:lnTo>
                <a:lnTo>
                  <a:pt x="16802" y="324192"/>
                </a:lnTo>
                <a:lnTo>
                  <a:pt x="25463" y="324192"/>
                </a:lnTo>
                <a:lnTo>
                  <a:pt x="26352" y="317449"/>
                </a:lnTo>
                <a:lnTo>
                  <a:pt x="31876" y="314299"/>
                </a:lnTo>
                <a:lnTo>
                  <a:pt x="37096" y="314299"/>
                </a:lnTo>
                <a:lnTo>
                  <a:pt x="41516" y="314915"/>
                </a:lnTo>
                <a:lnTo>
                  <a:pt x="50668" y="317201"/>
                </a:lnTo>
                <a:lnTo>
                  <a:pt x="62825" y="320407"/>
                </a:lnTo>
                <a:lnTo>
                  <a:pt x="77157" y="323713"/>
                </a:lnTo>
                <a:lnTo>
                  <a:pt x="92835" y="326298"/>
                </a:lnTo>
                <a:lnTo>
                  <a:pt x="109029" y="327342"/>
                </a:lnTo>
                <a:lnTo>
                  <a:pt x="109480" y="327341"/>
                </a:lnTo>
                <a:lnTo>
                  <a:pt x="124538" y="326156"/>
                </a:lnTo>
                <a:lnTo>
                  <a:pt x="138729" y="322841"/>
                </a:lnTo>
                <a:lnTo>
                  <a:pt x="151884" y="317559"/>
                </a:lnTo>
                <a:lnTo>
                  <a:pt x="163836" y="310469"/>
                </a:lnTo>
                <a:lnTo>
                  <a:pt x="174413" y="301732"/>
                </a:lnTo>
                <a:lnTo>
                  <a:pt x="183447" y="291509"/>
                </a:lnTo>
                <a:lnTo>
                  <a:pt x="190768" y="279961"/>
                </a:lnTo>
                <a:lnTo>
                  <a:pt x="196207" y="267249"/>
                </a:lnTo>
                <a:lnTo>
                  <a:pt x="199594" y="253534"/>
                </a:lnTo>
                <a:lnTo>
                  <a:pt x="200761" y="238975"/>
                </a:lnTo>
                <a:lnTo>
                  <a:pt x="200208" y="229802"/>
                </a:lnTo>
                <a:lnTo>
                  <a:pt x="197518" y="217185"/>
                </a:lnTo>
                <a:lnTo>
                  <a:pt x="192813" y="205469"/>
                </a:lnTo>
                <a:lnTo>
                  <a:pt x="186339" y="194585"/>
                </a:lnTo>
                <a:lnTo>
                  <a:pt x="178341" y="184463"/>
                </a:lnTo>
                <a:lnTo>
                  <a:pt x="169065" y="175032"/>
                </a:lnTo>
                <a:lnTo>
                  <a:pt x="158755" y="166225"/>
                </a:lnTo>
                <a:lnTo>
                  <a:pt x="147657" y="157969"/>
                </a:lnTo>
                <a:lnTo>
                  <a:pt x="136016" y="150196"/>
                </a:lnTo>
                <a:lnTo>
                  <a:pt x="124079" y="142836"/>
                </a:lnTo>
                <a:lnTo>
                  <a:pt x="114617" y="137112"/>
                </a:lnTo>
                <a:lnTo>
                  <a:pt x="99689" y="127857"/>
                </a:lnTo>
                <a:lnTo>
                  <a:pt x="86381" y="119077"/>
                </a:lnTo>
                <a:lnTo>
                  <a:pt x="74808" y="110584"/>
                </a:lnTo>
                <a:lnTo>
                  <a:pt x="65084" y="102185"/>
                </a:lnTo>
                <a:lnTo>
                  <a:pt x="57322" y="93693"/>
                </a:lnTo>
                <a:lnTo>
                  <a:pt x="51636" y="84916"/>
                </a:lnTo>
                <a:lnTo>
                  <a:pt x="48142" y="75664"/>
                </a:lnTo>
                <a:lnTo>
                  <a:pt x="46951" y="65747"/>
                </a:lnTo>
                <a:lnTo>
                  <a:pt x="47315" y="59506"/>
                </a:lnTo>
                <a:lnTo>
                  <a:pt x="51053" y="45528"/>
                </a:lnTo>
                <a:lnTo>
                  <a:pt x="58334" y="33757"/>
                </a:lnTo>
                <a:lnTo>
                  <a:pt x="68536" y="24710"/>
                </a:lnTo>
                <a:lnTo>
                  <a:pt x="81036" y="18903"/>
                </a:lnTo>
                <a:lnTo>
                  <a:pt x="95211" y="16852"/>
                </a:lnTo>
                <a:lnTo>
                  <a:pt x="95535" y="16853"/>
                </a:lnTo>
                <a:lnTo>
                  <a:pt x="109355" y="18312"/>
                </a:lnTo>
                <a:lnTo>
                  <a:pt x="121957" y="22352"/>
                </a:lnTo>
                <a:lnTo>
                  <a:pt x="133357" y="28658"/>
                </a:lnTo>
                <a:lnTo>
                  <a:pt x="143574" y="36919"/>
                </a:lnTo>
                <a:lnTo>
                  <a:pt x="152623" y="46820"/>
                </a:lnTo>
                <a:lnTo>
                  <a:pt x="160524" y="58051"/>
                </a:lnTo>
                <a:lnTo>
                  <a:pt x="167294" y="70297"/>
                </a:lnTo>
                <a:lnTo>
                  <a:pt x="172949" y="83245"/>
                </a:lnTo>
                <a:lnTo>
                  <a:pt x="177507" y="96583"/>
                </a:lnTo>
                <a:lnTo>
                  <a:pt x="186093" y="96583"/>
                </a:lnTo>
                <a:lnTo>
                  <a:pt x="176225" y="3314"/>
                </a:lnTo>
                <a:lnTo>
                  <a:pt x="167627" y="3314"/>
                </a:lnTo>
                <a:lnTo>
                  <a:pt x="168846" y="10477"/>
                </a:lnTo>
                <a:lnTo>
                  <a:pt x="167627" y="14592"/>
                </a:lnTo>
                <a:lnTo>
                  <a:pt x="158018" y="14521"/>
                </a:lnTo>
                <a:lnTo>
                  <a:pt x="148019" y="12591"/>
                </a:lnTo>
                <a:lnTo>
                  <a:pt x="137982" y="8937"/>
                </a:lnTo>
                <a:lnTo>
                  <a:pt x="126710" y="4796"/>
                </a:lnTo>
                <a:lnTo>
                  <a:pt x="113009" y="1405"/>
                </a:lnTo>
                <a:lnTo>
                  <a:pt x="95681" y="0"/>
                </a:lnTo>
                <a:lnTo>
                  <a:pt x="87648" y="311"/>
                </a:lnTo>
                <a:lnTo>
                  <a:pt x="73426" y="2477"/>
                </a:lnTo>
                <a:lnTo>
                  <a:pt x="60081" y="6636"/>
                </a:lnTo>
                <a:lnTo>
                  <a:pt x="47824" y="12709"/>
                </a:lnTo>
                <a:lnTo>
                  <a:pt x="36869" y="20614"/>
                </a:lnTo>
                <a:lnTo>
                  <a:pt x="27428" y="30271"/>
                </a:lnTo>
                <a:lnTo>
                  <a:pt x="19714" y="41598"/>
                </a:lnTo>
                <a:lnTo>
                  <a:pt x="13941" y="54516"/>
                </a:lnTo>
                <a:lnTo>
                  <a:pt x="10321" y="68942"/>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bject 30"/>
          <p:cNvSpPr/>
          <p:nvPr/>
        </p:nvSpPr>
        <p:spPr>
          <a:xfrm>
            <a:off x="7737814" y="273013"/>
            <a:ext cx="202338" cy="219938"/>
          </a:xfrm>
          <a:custGeom>
            <a:avLst/>
            <a:gdLst/>
            <a:ahLst/>
            <a:cxnLst/>
            <a:rect l="l" t="t" r="r" b="b"/>
            <a:pathLst>
              <a:path w="287769" h="312801">
                <a:moveTo>
                  <a:pt x="279552" y="232981"/>
                </a:moveTo>
                <a:lnTo>
                  <a:pt x="276943" y="240536"/>
                </a:lnTo>
                <a:lnTo>
                  <a:pt x="271058" y="253490"/>
                </a:lnTo>
                <a:lnTo>
                  <a:pt x="263768" y="264984"/>
                </a:lnTo>
                <a:lnTo>
                  <a:pt x="255054" y="274822"/>
                </a:lnTo>
                <a:lnTo>
                  <a:pt x="244894" y="282812"/>
                </a:lnTo>
                <a:lnTo>
                  <a:pt x="233266" y="288760"/>
                </a:lnTo>
                <a:lnTo>
                  <a:pt x="220150" y="292470"/>
                </a:lnTo>
                <a:lnTo>
                  <a:pt x="205524" y="293750"/>
                </a:lnTo>
                <a:lnTo>
                  <a:pt x="114617" y="293750"/>
                </a:lnTo>
                <a:lnTo>
                  <a:pt x="107743" y="293243"/>
                </a:lnTo>
                <a:lnTo>
                  <a:pt x="97971" y="287995"/>
                </a:lnTo>
                <a:lnTo>
                  <a:pt x="93848" y="275924"/>
                </a:lnTo>
                <a:lnTo>
                  <a:pt x="93002" y="255638"/>
                </a:lnTo>
                <a:lnTo>
                  <a:pt x="93002" y="157327"/>
                </a:lnTo>
                <a:lnTo>
                  <a:pt x="183972" y="157327"/>
                </a:lnTo>
                <a:lnTo>
                  <a:pt x="196132" y="158270"/>
                </a:lnTo>
                <a:lnTo>
                  <a:pt x="208870" y="162761"/>
                </a:lnTo>
                <a:lnTo>
                  <a:pt x="217590" y="171146"/>
                </a:lnTo>
                <a:lnTo>
                  <a:pt x="222977" y="183640"/>
                </a:lnTo>
                <a:lnTo>
                  <a:pt x="225717" y="200456"/>
                </a:lnTo>
                <a:lnTo>
                  <a:pt x="234302" y="200456"/>
                </a:lnTo>
                <a:lnTo>
                  <a:pt x="234302" y="95199"/>
                </a:lnTo>
                <a:lnTo>
                  <a:pt x="225717" y="95199"/>
                </a:lnTo>
                <a:lnTo>
                  <a:pt x="223839" y="107942"/>
                </a:lnTo>
                <a:lnTo>
                  <a:pt x="219288" y="121649"/>
                </a:lnTo>
                <a:lnTo>
                  <a:pt x="211694" y="131080"/>
                </a:lnTo>
                <a:lnTo>
                  <a:pt x="200206" y="136526"/>
                </a:lnTo>
                <a:lnTo>
                  <a:pt x="183972" y="138277"/>
                </a:lnTo>
                <a:lnTo>
                  <a:pt x="93002" y="138277"/>
                </a:lnTo>
                <a:lnTo>
                  <a:pt x="93002" y="50723"/>
                </a:lnTo>
                <a:lnTo>
                  <a:pt x="93614" y="31635"/>
                </a:lnTo>
                <a:lnTo>
                  <a:pt x="98538" y="21619"/>
                </a:lnTo>
                <a:lnTo>
                  <a:pt x="112445" y="19100"/>
                </a:lnTo>
                <a:lnTo>
                  <a:pt x="195307" y="19104"/>
                </a:lnTo>
                <a:lnTo>
                  <a:pt x="211444" y="20221"/>
                </a:lnTo>
                <a:lnTo>
                  <a:pt x="224871" y="23628"/>
                </a:lnTo>
                <a:lnTo>
                  <a:pt x="235677" y="29742"/>
                </a:lnTo>
                <a:lnTo>
                  <a:pt x="243952" y="38981"/>
                </a:lnTo>
                <a:lnTo>
                  <a:pt x="249784" y="51762"/>
                </a:lnTo>
                <a:lnTo>
                  <a:pt x="253263" y="68503"/>
                </a:lnTo>
                <a:lnTo>
                  <a:pt x="261861" y="68503"/>
                </a:lnTo>
                <a:lnTo>
                  <a:pt x="258025" y="0"/>
                </a:lnTo>
                <a:lnTo>
                  <a:pt x="0" y="0"/>
                </a:lnTo>
                <a:lnTo>
                  <a:pt x="0" y="9016"/>
                </a:lnTo>
                <a:lnTo>
                  <a:pt x="1382" y="9021"/>
                </a:lnTo>
                <a:lnTo>
                  <a:pt x="18909" y="10200"/>
                </a:lnTo>
                <a:lnTo>
                  <a:pt x="31704" y="14197"/>
                </a:lnTo>
                <a:lnTo>
                  <a:pt x="40248" y="22053"/>
                </a:lnTo>
                <a:lnTo>
                  <a:pt x="45022" y="34812"/>
                </a:lnTo>
                <a:lnTo>
                  <a:pt x="46507" y="53517"/>
                </a:lnTo>
                <a:lnTo>
                  <a:pt x="46501" y="260748"/>
                </a:lnTo>
                <a:lnTo>
                  <a:pt x="44822" y="278999"/>
                </a:lnTo>
                <a:lnTo>
                  <a:pt x="39815" y="291394"/>
                </a:lnTo>
                <a:lnTo>
                  <a:pt x="30996" y="298967"/>
                </a:lnTo>
                <a:lnTo>
                  <a:pt x="17886" y="302752"/>
                </a:lnTo>
                <a:lnTo>
                  <a:pt x="0" y="303783"/>
                </a:lnTo>
                <a:lnTo>
                  <a:pt x="0" y="312800"/>
                </a:lnTo>
                <a:lnTo>
                  <a:pt x="264502" y="312800"/>
                </a:lnTo>
                <a:lnTo>
                  <a:pt x="287769" y="236232"/>
                </a:lnTo>
                <a:lnTo>
                  <a:pt x="279552"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object 31"/>
          <p:cNvSpPr/>
          <p:nvPr/>
        </p:nvSpPr>
        <p:spPr>
          <a:xfrm>
            <a:off x="7923469" y="273014"/>
            <a:ext cx="228341" cy="222528"/>
          </a:xfrm>
          <a:custGeom>
            <a:avLst/>
            <a:gdLst/>
            <a:ahLst/>
            <a:cxnLst/>
            <a:rect l="l" t="t" r="r" b="b"/>
            <a:pathLst>
              <a:path w="324751" h="316484">
                <a:moveTo>
                  <a:pt x="91997" y="24011"/>
                </a:moveTo>
                <a:lnTo>
                  <a:pt x="99871" y="13459"/>
                </a:lnTo>
                <a:lnTo>
                  <a:pt x="114130" y="9572"/>
                </a:lnTo>
                <a:lnTo>
                  <a:pt x="127977" y="9016"/>
                </a:lnTo>
                <a:lnTo>
                  <a:pt x="127977" y="0"/>
                </a:lnTo>
                <a:lnTo>
                  <a:pt x="0" y="0"/>
                </a:lnTo>
                <a:lnTo>
                  <a:pt x="0" y="9016"/>
                </a:lnTo>
                <a:lnTo>
                  <a:pt x="2948" y="9122"/>
                </a:lnTo>
                <a:lnTo>
                  <a:pt x="15857" y="12204"/>
                </a:lnTo>
                <a:lnTo>
                  <a:pt x="26953" y="19165"/>
                </a:lnTo>
                <a:lnTo>
                  <a:pt x="35356" y="29476"/>
                </a:lnTo>
                <a:lnTo>
                  <a:pt x="42551" y="42746"/>
                </a:lnTo>
                <a:lnTo>
                  <a:pt x="48256" y="54127"/>
                </a:lnTo>
                <a:lnTo>
                  <a:pt x="53680" y="65620"/>
                </a:lnTo>
                <a:lnTo>
                  <a:pt x="58887" y="77198"/>
                </a:lnTo>
                <a:lnTo>
                  <a:pt x="63944" y="88835"/>
                </a:lnTo>
                <a:lnTo>
                  <a:pt x="68916" y="100505"/>
                </a:lnTo>
                <a:lnTo>
                  <a:pt x="73868" y="112181"/>
                </a:lnTo>
                <a:lnTo>
                  <a:pt x="78866" y="123837"/>
                </a:lnTo>
                <a:lnTo>
                  <a:pt x="161975" y="316483"/>
                </a:lnTo>
                <a:lnTo>
                  <a:pt x="168401" y="316483"/>
                </a:lnTo>
                <a:lnTo>
                  <a:pt x="268338" y="86550"/>
                </a:lnTo>
                <a:lnTo>
                  <a:pt x="270549" y="81247"/>
                </a:lnTo>
                <a:lnTo>
                  <a:pt x="275260" y="69665"/>
                </a:lnTo>
                <a:lnTo>
                  <a:pt x="280885" y="56348"/>
                </a:lnTo>
                <a:lnTo>
                  <a:pt x="287239" y="42690"/>
                </a:lnTo>
                <a:lnTo>
                  <a:pt x="294141" y="30083"/>
                </a:lnTo>
                <a:lnTo>
                  <a:pt x="301406" y="19918"/>
                </a:lnTo>
                <a:lnTo>
                  <a:pt x="308851" y="13588"/>
                </a:lnTo>
                <a:lnTo>
                  <a:pt x="314007" y="10883"/>
                </a:lnTo>
                <a:lnTo>
                  <a:pt x="319557" y="10020"/>
                </a:lnTo>
                <a:lnTo>
                  <a:pt x="324751" y="9016"/>
                </a:lnTo>
                <a:lnTo>
                  <a:pt x="324751" y="0"/>
                </a:lnTo>
                <a:lnTo>
                  <a:pt x="233476" y="0"/>
                </a:lnTo>
                <a:lnTo>
                  <a:pt x="233476" y="9016"/>
                </a:lnTo>
                <a:lnTo>
                  <a:pt x="250754" y="11440"/>
                </a:lnTo>
                <a:lnTo>
                  <a:pt x="262460" y="16957"/>
                </a:lnTo>
                <a:lnTo>
                  <a:pt x="266280" y="25387"/>
                </a:lnTo>
                <a:lnTo>
                  <a:pt x="266156" y="28939"/>
                </a:lnTo>
                <a:lnTo>
                  <a:pt x="264646" y="38693"/>
                </a:lnTo>
                <a:lnTo>
                  <a:pt x="260974" y="51036"/>
                </a:lnTo>
                <a:lnTo>
                  <a:pt x="254584" y="67132"/>
                </a:lnTo>
                <a:lnTo>
                  <a:pt x="179616" y="241617"/>
                </a:lnTo>
                <a:lnTo>
                  <a:pt x="117182" y="92976"/>
                </a:lnTo>
                <a:lnTo>
                  <a:pt x="113376" y="83986"/>
                </a:lnTo>
                <a:lnTo>
                  <a:pt x="106936" y="68608"/>
                </a:lnTo>
                <a:lnTo>
                  <a:pt x="101056" y="54194"/>
                </a:lnTo>
                <a:lnTo>
                  <a:pt x="96237" y="41751"/>
                </a:lnTo>
                <a:lnTo>
                  <a:pt x="92979" y="32283"/>
                </a:lnTo>
                <a:lnTo>
                  <a:pt x="91782" y="26796"/>
                </a:lnTo>
                <a:lnTo>
                  <a:pt x="91997" y="2401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object 32"/>
          <p:cNvSpPr/>
          <p:nvPr/>
        </p:nvSpPr>
        <p:spPr>
          <a:xfrm>
            <a:off x="8153924" y="273013"/>
            <a:ext cx="98146" cy="219938"/>
          </a:xfrm>
          <a:custGeom>
            <a:avLst/>
            <a:gdLst/>
            <a:ahLst/>
            <a:cxnLst/>
            <a:rect l="l" t="t" r="r" b="b"/>
            <a:pathLst>
              <a:path w="139585" h="312801">
                <a:moveTo>
                  <a:pt x="46570" y="259397"/>
                </a:moveTo>
                <a:lnTo>
                  <a:pt x="44869" y="279043"/>
                </a:lnTo>
                <a:lnTo>
                  <a:pt x="39840" y="291415"/>
                </a:lnTo>
                <a:lnTo>
                  <a:pt x="31003" y="298975"/>
                </a:lnTo>
                <a:lnTo>
                  <a:pt x="17881" y="302753"/>
                </a:lnTo>
                <a:lnTo>
                  <a:pt x="0" y="303783"/>
                </a:lnTo>
                <a:lnTo>
                  <a:pt x="0" y="312800"/>
                </a:lnTo>
                <a:lnTo>
                  <a:pt x="139585" y="312800"/>
                </a:lnTo>
                <a:lnTo>
                  <a:pt x="139585" y="303783"/>
                </a:lnTo>
                <a:lnTo>
                  <a:pt x="138180" y="303779"/>
                </a:lnTo>
                <a:lnTo>
                  <a:pt x="120634" y="302594"/>
                </a:lnTo>
                <a:lnTo>
                  <a:pt x="107812" y="298593"/>
                </a:lnTo>
                <a:lnTo>
                  <a:pt x="99240" y="290746"/>
                </a:lnTo>
                <a:lnTo>
                  <a:pt x="94444" y="278024"/>
                </a:lnTo>
                <a:lnTo>
                  <a:pt x="92951" y="259397"/>
                </a:lnTo>
                <a:lnTo>
                  <a:pt x="92959" y="51875"/>
                </a:lnTo>
                <a:lnTo>
                  <a:pt x="94681" y="33676"/>
                </a:lnTo>
                <a:lnTo>
                  <a:pt x="99733" y="21330"/>
                </a:lnTo>
                <a:lnTo>
                  <a:pt x="108586" y="13797"/>
                </a:lnTo>
                <a:lnTo>
                  <a:pt x="121713" y="10038"/>
                </a:lnTo>
                <a:lnTo>
                  <a:pt x="139585" y="9016"/>
                </a:lnTo>
                <a:lnTo>
                  <a:pt x="139585" y="0"/>
                </a:lnTo>
                <a:lnTo>
                  <a:pt x="0" y="0"/>
                </a:lnTo>
                <a:lnTo>
                  <a:pt x="0" y="9016"/>
                </a:lnTo>
                <a:lnTo>
                  <a:pt x="1454" y="9021"/>
                </a:lnTo>
                <a:lnTo>
                  <a:pt x="18959" y="10207"/>
                </a:lnTo>
                <a:lnTo>
                  <a:pt x="31749" y="14209"/>
                </a:lnTo>
                <a:lnTo>
                  <a:pt x="40299" y="22068"/>
                </a:lnTo>
                <a:lnTo>
                  <a:pt x="45081" y="34823"/>
                </a:lnTo>
                <a:lnTo>
                  <a:pt x="46570" y="53517"/>
                </a:lnTo>
                <a:lnTo>
                  <a:pt x="46570" y="25939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bject 33"/>
          <p:cNvSpPr/>
          <p:nvPr/>
        </p:nvSpPr>
        <p:spPr>
          <a:xfrm>
            <a:off x="8265583" y="273013"/>
            <a:ext cx="202319" cy="219938"/>
          </a:xfrm>
          <a:custGeom>
            <a:avLst/>
            <a:gdLst/>
            <a:ahLst/>
            <a:cxnLst/>
            <a:rect l="l" t="t" r="r" b="b"/>
            <a:pathLst>
              <a:path w="287743" h="312801">
                <a:moveTo>
                  <a:pt x="279527" y="232981"/>
                </a:moveTo>
                <a:lnTo>
                  <a:pt x="276917" y="240565"/>
                </a:lnTo>
                <a:lnTo>
                  <a:pt x="271048" y="253513"/>
                </a:lnTo>
                <a:lnTo>
                  <a:pt x="263772" y="265000"/>
                </a:lnTo>
                <a:lnTo>
                  <a:pt x="255065" y="274833"/>
                </a:lnTo>
                <a:lnTo>
                  <a:pt x="244903" y="282819"/>
                </a:lnTo>
                <a:lnTo>
                  <a:pt x="233264" y="288763"/>
                </a:lnTo>
                <a:lnTo>
                  <a:pt x="220124" y="292471"/>
                </a:lnTo>
                <a:lnTo>
                  <a:pt x="205460" y="293750"/>
                </a:lnTo>
                <a:lnTo>
                  <a:pt x="114579" y="293750"/>
                </a:lnTo>
                <a:lnTo>
                  <a:pt x="107757" y="293250"/>
                </a:lnTo>
                <a:lnTo>
                  <a:pt x="97991" y="288011"/>
                </a:lnTo>
                <a:lnTo>
                  <a:pt x="93888" y="275940"/>
                </a:lnTo>
                <a:lnTo>
                  <a:pt x="93052" y="255638"/>
                </a:lnTo>
                <a:lnTo>
                  <a:pt x="93052" y="157327"/>
                </a:lnTo>
                <a:lnTo>
                  <a:pt x="183908" y="157327"/>
                </a:lnTo>
                <a:lnTo>
                  <a:pt x="196122" y="158276"/>
                </a:lnTo>
                <a:lnTo>
                  <a:pt x="208868" y="162773"/>
                </a:lnTo>
                <a:lnTo>
                  <a:pt x="217594" y="171159"/>
                </a:lnTo>
                <a:lnTo>
                  <a:pt x="222980" y="183649"/>
                </a:lnTo>
                <a:lnTo>
                  <a:pt x="225704" y="200456"/>
                </a:lnTo>
                <a:lnTo>
                  <a:pt x="234340" y="200456"/>
                </a:lnTo>
                <a:lnTo>
                  <a:pt x="234340" y="95199"/>
                </a:lnTo>
                <a:lnTo>
                  <a:pt x="225704" y="95199"/>
                </a:lnTo>
                <a:lnTo>
                  <a:pt x="223860" y="107980"/>
                </a:lnTo>
                <a:lnTo>
                  <a:pt x="219304" y="121669"/>
                </a:lnTo>
                <a:lnTo>
                  <a:pt x="211672" y="131089"/>
                </a:lnTo>
                <a:lnTo>
                  <a:pt x="200145" y="136528"/>
                </a:lnTo>
                <a:lnTo>
                  <a:pt x="183908" y="138277"/>
                </a:lnTo>
                <a:lnTo>
                  <a:pt x="93052" y="138277"/>
                </a:lnTo>
                <a:lnTo>
                  <a:pt x="93052" y="50723"/>
                </a:lnTo>
                <a:lnTo>
                  <a:pt x="93667" y="31624"/>
                </a:lnTo>
                <a:lnTo>
                  <a:pt x="98599" y="21617"/>
                </a:lnTo>
                <a:lnTo>
                  <a:pt x="112522" y="19100"/>
                </a:lnTo>
                <a:lnTo>
                  <a:pt x="195377" y="19104"/>
                </a:lnTo>
                <a:lnTo>
                  <a:pt x="211528" y="20228"/>
                </a:lnTo>
                <a:lnTo>
                  <a:pt x="224950" y="23640"/>
                </a:lnTo>
                <a:lnTo>
                  <a:pt x="235741" y="29756"/>
                </a:lnTo>
                <a:lnTo>
                  <a:pt x="244002" y="38995"/>
                </a:lnTo>
                <a:lnTo>
                  <a:pt x="249831" y="51771"/>
                </a:lnTo>
                <a:lnTo>
                  <a:pt x="253326" y="68503"/>
                </a:lnTo>
                <a:lnTo>
                  <a:pt x="261861" y="68503"/>
                </a:lnTo>
                <a:lnTo>
                  <a:pt x="258025" y="0"/>
                </a:lnTo>
                <a:lnTo>
                  <a:pt x="0" y="0"/>
                </a:lnTo>
                <a:lnTo>
                  <a:pt x="0" y="9016"/>
                </a:lnTo>
                <a:lnTo>
                  <a:pt x="1385" y="9021"/>
                </a:lnTo>
                <a:lnTo>
                  <a:pt x="18934" y="10200"/>
                </a:lnTo>
                <a:lnTo>
                  <a:pt x="31731" y="14197"/>
                </a:lnTo>
                <a:lnTo>
                  <a:pt x="40266" y="22053"/>
                </a:lnTo>
                <a:lnTo>
                  <a:pt x="45028" y="34812"/>
                </a:lnTo>
                <a:lnTo>
                  <a:pt x="46507" y="53517"/>
                </a:lnTo>
                <a:lnTo>
                  <a:pt x="46501" y="260748"/>
                </a:lnTo>
                <a:lnTo>
                  <a:pt x="44829" y="278999"/>
                </a:lnTo>
                <a:lnTo>
                  <a:pt x="39833" y="291394"/>
                </a:lnTo>
                <a:lnTo>
                  <a:pt x="31024" y="298967"/>
                </a:lnTo>
                <a:lnTo>
                  <a:pt x="17910" y="302752"/>
                </a:lnTo>
                <a:lnTo>
                  <a:pt x="0" y="303783"/>
                </a:lnTo>
                <a:lnTo>
                  <a:pt x="0" y="312800"/>
                </a:lnTo>
                <a:lnTo>
                  <a:pt x="264439" y="312800"/>
                </a:lnTo>
                <a:lnTo>
                  <a:pt x="287743"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34"/>
          <p:cNvSpPr/>
          <p:nvPr/>
        </p:nvSpPr>
        <p:spPr>
          <a:xfrm>
            <a:off x="8467537" y="273015"/>
            <a:ext cx="221045" cy="219938"/>
          </a:xfrm>
          <a:custGeom>
            <a:avLst/>
            <a:gdLst/>
            <a:ahLst/>
            <a:cxnLst/>
            <a:rect l="l" t="t" r="r" b="b"/>
            <a:pathLst>
              <a:path w="314375" h="312801">
                <a:moveTo>
                  <a:pt x="314375" y="303783"/>
                </a:moveTo>
                <a:lnTo>
                  <a:pt x="300670" y="299079"/>
                </a:lnTo>
                <a:lnTo>
                  <a:pt x="290550" y="293294"/>
                </a:lnTo>
                <a:lnTo>
                  <a:pt x="281779" y="285095"/>
                </a:lnTo>
                <a:lnTo>
                  <a:pt x="276504" y="278803"/>
                </a:lnTo>
                <a:lnTo>
                  <a:pt x="181749" y="161886"/>
                </a:lnTo>
                <a:lnTo>
                  <a:pt x="196480" y="158116"/>
                </a:lnTo>
                <a:lnTo>
                  <a:pt x="210046" y="153248"/>
                </a:lnTo>
                <a:lnTo>
                  <a:pt x="222306" y="147169"/>
                </a:lnTo>
                <a:lnTo>
                  <a:pt x="233118" y="139769"/>
                </a:lnTo>
                <a:lnTo>
                  <a:pt x="242342" y="130933"/>
                </a:lnTo>
                <a:lnTo>
                  <a:pt x="249835" y="120551"/>
                </a:lnTo>
                <a:lnTo>
                  <a:pt x="255456" y="108509"/>
                </a:lnTo>
                <a:lnTo>
                  <a:pt x="259064" y="94696"/>
                </a:lnTo>
                <a:lnTo>
                  <a:pt x="260517" y="78998"/>
                </a:lnTo>
                <a:lnTo>
                  <a:pt x="260540" y="76606"/>
                </a:lnTo>
                <a:lnTo>
                  <a:pt x="259020" y="58622"/>
                </a:lnTo>
                <a:lnTo>
                  <a:pt x="254681" y="43691"/>
                </a:lnTo>
                <a:lnTo>
                  <a:pt x="247856" y="31531"/>
                </a:lnTo>
                <a:lnTo>
                  <a:pt x="238877" y="21857"/>
                </a:lnTo>
                <a:lnTo>
                  <a:pt x="228075" y="14388"/>
                </a:lnTo>
                <a:lnTo>
                  <a:pt x="215784" y="8840"/>
                </a:lnTo>
                <a:lnTo>
                  <a:pt x="202336" y="4930"/>
                </a:lnTo>
                <a:lnTo>
                  <a:pt x="188062" y="2374"/>
                </a:lnTo>
                <a:lnTo>
                  <a:pt x="173296" y="890"/>
                </a:lnTo>
                <a:lnTo>
                  <a:pt x="158369" y="193"/>
                </a:lnTo>
                <a:lnTo>
                  <a:pt x="143614" y="2"/>
                </a:lnTo>
                <a:lnTo>
                  <a:pt x="0" y="0"/>
                </a:lnTo>
                <a:lnTo>
                  <a:pt x="0" y="9016"/>
                </a:lnTo>
                <a:lnTo>
                  <a:pt x="17847" y="10042"/>
                </a:lnTo>
                <a:lnTo>
                  <a:pt x="30948" y="13812"/>
                </a:lnTo>
                <a:lnTo>
                  <a:pt x="39774" y="21372"/>
                </a:lnTo>
                <a:lnTo>
                  <a:pt x="44801" y="33763"/>
                </a:lnTo>
                <a:lnTo>
                  <a:pt x="103533" y="18338"/>
                </a:lnTo>
                <a:lnTo>
                  <a:pt x="121766" y="16832"/>
                </a:lnTo>
                <a:lnTo>
                  <a:pt x="126542" y="16814"/>
                </a:lnTo>
                <a:lnTo>
                  <a:pt x="141816" y="17509"/>
                </a:lnTo>
                <a:lnTo>
                  <a:pt x="156370" y="19742"/>
                </a:lnTo>
                <a:lnTo>
                  <a:pt x="169834" y="23743"/>
                </a:lnTo>
                <a:lnTo>
                  <a:pt x="181839" y="29736"/>
                </a:lnTo>
                <a:lnTo>
                  <a:pt x="192017" y="37950"/>
                </a:lnTo>
                <a:lnTo>
                  <a:pt x="199998" y="48611"/>
                </a:lnTo>
                <a:lnTo>
                  <a:pt x="205414" y="61946"/>
                </a:lnTo>
                <a:lnTo>
                  <a:pt x="207894" y="78182"/>
                </a:lnTo>
                <a:lnTo>
                  <a:pt x="208013" y="83007"/>
                </a:lnTo>
                <a:lnTo>
                  <a:pt x="206455" y="99861"/>
                </a:lnTo>
                <a:lnTo>
                  <a:pt x="202008" y="114037"/>
                </a:lnTo>
                <a:lnTo>
                  <a:pt x="195011" y="125725"/>
                </a:lnTo>
                <a:lnTo>
                  <a:pt x="185804" y="135111"/>
                </a:lnTo>
                <a:lnTo>
                  <a:pt x="174724" y="142386"/>
                </a:lnTo>
                <a:lnTo>
                  <a:pt x="162113" y="147737"/>
                </a:lnTo>
                <a:lnTo>
                  <a:pt x="148307" y="151354"/>
                </a:lnTo>
                <a:lnTo>
                  <a:pt x="133648" y="153423"/>
                </a:lnTo>
                <a:lnTo>
                  <a:pt x="132219" y="173189"/>
                </a:lnTo>
                <a:lnTo>
                  <a:pt x="244652" y="312800"/>
                </a:lnTo>
                <a:lnTo>
                  <a:pt x="314375" y="312800"/>
                </a:lnTo>
                <a:lnTo>
                  <a:pt x="314375" y="303783"/>
                </a:lnTo>
                <a:close/>
              </a:path>
              <a:path w="314375" h="312801">
                <a:moveTo>
                  <a:pt x="139547" y="312800"/>
                </a:moveTo>
                <a:lnTo>
                  <a:pt x="139547" y="303783"/>
                </a:lnTo>
                <a:lnTo>
                  <a:pt x="121667" y="302754"/>
                </a:lnTo>
                <a:lnTo>
                  <a:pt x="108541" y="298978"/>
                </a:lnTo>
                <a:lnTo>
                  <a:pt x="99696" y="291423"/>
                </a:lnTo>
                <a:lnTo>
                  <a:pt x="94659" y="279060"/>
                </a:lnTo>
                <a:lnTo>
                  <a:pt x="92957" y="260855"/>
                </a:lnTo>
                <a:lnTo>
                  <a:pt x="92951" y="173189"/>
                </a:lnTo>
                <a:lnTo>
                  <a:pt x="132219" y="173189"/>
                </a:lnTo>
                <a:lnTo>
                  <a:pt x="133648" y="153423"/>
                </a:lnTo>
                <a:lnTo>
                  <a:pt x="118474" y="154135"/>
                </a:lnTo>
                <a:lnTo>
                  <a:pt x="92951" y="154139"/>
                </a:lnTo>
                <a:lnTo>
                  <a:pt x="92951" y="39408"/>
                </a:lnTo>
                <a:lnTo>
                  <a:pt x="95040" y="24720"/>
                </a:lnTo>
                <a:lnTo>
                  <a:pt x="103533" y="18338"/>
                </a:lnTo>
                <a:lnTo>
                  <a:pt x="44801" y="33763"/>
                </a:lnTo>
                <a:lnTo>
                  <a:pt x="46500" y="52028"/>
                </a:lnTo>
                <a:lnTo>
                  <a:pt x="46507" y="259397"/>
                </a:lnTo>
                <a:lnTo>
                  <a:pt x="45014" y="278046"/>
                </a:lnTo>
                <a:lnTo>
                  <a:pt x="40217" y="290775"/>
                </a:lnTo>
                <a:lnTo>
                  <a:pt x="31643" y="298617"/>
                </a:lnTo>
                <a:lnTo>
                  <a:pt x="18814" y="302607"/>
                </a:lnTo>
                <a:lnTo>
                  <a:pt x="1257" y="303780"/>
                </a:lnTo>
                <a:lnTo>
                  <a:pt x="0" y="303783"/>
                </a:lnTo>
                <a:lnTo>
                  <a:pt x="0" y="312800"/>
                </a:lnTo>
                <a:lnTo>
                  <a:pt x="139547" y="3128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5"/>
          <p:cNvSpPr/>
          <p:nvPr/>
        </p:nvSpPr>
        <p:spPr>
          <a:xfrm>
            <a:off x="473271" y="314717"/>
            <a:ext cx="137392" cy="172914"/>
          </a:xfrm>
          <a:custGeom>
            <a:avLst/>
            <a:gdLst/>
            <a:ahLst/>
            <a:cxnLst/>
            <a:rect l="l" t="t" r="r" b="b"/>
            <a:pathLst>
              <a:path w="195402" h="245922">
                <a:moveTo>
                  <a:pt x="35286" y="117306"/>
                </a:moveTo>
                <a:lnTo>
                  <a:pt x="36531" y="103026"/>
                </a:lnTo>
                <a:lnTo>
                  <a:pt x="39488" y="89346"/>
                </a:lnTo>
                <a:lnTo>
                  <a:pt x="44162" y="76478"/>
                </a:lnTo>
                <a:lnTo>
                  <a:pt x="50557" y="64635"/>
                </a:lnTo>
                <a:lnTo>
                  <a:pt x="58677" y="54030"/>
                </a:lnTo>
                <a:lnTo>
                  <a:pt x="68527" y="44876"/>
                </a:lnTo>
                <a:lnTo>
                  <a:pt x="80111" y="37385"/>
                </a:lnTo>
                <a:lnTo>
                  <a:pt x="93434" y="31772"/>
                </a:lnTo>
                <a:lnTo>
                  <a:pt x="108499" y="28247"/>
                </a:lnTo>
                <a:lnTo>
                  <a:pt x="125310" y="27025"/>
                </a:lnTo>
                <a:lnTo>
                  <a:pt x="131111" y="27142"/>
                </a:lnTo>
                <a:lnTo>
                  <a:pt x="143066" y="28077"/>
                </a:lnTo>
                <a:lnTo>
                  <a:pt x="155696" y="30052"/>
                </a:lnTo>
                <a:lnTo>
                  <a:pt x="168583" y="33191"/>
                </a:lnTo>
                <a:lnTo>
                  <a:pt x="181306" y="37623"/>
                </a:lnTo>
                <a:lnTo>
                  <a:pt x="193446" y="43472"/>
                </a:lnTo>
                <a:lnTo>
                  <a:pt x="195402" y="13715"/>
                </a:lnTo>
                <a:lnTo>
                  <a:pt x="184701" y="9126"/>
                </a:lnTo>
                <a:lnTo>
                  <a:pt x="173914" y="5608"/>
                </a:lnTo>
                <a:lnTo>
                  <a:pt x="161366" y="2704"/>
                </a:lnTo>
                <a:lnTo>
                  <a:pt x="147006" y="728"/>
                </a:lnTo>
                <a:lnTo>
                  <a:pt x="130784" y="0"/>
                </a:lnTo>
                <a:lnTo>
                  <a:pt x="126835" y="40"/>
                </a:lnTo>
                <a:lnTo>
                  <a:pt x="109616" y="1232"/>
                </a:lnTo>
                <a:lnTo>
                  <a:pt x="93617" y="4001"/>
                </a:lnTo>
                <a:lnTo>
                  <a:pt x="78846" y="8249"/>
                </a:lnTo>
                <a:lnTo>
                  <a:pt x="65312" y="13877"/>
                </a:lnTo>
                <a:lnTo>
                  <a:pt x="53024" y="20789"/>
                </a:lnTo>
                <a:lnTo>
                  <a:pt x="41992" y="28885"/>
                </a:lnTo>
                <a:lnTo>
                  <a:pt x="32223" y="38067"/>
                </a:lnTo>
                <a:lnTo>
                  <a:pt x="23728" y="48238"/>
                </a:lnTo>
                <a:lnTo>
                  <a:pt x="16515" y="59300"/>
                </a:lnTo>
                <a:lnTo>
                  <a:pt x="10594" y="71155"/>
                </a:lnTo>
                <a:lnTo>
                  <a:pt x="5972" y="83703"/>
                </a:lnTo>
                <a:lnTo>
                  <a:pt x="2660" y="96848"/>
                </a:lnTo>
                <a:lnTo>
                  <a:pt x="666" y="110492"/>
                </a:lnTo>
                <a:lnTo>
                  <a:pt x="0" y="124536"/>
                </a:lnTo>
                <a:lnTo>
                  <a:pt x="630" y="138065"/>
                </a:lnTo>
                <a:lnTo>
                  <a:pt x="3013" y="153464"/>
                </a:lnTo>
                <a:lnTo>
                  <a:pt x="7057" y="167764"/>
                </a:lnTo>
                <a:lnTo>
                  <a:pt x="12644" y="180943"/>
                </a:lnTo>
                <a:lnTo>
                  <a:pt x="19651" y="192976"/>
                </a:lnTo>
                <a:lnTo>
                  <a:pt x="27960" y="203841"/>
                </a:lnTo>
                <a:lnTo>
                  <a:pt x="37450" y="213514"/>
                </a:lnTo>
                <a:lnTo>
                  <a:pt x="48001" y="221973"/>
                </a:lnTo>
                <a:lnTo>
                  <a:pt x="59494" y="229194"/>
                </a:lnTo>
                <a:lnTo>
                  <a:pt x="71808" y="235155"/>
                </a:lnTo>
                <a:lnTo>
                  <a:pt x="84822" y="239831"/>
                </a:lnTo>
                <a:lnTo>
                  <a:pt x="98418" y="243199"/>
                </a:lnTo>
                <a:lnTo>
                  <a:pt x="112475" y="245238"/>
                </a:lnTo>
                <a:lnTo>
                  <a:pt x="126872" y="245922"/>
                </a:lnTo>
                <a:lnTo>
                  <a:pt x="132177" y="245840"/>
                </a:lnTo>
                <a:lnTo>
                  <a:pt x="144006" y="245133"/>
                </a:lnTo>
                <a:lnTo>
                  <a:pt x="156948" y="243572"/>
                </a:lnTo>
                <a:lnTo>
                  <a:pt x="170298" y="241002"/>
                </a:lnTo>
                <a:lnTo>
                  <a:pt x="183352" y="237269"/>
                </a:lnTo>
                <a:lnTo>
                  <a:pt x="195402" y="232219"/>
                </a:lnTo>
                <a:lnTo>
                  <a:pt x="193446" y="202056"/>
                </a:lnTo>
                <a:lnTo>
                  <a:pt x="188941" y="204345"/>
                </a:lnTo>
                <a:lnTo>
                  <a:pt x="175560" y="209939"/>
                </a:lnTo>
                <a:lnTo>
                  <a:pt x="162324" y="213968"/>
                </a:lnTo>
                <a:lnTo>
                  <a:pt x="149651" y="216618"/>
                </a:lnTo>
                <a:lnTo>
                  <a:pt x="137958" y="218072"/>
                </a:lnTo>
                <a:lnTo>
                  <a:pt x="127660" y="218516"/>
                </a:lnTo>
                <a:lnTo>
                  <a:pt x="118573" y="218118"/>
                </a:lnTo>
                <a:lnTo>
                  <a:pt x="104205" y="215746"/>
                </a:lnTo>
                <a:lnTo>
                  <a:pt x="90889" y="211362"/>
                </a:lnTo>
                <a:lnTo>
                  <a:pt x="78733" y="205105"/>
                </a:lnTo>
                <a:lnTo>
                  <a:pt x="67845" y="197115"/>
                </a:lnTo>
                <a:lnTo>
                  <a:pt x="58335" y="187532"/>
                </a:lnTo>
                <a:lnTo>
                  <a:pt x="50311" y="176496"/>
                </a:lnTo>
                <a:lnTo>
                  <a:pt x="43881" y="164147"/>
                </a:lnTo>
                <a:lnTo>
                  <a:pt x="39154" y="150626"/>
                </a:lnTo>
                <a:lnTo>
                  <a:pt x="36238" y="136071"/>
                </a:lnTo>
                <a:lnTo>
                  <a:pt x="35242" y="120624"/>
                </a:lnTo>
                <a:lnTo>
                  <a:pt x="35286" y="11730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object 26"/>
          <p:cNvSpPr/>
          <p:nvPr/>
        </p:nvSpPr>
        <p:spPr>
          <a:xfrm>
            <a:off x="629089"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1"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5" y="-88506"/>
                </a:lnTo>
                <a:lnTo>
                  <a:pt x="136270"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601" y="-65859"/>
                </a:lnTo>
                <a:lnTo>
                  <a:pt x="85750" y="-67360"/>
                </a:lnTo>
                <a:lnTo>
                  <a:pt x="93254" y="-66844"/>
                </a:lnTo>
                <a:lnTo>
                  <a:pt x="105137" y="-63160"/>
                </a:lnTo>
                <a:lnTo>
                  <a:pt x="114522" y="-55803"/>
                </a:lnTo>
                <a:lnTo>
                  <a:pt x="121328" y="-44622"/>
                </a:lnTo>
                <a:lnTo>
                  <a:pt x="125473" y="-29466"/>
                </a:lnTo>
                <a:lnTo>
                  <a:pt x="126872" y="-10185"/>
                </a:lnTo>
                <a:lnTo>
                  <a:pt x="126872"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3"/>
          <p:cNvSpPr/>
          <p:nvPr/>
        </p:nvSpPr>
        <p:spPr>
          <a:xfrm>
            <a:off x="775818" y="356571"/>
            <a:ext cx="75992" cy="127756"/>
          </a:xfrm>
          <a:custGeom>
            <a:avLst/>
            <a:gdLst/>
            <a:ahLst/>
            <a:cxnLst/>
            <a:rect l="l" t="t" r="r" b="b"/>
            <a:pathLst>
              <a:path w="108077" h="181698">
                <a:moveTo>
                  <a:pt x="83400" y="39560"/>
                </a:moveTo>
                <a:lnTo>
                  <a:pt x="108077" y="32499"/>
                </a:lnTo>
                <a:lnTo>
                  <a:pt x="107683" y="28587"/>
                </a:lnTo>
                <a:lnTo>
                  <a:pt x="107289" y="25844"/>
                </a:lnTo>
                <a:lnTo>
                  <a:pt x="106000" y="20626"/>
                </a:lnTo>
                <a:lnTo>
                  <a:pt x="99644" y="9293"/>
                </a:lnTo>
                <a:lnTo>
                  <a:pt x="88841" y="2355"/>
                </a:lnTo>
                <a:lnTo>
                  <a:pt x="73228" y="0"/>
                </a:lnTo>
                <a:lnTo>
                  <a:pt x="72122" y="19"/>
                </a:lnTo>
                <a:lnTo>
                  <a:pt x="58986" y="3260"/>
                </a:lnTo>
                <a:lnTo>
                  <a:pt x="47814" y="10886"/>
                </a:lnTo>
                <a:lnTo>
                  <a:pt x="38989" y="21199"/>
                </a:lnTo>
                <a:lnTo>
                  <a:pt x="32893" y="32499"/>
                </a:lnTo>
                <a:lnTo>
                  <a:pt x="27800" y="4305"/>
                </a:lnTo>
                <a:lnTo>
                  <a:pt x="0" y="4305"/>
                </a:lnTo>
                <a:lnTo>
                  <a:pt x="1562" y="18414"/>
                </a:lnTo>
                <a:lnTo>
                  <a:pt x="2339" y="26086"/>
                </a:lnTo>
                <a:lnTo>
                  <a:pt x="2957" y="38564"/>
                </a:lnTo>
                <a:lnTo>
                  <a:pt x="3136" y="52870"/>
                </a:lnTo>
                <a:lnTo>
                  <a:pt x="3136" y="181698"/>
                </a:lnTo>
                <a:lnTo>
                  <a:pt x="33286" y="181698"/>
                </a:lnTo>
                <a:lnTo>
                  <a:pt x="33286" y="68922"/>
                </a:lnTo>
                <a:lnTo>
                  <a:pt x="35886" y="62885"/>
                </a:lnTo>
                <a:lnTo>
                  <a:pt x="42221" y="50341"/>
                </a:lnTo>
                <a:lnTo>
                  <a:pt x="50365" y="38075"/>
                </a:lnTo>
                <a:lnTo>
                  <a:pt x="60017" y="28756"/>
                </a:lnTo>
                <a:lnTo>
                  <a:pt x="70878" y="25057"/>
                </a:lnTo>
                <a:lnTo>
                  <a:pt x="82232" y="25057"/>
                </a:lnTo>
                <a:lnTo>
                  <a:pt x="83400" y="36804"/>
                </a:lnTo>
                <a:lnTo>
                  <a:pt x="83400" y="3956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4"/>
          <p:cNvSpPr/>
          <p:nvPr/>
        </p:nvSpPr>
        <p:spPr>
          <a:xfrm>
            <a:off x="861154" y="356297"/>
            <a:ext cx="105728" cy="131337"/>
          </a:xfrm>
          <a:custGeom>
            <a:avLst/>
            <a:gdLst/>
            <a:ahLst/>
            <a:cxnLst/>
            <a:rect l="l" t="t" r="r" b="b"/>
            <a:pathLst>
              <a:path w="150368" h="186791">
                <a:moveTo>
                  <a:pt x="35010" y="62876"/>
                </a:moveTo>
                <a:lnTo>
                  <a:pt x="41098" y="46175"/>
                </a:lnTo>
                <a:lnTo>
                  <a:pt x="48702" y="35750"/>
                </a:lnTo>
                <a:lnTo>
                  <a:pt x="53657" y="30937"/>
                </a:lnTo>
                <a:lnTo>
                  <a:pt x="55600" y="28968"/>
                </a:lnTo>
                <a:lnTo>
                  <a:pt x="68922" y="25450"/>
                </a:lnTo>
                <a:lnTo>
                  <a:pt x="77139" y="25450"/>
                </a:lnTo>
                <a:lnTo>
                  <a:pt x="90999" y="26113"/>
                </a:lnTo>
                <a:lnTo>
                  <a:pt x="104434" y="29335"/>
                </a:lnTo>
                <a:lnTo>
                  <a:pt x="114238" y="36308"/>
                </a:lnTo>
                <a:lnTo>
                  <a:pt x="120413" y="48200"/>
                </a:lnTo>
                <a:lnTo>
                  <a:pt x="122961" y="66179"/>
                </a:lnTo>
                <a:lnTo>
                  <a:pt x="34455" y="66179"/>
                </a:lnTo>
                <a:lnTo>
                  <a:pt x="31330" y="89674"/>
                </a:lnTo>
                <a:lnTo>
                  <a:pt x="150367" y="89674"/>
                </a:lnTo>
                <a:lnTo>
                  <a:pt x="150367" y="89275"/>
                </a:lnTo>
                <a:lnTo>
                  <a:pt x="149692" y="70094"/>
                </a:lnTo>
                <a:lnTo>
                  <a:pt x="147602" y="53325"/>
                </a:lnTo>
                <a:lnTo>
                  <a:pt x="143927" y="38928"/>
                </a:lnTo>
                <a:lnTo>
                  <a:pt x="138497" y="26860"/>
                </a:lnTo>
                <a:lnTo>
                  <a:pt x="131144" y="17079"/>
                </a:lnTo>
                <a:lnTo>
                  <a:pt x="121697" y="9544"/>
                </a:lnTo>
                <a:lnTo>
                  <a:pt x="109986" y="4214"/>
                </a:lnTo>
                <a:lnTo>
                  <a:pt x="95842" y="1046"/>
                </a:lnTo>
                <a:lnTo>
                  <a:pt x="79095" y="0"/>
                </a:lnTo>
                <a:lnTo>
                  <a:pt x="69735" y="474"/>
                </a:lnTo>
                <a:lnTo>
                  <a:pt x="56568" y="2924"/>
                </a:lnTo>
                <a:lnTo>
                  <a:pt x="44434" y="7432"/>
                </a:lnTo>
                <a:lnTo>
                  <a:pt x="35010" y="62876"/>
                </a:lnTo>
                <a:close/>
              </a:path>
              <a:path w="150368" h="186791">
                <a:moveTo>
                  <a:pt x="0" y="93980"/>
                </a:moveTo>
                <a:lnTo>
                  <a:pt x="461" y="105315"/>
                </a:lnTo>
                <a:lnTo>
                  <a:pt x="2938" y="121659"/>
                </a:lnTo>
                <a:lnTo>
                  <a:pt x="7407" y="136345"/>
                </a:lnTo>
                <a:lnTo>
                  <a:pt x="13692" y="149304"/>
                </a:lnTo>
                <a:lnTo>
                  <a:pt x="21622" y="160463"/>
                </a:lnTo>
                <a:lnTo>
                  <a:pt x="31023" y="169752"/>
                </a:lnTo>
                <a:lnTo>
                  <a:pt x="41723" y="177100"/>
                </a:lnTo>
                <a:lnTo>
                  <a:pt x="53548" y="182437"/>
                </a:lnTo>
                <a:lnTo>
                  <a:pt x="66325" y="185691"/>
                </a:lnTo>
                <a:lnTo>
                  <a:pt x="79882" y="186791"/>
                </a:lnTo>
                <a:lnTo>
                  <a:pt x="88087" y="186632"/>
                </a:lnTo>
                <a:lnTo>
                  <a:pt x="103693" y="185288"/>
                </a:lnTo>
                <a:lnTo>
                  <a:pt x="116964" y="182744"/>
                </a:lnTo>
                <a:lnTo>
                  <a:pt x="128347" y="179203"/>
                </a:lnTo>
                <a:lnTo>
                  <a:pt x="138287" y="174867"/>
                </a:lnTo>
                <a:lnTo>
                  <a:pt x="147231" y="169938"/>
                </a:lnTo>
                <a:lnTo>
                  <a:pt x="144894" y="142544"/>
                </a:lnTo>
                <a:lnTo>
                  <a:pt x="139995" y="146247"/>
                </a:lnTo>
                <a:lnTo>
                  <a:pt x="129511" y="151889"/>
                </a:lnTo>
                <a:lnTo>
                  <a:pt x="116861" y="156570"/>
                </a:lnTo>
                <a:lnTo>
                  <a:pt x="103100" y="159765"/>
                </a:lnTo>
                <a:lnTo>
                  <a:pt x="89280" y="160947"/>
                </a:lnTo>
                <a:lnTo>
                  <a:pt x="75824" y="159821"/>
                </a:lnTo>
                <a:lnTo>
                  <a:pt x="62559" y="155850"/>
                </a:lnTo>
                <a:lnTo>
                  <a:pt x="51528" y="149086"/>
                </a:lnTo>
                <a:lnTo>
                  <a:pt x="42811" y="139602"/>
                </a:lnTo>
                <a:lnTo>
                  <a:pt x="36486" y="127470"/>
                </a:lnTo>
                <a:lnTo>
                  <a:pt x="32632" y="112763"/>
                </a:lnTo>
                <a:lnTo>
                  <a:pt x="31330" y="95554"/>
                </a:lnTo>
                <a:lnTo>
                  <a:pt x="31330" y="89674"/>
                </a:lnTo>
                <a:lnTo>
                  <a:pt x="34455" y="66179"/>
                </a:lnTo>
                <a:lnTo>
                  <a:pt x="35010" y="62876"/>
                </a:lnTo>
                <a:lnTo>
                  <a:pt x="44434" y="7432"/>
                </a:lnTo>
                <a:lnTo>
                  <a:pt x="33472" y="13966"/>
                </a:lnTo>
                <a:lnTo>
                  <a:pt x="23818" y="22495"/>
                </a:lnTo>
                <a:lnTo>
                  <a:pt x="15610" y="32988"/>
                </a:lnTo>
                <a:lnTo>
                  <a:pt x="8987" y="45415"/>
                </a:lnTo>
                <a:lnTo>
                  <a:pt x="4086" y="59743"/>
                </a:lnTo>
                <a:lnTo>
                  <a:pt x="1044" y="75941"/>
                </a:lnTo>
                <a:lnTo>
                  <a:pt x="0" y="9398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22"/>
          <p:cNvSpPr/>
          <p:nvPr/>
        </p:nvSpPr>
        <p:spPr>
          <a:xfrm>
            <a:off x="1050010" y="318031"/>
            <a:ext cx="110406" cy="166298"/>
          </a:xfrm>
          <a:custGeom>
            <a:avLst/>
            <a:gdLst/>
            <a:ahLst/>
            <a:cxnLst/>
            <a:rect l="l" t="t" r="r" b="b"/>
            <a:pathLst>
              <a:path w="157022" h="236512">
                <a:moveTo>
                  <a:pt x="71455" y="126006"/>
                </a:moveTo>
                <a:lnTo>
                  <a:pt x="55994" y="126873"/>
                </a:lnTo>
                <a:lnTo>
                  <a:pt x="45034" y="126873"/>
                </a:lnTo>
                <a:lnTo>
                  <a:pt x="30937" y="125298"/>
                </a:lnTo>
                <a:lnTo>
                  <a:pt x="30937" y="25057"/>
                </a:lnTo>
                <a:lnTo>
                  <a:pt x="0" y="0"/>
                </a:lnTo>
                <a:lnTo>
                  <a:pt x="0" y="236512"/>
                </a:lnTo>
                <a:lnTo>
                  <a:pt x="30937" y="236512"/>
                </a:lnTo>
                <a:lnTo>
                  <a:pt x="30937" y="150749"/>
                </a:lnTo>
                <a:lnTo>
                  <a:pt x="43178" y="151895"/>
                </a:lnTo>
                <a:lnTo>
                  <a:pt x="56058" y="152535"/>
                </a:lnTo>
                <a:lnTo>
                  <a:pt x="71455" y="126006"/>
                </a:lnTo>
                <a:close/>
              </a:path>
              <a:path w="157022" h="236512">
                <a:moveTo>
                  <a:pt x="30937" y="25057"/>
                </a:moveTo>
                <a:lnTo>
                  <a:pt x="66179" y="25057"/>
                </a:lnTo>
                <a:lnTo>
                  <a:pt x="81534" y="26150"/>
                </a:lnTo>
                <a:lnTo>
                  <a:pt x="96054" y="30091"/>
                </a:lnTo>
                <a:lnTo>
                  <a:pt x="107326" y="36913"/>
                </a:lnTo>
                <a:lnTo>
                  <a:pt x="115364" y="46630"/>
                </a:lnTo>
                <a:lnTo>
                  <a:pt x="120178" y="59251"/>
                </a:lnTo>
                <a:lnTo>
                  <a:pt x="121780" y="74790"/>
                </a:lnTo>
                <a:lnTo>
                  <a:pt x="121018" y="85191"/>
                </a:lnTo>
                <a:lnTo>
                  <a:pt x="116679" y="99384"/>
                </a:lnTo>
                <a:lnTo>
                  <a:pt x="108991" y="110212"/>
                </a:lnTo>
                <a:lnTo>
                  <a:pt x="98516" y="118025"/>
                </a:lnTo>
                <a:lnTo>
                  <a:pt x="85817" y="123173"/>
                </a:lnTo>
                <a:lnTo>
                  <a:pt x="71455" y="126006"/>
                </a:lnTo>
                <a:lnTo>
                  <a:pt x="56058" y="152535"/>
                </a:lnTo>
                <a:lnTo>
                  <a:pt x="67741" y="152704"/>
                </a:lnTo>
                <a:lnTo>
                  <a:pt x="72445" y="152586"/>
                </a:lnTo>
                <a:lnTo>
                  <a:pt x="86585" y="150820"/>
                </a:lnTo>
                <a:lnTo>
                  <a:pt x="100330" y="147037"/>
                </a:lnTo>
                <a:lnTo>
                  <a:pt x="113340" y="141366"/>
                </a:lnTo>
                <a:lnTo>
                  <a:pt x="125277" y="133933"/>
                </a:lnTo>
                <a:lnTo>
                  <a:pt x="135803" y="124865"/>
                </a:lnTo>
                <a:lnTo>
                  <a:pt x="144579" y="114289"/>
                </a:lnTo>
                <a:lnTo>
                  <a:pt x="151266" y="102333"/>
                </a:lnTo>
                <a:lnTo>
                  <a:pt x="155527" y="89125"/>
                </a:lnTo>
                <a:lnTo>
                  <a:pt x="157022" y="74790"/>
                </a:lnTo>
                <a:lnTo>
                  <a:pt x="156430" y="64454"/>
                </a:lnTo>
                <a:lnTo>
                  <a:pt x="153253" y="49732"/>
                </a:lnTo>
                <a:lnTo>
                  <a:pt x="147577" y="36821"/>
                </a:lnTo>
                <a:lnTo>
                  <a:pt x="139683" y="25766"/>
                </a:lnTo>
                <a:lnTo>
                  <a:pt x="129850" y="16616"/>
                </a:lnTo>
                <a:lnTo>
                  <a:pt x="118359" y="9417"/>
                </a:lnTo>
                <a:lnTo>
                  <a:pt x="105492" y="4217"/>
                </a:lnTo>
                <a:lnTo>
                  <a:pt x="91527" y="1062"/>
                </a:lnTo>
                <a:lnTo>
                  <a:pt x="76746" y="0"/>
                </a:lnTo>
                <a:lnTo>
                  <a:pt x="0" y="0"/>
                </a:lnTo>
                <a:lnTo>
                  <a:pt x="30937" y="2505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21"/>
          <p:cNvSpPr/>
          <p:nvPr/>
        </p:nvSpPr>
        <p:spPr>
          <a:xfrm>
            <a:off x="1196328" y="304538"/>
            <a:ext cx="0" cy="179790"/>
          </a:xfrm>
          <a:custGeom>
            <a:avLst/>
            <a:gdLst/>
            <a:ahLst/>
            <a:cxnLst/>
            <a:rect l="l" t="t" r="r" b="b"/>
            <a:pathLst>
              <a:path h="255701">
                <a:moveTo>
                  <a:pt x="0" y="0"/>
                </a:moveTo>
                <a:lnTo>
                  <a:pt x="0" y="255701"/>
                </a:lnTo>
              </a:path>
            </a:pathLst>
          </a:custGeom>
          <a:ln w="31419">
            <a:solidFill>
              <a:srgbClr val="F5821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20"/>
          <p:cNvSpPr/>
          <p:nvPr/>
        </p:nvSpPr>
        <p:spPr>
          <a:xfrm>
            <a:off x="1235550"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2"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6" y="-88506"/>
                </a:lnTo>
                <a:lnTo>
                  <a:pt x="136271"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595" y="-65859"/>
                </a:lnTo>
                <a:lnTo>
                  <a:pt x="85750" y="-67360"/>
                </a:lnTo>
                <a:lnTo>
                  <a:pt x="93254" y="-66844"/>
                </a:lnTo>
                <a:lnTo>
                  <a:pt x="105137" y="-63160"/>
                </a:lnTo>
                <a:lnTo>
                  <a:pt x="114522" y="-55803"/>
                </a:lnTo>
                <a:lnTo>
                  <a:pt x="121328" y="-44622"/>
                </a:lnTo>
                <a:lnTo>
                  <a:pt x="125473" y="-29466"/>
                </a:lnTo>
                <a:lnTo>
                  <a:pt x="126873" y="-10185"/>
                </a:lnTo>
                <a:lnTo>
                  <a:pt x="126873"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19"/>
          <p:cNvSpPr/>
          <p:nvPr/>
        </p:nvSpPr>
        <p:spPr>
          <a:xfrm>
            <a:off x="1382277" y="356293"/>
            <a:ext cx="103790" cy="128033"/>
          </a:xfrm>
          <a:custGeom>
            <a:avLst/>
            <a:gdLst/>
            <a:ahLst/>
            <a:cxnLst/>
            <a:rect l="l" t="t" r="r" b="b"/>
            <a:pathLst>
              <a:path w="147613" h="182092">
                <a:moveTo>
                  <a:pt x="62649" y="31724"/>
                </a:moveTo>
                <a:lnTo>
                  <a:pt x="65392" y="30162"/>
                </a:lnTo>
                <a:lnTo>
                  <a:pt x="77927" y="27025"/>
                </a:lnTo>
                <a:lnTo>
                  <a:pt x="87325" y="27025"/>
                </a:lnTo>
                <a:lnTo>
                  <a:pt x="103229" y="29547"/>
                </a:lnTo>
                <a:lnTo>
                  <a:pt x="112206" y="37199"/>
                </a:lnTo>
                <a:lnTo>
                  <a:pt x="116226" y="49942"/>
                </a:lnTo>
                <a:lnTo>
                  <a:pt x="117475" y="67741"/>
                </a:lnTo>
                <a:lnTo>
                  <a:pt x="117747" y="78307"/>
                </a:lnTo>
                <a:lnTo>
                  <a:pt x="117877" y="106135"/>
                </a:lnTo>
                <a:lnTo>
                  <a:pt x="118031" y="121023"/>
                </a:lnTo>
                <a:lnTo>
                  <a:pt x="118013" y="141871"/>
                </a:lnTo>
                <a:lnTo>
                  <a:pt x="117776" y="152000"/>
                </a:lnTo>
                <a:lnTo>
                  <a:pt x="117345" y="164712"/>
                </a:lnTo>
                <a:lnTo>
                  <a:pt x="116687" y="182092"/>
                </a:lnTo>
                <a:lnTo>
                  <a:pt x="146837" y="182092"/>
                </a:lnTo>
                <a:lnTo>
                  <a:pt x="146944" y="174487"/>
                </a:lnTo>
                <a:lnTo>
                  <a:pt x="147097" y="162795"/>
                </a:lnTo>
                <a:lnTo>
                  <a:pt x="147276" y="147767"/>
                </a:lnTo>
                <a:lnTo>
                  <a:pt x="147447" y="131083"/>
                </a:lnTo>
                <a:lnTo>
                  <a:pt x="147574" y="114423"/>
                </a:lnTo>
                <a:lnTo>
                  <a:pt x="147613" y="71983"/>
                </a:lnTo>
                <a:lnTo>
                  <a:pt x="147275" y="59290"/>
                </a:lnTo>
                <a:lnTo>
                  <a:pt x="146456" y="46596"/>
                </a:lnTo>
                <a:lnTo>
                  <a:pt x="144273" y="33519"/>
                </a:lnTo>
                <a:lnTo>
                  <a:pt x="138664" y="20109"/>
                </a:lnTo>
                <a:lnTo>
                  <a:pt x="130182" y="10555"/>
                </a:lnTo>
                <a:lnTo>
                  <a:pt x="119084" y="4355"/>
                </a:lnTo>
                <a:lnTo>
                  <a:pt x="105627" y="1005"/>
                </a:lnTo>
                <a:lnTo>
                  <a:pt x="90068" y="0"/>
                </a:lnTo>
                <a:lnTo>
                  <a:pt x="87824" y="32"/>
                </a:lnTo>
                <a:lnTo>
                  <a:pt x="73699" y="1882"/>
                </a:lnTo>
                <a:lnTo>
                  <a:pt x="61466" y="6295"/>
                </a:lnTo>
                <a:lnTo>
                  <a:pt x="50763" y="12874"/>
                </a:lnTo>
                <a:lnTo>
                  <a:pt x="41228" y="21220"/>
                </a:lnTo>
                <a:lnTo>
                  <a:pt x="32499" y="30937"/>
                </a:lnTo>
                <a:lnTo>
                  <a:pt x="27800" y="4698"/>
                </a:lnTo>
                <a:lnTo>
                  <a:pt x="0" y="4698"/>
                </a:lnTo>
                <a:lnTo>
                  <a:pt x="1562" y="18808"/>
                </a:lnTo>
                <a:lnTo>
                  <a:pt x="2377" y="27075"/>
                </a:lnTo>
                <a:lnTo>
                  <a:pt x="2965" y="39633"/>
                </a:lnTo>
                <a:lnTo>
                  <a:pt x="3136" y="54038"/>
                </a:lnTo>
                <a:lnTo>
                  <a:pt x="3136" y="182092"/>
                </a:lnTo>
                <a:lnTo>
                  <a:pt x="33286" y="182092"/>
                </a:lnTo>
                <a:lnTo>
                  <a:pt x="33286" y="63055"/>
                </a:lnTo>
                <a:lnTo>
                  <a:pt x="36379" y="58995"/>
                </a:lnTo>
                <a:lnTo>
                  <a:pt x="46352" y="47354"/>
                </a:lnTo>
                <a:lnTo>
                  <a:pt x="56262" y="37087"/>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8"/>
          <p:cNvSpPr/>
          <p:nvPr/>
        </p:nvSpPr>
        <p:spPr>
          <a:xfrm>
            <a:off x="1521577" y="356293"/>
            <a:ext cx="103787" cy="128033"/>
          </a:xfrm>
          <a:custGeom>
            <a:avLst/>
            <a:gdLst/>
            <a:ahLst/>
            <a:cxnLst/>
            <a:rect l="l" t="t" r="r" b="b"/>
            <a:pathLst>
              <a:path w="147608" h="182092">
                <a:moveTo>
                  <a:pt x="62649" y="31724"/>
                </a:moveTo>
                <a:lnTo>
                  <a:pt x="65392" y="30162"/>
                </a:lnTo>
                <a:lnTo>
                  <a:pt x="77927" y="27025"/>
                </a:lnTo>
                <a:lnTo>
                  <a:pt x="87312" y="27025"/>
                </a:lnTo>
                <a:lnTo>
                  <a:pt x="103218" y="29547"/>
                </a:lnTo>
                <a:lnTo>
                  <a:pt x="112198" y="37199"/>
                </a:lnTo>
                <a:lnTo>
                  <a:pt x="116218" y="49942"/>
                </a:lnTo>
                <a:lnTo>
                  <a:pt x="117462" y="67741"/>
                </a:lnTo>
                <a:lnTo>
                  <a:pt x="117734" y="78307"/>
                </a:lnTo>
                <a:lnTo>
                  <a:pt x="117864" y="106135"/>
                </a:lnTo>
                <a:lnTo>
                  <a:pt x="118018" y="121023"/>
                </a:lnTo>
                <a:lnTo>
                  <a:pt x="118001" y="141871"/>
                </a:lnTo>
                <a:lnTo>
                  <a:pt x="117767" y="152000"/>
                </a:lnTo>
                <a:lnTo>
                  <a:pt x="117339" y="164712"/>
                </a:lnTo>
                <a:lnTo>
                  <a:pt x="116687" y="182092"/>
                </a:lnTo>
                <a:lnTo>
                  <a:pt x="146837" y="182092"/>
                </a:lnTo>
                <a:lnTo>
                  <a:pt x="146944" y="174487"/>
                </a:lnTo>
                <a:lnTo>
                  <a:pt x="147097" y="162795"/>
                </a:lnTo>
                <a:lnTo>
                  <a:pt x="147276" y="147767"/>
                </a:lnTo>
                <a:lnTo>
                  <a:pt x="147447" y="131083"/>
                </a:lnTo>
                <a:lnTo>
                  <a:pt x="147574" y="114423"/>
                </a:lnTo>
                <a:lnTo>
                  <a:pt x="147608" y="71984"/>
                </a:lnTo>
                <a:lnTo>
                  <a:pt x="147270" y="59290"/>
                </a:lnTo>
                <a:lnTo>
                  <a:pt x="146456" y="46596"/>
                </a:lnTo>
                <a:lnTo>
                  <a:pt x="144270" y="33508"/>
                </a:lnTo>
                <a:lnTo>
                  <a:pt x="138658" y="20103"/>
                </a:lnTo>
                <a:lnTo>
                  <a:pt x="130172" y="10552"/>
                </a:lnTo>
                <a:lnTo>
                  <a:pt x="119071" y="4354"/>
                </a:lnTo>
                <a:lnTo>
                  <a:pt x="105613" y="1004"/>
                </a:lnTo>
                <a:lnTo>
                  <a:pt x="90055" y="0"/>
                </a:lnTo>
                <a:lnTo>
                  <a:pt x="87812" y="32"/>
                </a:lnTo>
                <a:lnTo>
                  <a:pt x="73688" y="1882"/>
                </a:lnTo>
                <a:lnTo>
                  <a:pt x="61457" y="6295"/>
                </a:lnTo>
                <a:lnTo>
                  <a:pt x="50756" y="12874"/>
                </a:lnTo>
                <a:lnTo>
                  <a:pt x="41220" y="21220"/>
                </a:lnTo>
                <a:lnTo>
                  <a:pt x="32486" y="30937"/>
                </a:lnTo>
                <a:lnTo>
                  <a:pt x="27800" y="4698"/>
                </a:lnTo>
                <a:lnTo>
                  <a:pt x="0" y="4698"/>
                </a:lnTo>
                <a:lnTo>
                  <a:pt x="1549" y="18808"/>
                </a:lnTo>
                <a:lnTo>
                  <a:pt x="2372" y="27075"/>
                </a:lnTo>
                <a:lnTo>
                  <a:pt x="2964" y="39633"/>
                </a:lnTo>
                <a:lnTo>
                  <a:pt x="3136" y="54038"/>
                </a:lnTo>
                <a:lnTo>
                  <a:pt x="3136" y="182092"/>
                </a:lnTo>
                <a:lnTo>
                  <a:pt x="33274" y="182092"/>
                </a:lnTo>
                <a:lnTo>
                  <a:pt x="33274" y="63055"/>
                </a:lnTo>
                <a:lnTo>
                  <a:pt x="36372" y="58988"/>
                </a:lnTo>
                <a:lnTo>
                  <a:pt x="46348" y="47349"/>
                </a:lnTo>
                <a:lnTo>
                  <a:pt x="56261" y="37086"/>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7"/>
          <p:cNvSpPr/>
          <p:nvPr/>
        </p:nvSpPr>
        <p:spPr>
          <a:xfrm>
            <a:off x="1659762" y="307292"/>
            <a:ext cx="27816" cy="177040"/>
          </a:xfrm>
          <a:custGeom>
            <a:avLst/>
            <a:gdLst/>
            <a:ahLst/>
            <a:cxnLst/>
            <a:rect l="l" t="t" r="r" b="b"/>
            <a:pathLst>
              <a:path w="39560" h="251790">
                <a:moveTo>
                  <a:pt x="0" y="21526"/>
                </a:moveTo>
                <a:lnTo>
                  <a:pt x="482" y="25980"/>
                </a:lnTo>
                <a:lnTo>
                  <a:pt x="7360" y="38207"/>
                </a:lnTo>
                <a:lnTo>
                  <a:pt x="19583" y="43459"/>
                </a:lnTo>
                <a:lnTo>
                  <a:pt x="24294" y="42714"/>
                </a:lnTo>
                <a:lnTo>
                  <a:pt x="35117" y="34404"/>
                </a:lnTo>
                <a:lnTo>
                  <a:pt x="39560" y="21145"/>
                </a:lnTo>
                <a:lnTo>
                  <a:pt x="39123" y="17027"/>
                </a:lnTo>
                <a:lnTo>
                  <a:pt x="32080" y="5036"/>
                </a:lnTo>
                <a:lnTo>
                  <a:pt x="19583" y="0"/>
                </a:lnTo>
                <a:lnTo>
                  <a:pt x="15527" y="508"/>
                </a:lnTo>
                <a:lnTo>
                  <a:pt x="4404" y="8411"/>
                </a:lnTo>
                <a:lnTo>
                  <a:pt x="0" y="21526"/>
                </a:lnTo>
                <a:close/>
              </a:path>
              <a:path w="39560" h="251790">
                <a:moveTo>
                  <a:pt x="4711" y="74396"/>
                </a:moveTo>
                <a:lnTo>
                  <a:pt x="4711" y="251790"/>
                </a:lnTo>
                <a:lnTo>
                  <a:pt x="34861" y="251790"/>
                </a:lnTo>
                <a:lnTo>
                  <a:pt x="34861" y="74396"/>
                </a:lnTo>
                <a:lnTo>
                  <a:pt x="4711" y="7439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5"/>
          <p:cNvSpPr/>
          <p:nvPr/>
        </p:nvSpPr>
        <p:spPr>
          <a:xfrm>
            <a:off x="1720600" y="356293"/>
            <a:ext cx="103798" cy="128033"/>
          </a:xfrm>
          <a:custGeom>
            <a:avLst/>
            <a:gdLst/>
            <a:ahLst/>
            <a:cxnLst/>
            <a:rect l="l" t="t" r="r" b="b"/>
            <a:pathLst>
              <a:path w="147624" h="182092">
                <a:moveTo>
                  <a:pt x="62661" y="31724"/>
                </a:moveTo>
                <a:lnTo>
                  <a:pt x="65392" y="30162"/>
                </a:lnTo>
                <a:lnTo>
                  <a:pt x="77927" y="27025"/>
                </a:lnTo>
                <a:lnTo>
                  <a:pt x="87325" y="27025"/>
                </a:lnTo>
                <a:lnTo>
                  <a:pt x="103236" y="29549"/>
                </a:lnTo>
                <a:lnTo>
                  <a:pt x="112214" y="37202"/>
                </a:lnTo>
                <a:lnTo>
                  <a:pt x="116237" y="49945"/>
                </a:lnTo>
                <a:lnTo>
                  <a:pt x="117487" y="67741"/>
                </a:lnTo>
                <a:lnTo>
                  <a:pt x="117760" y="78307"/>
                </a:lnTo>
                <a:lnTo>
                  <a:pt x="117889" y="106135"/>
                </a:lnTo>
                <a:lnTo>
                  <a:pt x="118038" y="121023"/>
                </a:lnTo>
                <a:lnTo>
                  <a:pt x="118016" y="141871"/>
                </a:lnTo>
                <a:lnTo>
                  <a:pt x="117780" y="152000"/>
                </a:lnTo>
                <a:lnTo>
                  <a:pt x="117352" y="164712"/>
                </a:lnTo>
                <a:lnTo>
                  <a:pt x="116700" y="182092"/>
                </a:lnTo>
                <a:lnTo>
                  <a:pt x="146850" y="182092"/>
                </a:lnTo>
                <a:lnTo>
                  <a:pt x="146957" y="174487"/>
                </a:lnTo>
                <a:lnTo>
                  <a:pt x="147110" y="162795"/>
                </a:lnTo>
                <a:lnTo>
                  <a:pt x="147289" y="147767"/>
                </a:lnTo>
                <a:lnTo>
                  <a:pt x="147460" y="131083"/>
                </a:lnTo>
                <a:lnTo>
                  <a:pt x="147587" y="114423"/>
                </a:lnTo>
                <a:lnTo>
                  <a:pt x="147624" y="71983"/>
                </a:lnTo>
                <a:lnTo>
                  <a:pt x="147282" y="59290"/>
                </a:lnTo>
                <a:lnTo>
                  <a:pt x="146456" y="46596"/>
                </a:lnTo>
                <a:lnTo>
                  <a:pt x="144280" y="33529"/>
                </a:lnTo>
                <a:lnTo>
                  <a:pt x="138674" y="20115"/>
                </a:lnTo>
                <a:lnTo>
                  <a:pt x="130192" y="10559"/>
                </a:lnTo>
                <a:lnTo>
                  <a:pt x="119094" y="4357"/>
                </a:lnTo>
                <a:lnTo>
                  <a:pt x="105637" y="1005"/>
                </a:lnTo>
                <a:lnTo>
                  <a:pt x="90081" y="0"/>
                </a:lnTo>
                <a:lnTo>
                  <a:pt x="87837" y="32"/>
                </a:lnTo>
                <a:lnTo>
                  <a:pt x="73712" y="1882"/>
                </a:lnTo>
                <a:lnTo>
                  <a:pt x="61479" y="6295"/>
                </a:lnTo>
                <a:lnTo>
                  <a:pt x="50776" y="12874"/>
                </a:lnTo>
                <a:lnTo>
                  <a:pt x="41241" y="21220"/>
                </a:lnTo>
                <a:lnTo>
                  <a:pt x="32511" y="30937"/>
                </a:lnTo>
                <a:lnTo>
                  <a:pt x="27812" y="4698"/>
                </a:lnTo>
                <a:lnTo>
                  <a:pt x="0" y="4698"/>
                </a:lnTo>
                <a:lnTo>
                  <a:pt x="1574" y="18808"/>
                </a:lnTo>
                <a:lnTo>
                  <a:pt x="2389" y="27075"/>
                </a:lnTo>
                <a:lnTo>
                  <a:pt x="2978" y="39633"/>
                </a:lnTo>
                <a:lnTo>
                  <a:pt x="3149" y="54038"/>
                </a:lnTo>
                <a:lnTo>
                  <a:pt x="3149" y="182092"/>
                </a:lnTo>
                <a:lnTo>
                  <a:pt x="33286" y="182092"/>
                </a:lnTo>
                <a:lnTo>
                  <a:pt x="33286" y="63055"/>
                </a:lnTo>
                <a:lnTo>
                  <a:pt x="36385" y="58988"/>
                </a:lnTo>
                <a:lnTo>
                  <a:pt x="46360" y="47349"/>
                </a:lnTo>
                <a:lnTo>
                  <a:pt x="56274" y="37086"/>
                </a:lnTo>
                <a:lnTo>
                  <a:pt x="62661"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6"/>
          <p:cNvSpPr/>
          <p:nvPr/>
        </p:nvSpPr>
        <p:spPr>
          <a:xfrm>
            <a:off x="1852187" y="422106"/>
            <a:ext cx="34227" cy="124376"/>
          </a:xfrm>
          <a:custGeom>
            <a:avLst/>
            <a:gdLst/>
            <a:ahLst/>
            <a:cxnLst/>
            <a:rect l="l" t="t" r="r" b="b"/>
            <a:pathLst>
              <a:path w="48678" h="176891">
                <a:moveTo>
                  <a:pt x="36766" y="77831"/>
                </a:moveTo>
                <a:lnTo>
                  <a:pt x="48678" y="83292"/>
                </a:lnTo>
                <a:lnTo>
                  <a:pt x="38801" y="37607"/>
                </a:lnTo>
                <a:lnTo>
                  <a:pt x="34161" y="21483"/>
                </a:lnTo>
                <a:lnTo>
                  <a:pt x="32511" y="0"/>
                </a:lnTo>
                <a:lnTo>
                  <a:pt x="26161" y="70248"/>
                </a:lnTo>
                <a:lnTo>
                  <a:pt x="36766" y="77831"/>
                </a:lnTo>
                <a:close/>
              </a:path>
              <a:path w="48678" h="176891">
                <a:moveTo>
                  <a:pt x="968" y="19440"/>
                </a:moveTo>
                <a:lnTo>
                  <a:pt x="4267" y="35140"/>
                </a:lnTo>
                <a:lnTo>
                  <a:pt x="9704" y="48866"/>
                </a:lnTo>
                <a:lnTo>
                  <a:pt x="17071" y="60581"/>
                </a:lnTo>
                <a:lnTo>
                  <a:pt x="26161" y="70248"/>
                </a:lnTo>
                <a:lnTo>
                  <a:pt x="32511" y="0"/>
                </a:lnTo>
                <a:lnTo>
                  <a:pt x="32531" y="-2276"/>
                </a:lnTo>
                <a:lnTo>
                  <a:pt x="34572" y="-22375"/>
                </a:lnTo>
                <a:lnTo>
                  <a:pt x="39057" y="-37880"/>
                </a:lnTo>
                <a:lnTo>
                  <a:pt x="44671" y="-49218"/>
                </a:lnTo>
                <a:lnTo>
                  <a:pt x="50103" y="-56812"/>
                </a:lnTo>
                <a:lnTo>
                  <a:pt x="54038" y="-61086"/>
                </a:lnTo>
                <a:lnTo>
                  <a:pt x="69618" y="-66254"/>
                </a:lnTo>
                <a:lnTo>
                  <a:pt x="85763" y="-67754"/>
                </a:lnTo>
                <a:lnTo>
                  <a:pt x="93260" y="-67239"/>
                </a:lnTo>
                <a:lnTo>
                  <a:pt x="105142" y="-63556"/>
                </a:lnTo>
                <a:lnTo>
                  <a:pt x="114527" y="-56199"/>
                </a:lnTo>
                <a:lnTo>
                  <a:pt x="121331" y="-45018"/>
                </a:lnTo>
                <a:lnTo>
                  <a:pt x="125473" y="-29862"/>
                </a:lnTo>
                <a:lnTo>
                  <a:pt x="126872" y="-10579"/>
                </a:lnTo>
                <a:lnTo>
                  <a:pt x="126872" y="28575"/>
                </a:lnTo>
                <a:lnTo>
                  <a:pt x="123171" y="35166"/>
                </a:lnTo>
                <a:lnTo>
                  <a:pt x="114746" y="45769"/>
                </a:lnTo>
                <a:lnTo>
                  <a:pt x="104376" y="54231"/>
                </a:lnTo>
                <a:lnTo>
                  <a:pt x="92485" y="59834"/>
                </a:lnTo>
                <a:lnTo>
                  <a:pt x="79501" y="61861"/>
                </a:lnTo>
                <a:lnTo>
                  <a:pt x="78046" y="61848"/>
                </a:lnTo>
                <a:lnTo>
                  <a:pt x="66054" y="60492"/>
                </a:lnTo>
                <a:lnTo>
                  <a:pt x="55208" y="56444"/>
                </a:lnTo>
                <a:lnTo>
                  <a:pt x="45970" y="49038"/>
                </a:lnTo>
                <a:lnTo>
                  <a:pt x="38801" y="37607"/>
                </a:lnTo>
                <a:lnTo>
                  <a:pt x="48678" y="83292"/>
                </a:lnTo>
                <a:lnTo>
                  <a:pt x="61688" y="86596"/>
                </a:lnTo>
                <a:lnTo>
                  <a:pt x="75590" y="87706"/>
                </a:lnTo>
                <a:lnTo>
                  <a:pt x="82543" y="87459"/>
                </a:lnTo>
                <a:lnTo>
                  <a:pt x="96032" y="85208"/>
                </a:lnTo>
                <a:lnTo>
                  <a:pt x="107612" y="80630"/>
                </a:lnTo>
                <a:lnTo>
                  <a:pt x="117838" y="73753"/>
                </a:lnTo>
                <a:lnTo>
                  <a:pt x="127266" y="64604"/>
                </a:lnTo>
                <a:lnTo>
                  <a:pt x="127439" y="78176"/>
                </a:lnTo>
                <a:lnTo>
                  <a:pt x="127833" y="91163"/>
                </a:lnTo>
                <a:lnTo>
                  <a:pt x="128054" y="101015"/>
                </a:lnTo>
                <a:lnTo>
                  <a:pt x="127331" y="111049"/>
                </a:lnTo>
                <a:lnTo>
                  <a:pt x="122971" y="124692"/>
                </a:lnTo>
                <a:lnTo>
                  <a:pt x="114979" y="134530"/>
                </a:lnTo>
                <a:lnTo>
                  <a:pt x="103718" y="141007"/>
                </a:lnTo>
                <a:lnTo>
                  <a:pt x="89549" y="144568"/>
                </a:lnTo>
                <a:lnTo>
                  <a:pt x="72834" y="145656"/>
                </a:lnTo>
                <a:lnTo>
                  <a:pt x="70290" y="145636"/>
                </a:lnTo>
                <a:lnTo>
                  <a:pt x="53477" y="143803"/>
                </a:lnTo>
                <a:lnTo>
                  <a:pt x="42129" y="138170"/>
                </a:lnTo>
                <a:lnTo>
                  <a:pt x="35713" y="127562"/>
                </a:lnTo>
                <a:lnTo>
                  <a:pt x="33693" y="110807"/>
                </a:lnTo>
                <a:lnTo>
                  <a:pt x="2755" y="116687"/>
                </a:lnTo>
                <a:lnTo>
                  <a:pt x="4929" y="134144"/>
                </a:lnTo>
                <a:lnTo>
                  <a:pt x="10500" y="146856"/>
                </a:lnTo>
                <a:lnTo>
                  <a:pt x="19040" y="156561"/>
                </a:lnTo>
                <a:lnTo>
                  <a:pt x="30104" y="163568"/>
                </a:lnTo>
                <a:lnTo>
                  <a:pt x="43250" y="168189"/>
                </a:lnTo>
                <a:lnTo>
                  <a:pt x="58035" y="170734"/>
                </a:lnTo>
                <a:lnTo>
                  <a:pt x="74015" y="171513"/>
                </a:lnTo>
                <a:lnTo>
                  <a:pt x="81572" y="171343"/>
                </a:lnTo>
                <a:lnTo>
                  <a:pt x="98864" y="169483"/>
                </a:lnTo>
                <a:lnTo>
                  <a:pt x="114042" y="165632"/>
                </a:lnTo>
                <a:lnTo>
                  <a:pt x="127048" y="159865"/>
                </a:lnTo>
                <a:lnTo>
                  <a:pt x="137822" y="152258"/>
                </a:lnTo>
                <a:lnTo>
                  <a:pt x="146306" y="142885"/>
                </a:lnTo>
                <a:lnTo>
                  <a:pt x="152438" y="131822"/>
                </a:lnTo>
                <a:lnTo>
                  <a:pt x="156162" y="119144"/>
                </a:lnTo>
                <a:lnTo>
                  <a:pt x="157416" y="104927"/>
                </a:lnTo>
                <a:lnTo>
                  <a:pt x="157325" y="96305"/>
                </a:lnTo>
                <a:lnTo>
                  <a:pt x="157145" y="82259"/>
                </a:lnTo>
                <a:lnTo>
                  <a:pt x="157048" y="-63830"/>
                </a:lnTo>
                <a:lnTo>
                  <a:pt x="159778" y="-88899"/>
                </a:lnTo>
                <a:lnTo>
                  <a:pt x="136283" y="-88899"/>
                </a:lnTo>
                <a:lnTo>
                  <a:pt x="129628" y="-74790"/>
                </a:lnTo>
                <a:lnTo>
                  <a:pt x="121632" y="-82771"/>
                </a:lnTo>
                <a:lnTo>
                  <a:pt x="110116" y="-89118"/>
                </a:lnTo>
                <a:lnTo>
                  <a:pt x="97409" y="-92561"/>
                </a:lnTo>
                <a:lnTo>
                  <a:pt x="84581" y="-93598"/>
                </a:lnTo>
                <a:lnTo>
                  <a:pt x="81930" y="-93570"/>
                </a:lnTo>
                <a:lnTo>
                  <a:pt x="66639" y="-92197"/>
                </a:lnTo>
                <a:lnTo>
                  <a:pt x="52871" y="-88801"/>
                </a:lnTo>
                <a:lnTo>
                  <a:pt x="40647" y="-83443"/>
                </a:lnTo>
                <a:lnTo>
                  <a:pt x="29986" y="-76184"/>
                </a:lnTo>
                <a:lnTo>
                  <a:pt x="20908" y="-67084"/>
                </a:lnTo>
                <a:lnTo>
                  <a:pt x="13436" y="-56204"/>
                </a:lnTo>
                <a:lnTo>
                  <a:pt x="7588" y="-43604"/>
                </a:lnTo>
                <a:lnTo>
                  <a:pt x="3386" y="-29344"/>
                </a:lnTo>
                <a:lnTo>
                  <a:pt x="849" y="-13485"/>
                </a:lnTo>
                <a:lnTo>
                  <a:pt x="0" y="3911"/>
                </a:lnTo>
                <a:lnTo>
                  <a:pt x="968" y="1944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bject 14"/>
          <p:cNvSpPr/>
          <p:nvPr/>
        </p:nvSpPr>
        <p:spPr>
          <a:xfrm>
            <a:off x="0" y="732235"/>
            <a:ext cx="9144000" cy="667878"/>
          </a:xfrm>
          <a:custGeom>
            <a:avLst/>
            <a:gdLst/>
            <a:ahLst/>
            <a:cxnLst/>
            <a:rect l="l" t="t" r="r" b="b"/>
            <a:pathLst>
              <a:path w="13004800" h="949871">
                <a:moveTo>
                  <a:pt x="0" y="949871"/>
                </a:moveTo>
                <a:lnTo>
                  <a:pt x="13004800" y="949871"/>
                </a:lnTo>
                <a:lnTo>
                  <a:pt x="13004800" y="0"/>
                </a:lnTo>
                <a:lnTo>
                  <a:pt x="0" y="0"/>
                </a:lnTo>
                <a:lnTo>
                  <a:pt x="0" y="94987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12"/>
          <p:cNvSpPr/>
          <p:nvPr/>
        </p:nvSpPr>
        <p:spPr>
          <a:xfrm>
            <a:off x="125016" y="3433000"/>
            <a:ext cx="2446376" cy="3278981"/>
          </a:xfrm>
          <a:custGeom>
            <a:avLst/>
            <a:gdLst/>
            <a:ahLst/>
            <a:cxnLst/>
            <a:rect l="l" t="t" r="r" b="b"/>
            <a:pathLst>
              <a:path w="3479291" h="4663439">
                <a:moveTo>
                  <a:pt x="0" y="0"/>
                </a:moveTo>
                <a:lnTo>
                  <a:pt x="0" y="4663440"/>
                </a:lnTo>
                <a:lnTo>
                  <a:pt x="3479291" y="4663440"/>
                </a:lnTo>
                <a:lnTo>
                  <a:pt x="3479291" y="0"/>
                </a:lnTo>
                <a:lnTo>
                  <a:pt x="0" y="0"/>
                </a:lnTo>
                <a:close/>
              </a:path>
            </a:pathLst>
          </a:custGeom>
          <a:solidFill>
            <a:srgbClr val="000000">
              <a:alpha val="35000"/>
            </a:srgbClr>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13"/>
          <p:cNvSpPr/>
          <p:nvPr/>
        </p:nvSpPr>
        <p:spPr>
          <a:xfrm>
            <a:off x="145531" y="3474618"/>
            <a:ext cx="2348508" cy="3186925"/>
          </a:xfrm>
          <a:custGeom>
            <a:avLst/>
            <a:gdLst/>
            <a:ahLst/>
            <a:cxnLst/>
            <a:rect l="l" t="t" r="r" b="b"/>
            <a:pathLst>
              <a:path w="3340100" h="4532515">
                <a:moveTo>
                  <a:pt x="31" y="4405500"/>
                </a:moveTo>
                <a:lnTo>
                  <a:pt x="841" y="4447492"/>
                </a:lnTo>
                <a:lnTo>
                  <a:pt x="6735" y="4491345"/>
                </a:lnTo>
                <a:lnTo>
                  <a:pt x="31181" y="4521954"/>
                </a:lnTo>
                <a:lnTo>
                  <a:pt x="68505" y="4530563"/>
                </a:lnTo>
                <a:lnTo>
                  <a:pt x="127719" y="4532487"/>
                </a:lnTo>
                <a:lnTo>
                  <a:pt x="3340100" y="4532515"/>
                </a:lnTo>
                <a:lnTo>
                  <a:pt x="3340068" y="304421"/>
                </a:lnTo>
                <a:lnTo>
                  <a:pt x="3339258" y="262429"/>
                </a:lnTo>
                <a:lnTo>
                  <a:pt x="3333364" y="218576"/>
                </a:lnTo>
                <a:lnTo>
                  <a:pt x="3308918" y="187967"/>
                </a:lnTo>
                <a:lnTo>
                  <a:pt x="3271594" y="179358"/>
                </a:lnTo>
                <a:lnTo>
                  <a:pt x="3212380" y="177434"/>
                </a:lnTo>
                <a:lnTo>
                  <a:pt x="896327" y="177406"/>
                </a:lnTo>
                <a:lnTo>
                  <a:pt x="689381" y="0"/>
                </a:lnTo>
                <a:lnTo>
                  <a:pt x="482968" y="177406"/>
                </a:lnTo>
                <a:lnTo>
                  <a:pt x="0" y="177406"/>
                </a:lnTo>
                <a:lnTo>
                  <a:pt x="31" y="44055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11"/>
          <p:cNvSpPr/>
          <p:nvPr/>
        </p:nvSpPr>
        <p:spPr>
          <a:xfrm>
            <a:off x="174834" y="1553936"/>
            <a:ext cx="2396558" cy="1828626"/>
          </a:xfrm>
          <a:prstGeom prst="rect">
            <a:avLst/>
          </a:prstGeom>
          <a:blipFill>
            <a:blip r:embed="rId3" cstate="print"/>
            <a:stretch>
              <a:fillRect/>
            </a:stretch>
          </a:blip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bject 10"/>
          <p:cNvSpPr txBox="1"/>
          <p:nvPr/>
        </p:nvSpPr>
        <p:spPr>
          <a:xfrm>
            <a:off x="422710" y="935020"/>
            <a:ext cx="78636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231" normalizeH="0" baseline="0" noProof="0" dirty="0">
                <a:ln>
                  <a:noFill/>
                </a:ln>
                <a:solidFill>
                  <a:srgbClr val="FFFFFF"/>
                </a:solidFill>
                <a:effectLst/>
                <a:uLnTx/>
                <a:uFillTx/>
                <a:latin typeface="Times New Roman"/>
                <a:ea typeface="+mn-ea"/>
                <a:cs typeface="Times New Roman"/>
              </a:rPr>
              <a:t>PLAN</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 name="object 9"/>
          <p:cNvSpPr txBox="1"/>
          <p:nvPr/>
        </p:nvSpPr>
        <p:spPr>
          <a:xfrm>
            <a:off x="1222163" y="935020"/>
            <a:ext cx="45395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0" normalizeH="0" baseline="0" noProof="0" dirty="0">
                <a:ln>
                  <a:noFill/>
                </a:ln>
                <a:solidFill>
                  <a:srgbClr val="FFFFFF"/>
                </a:solidFill>
                <a:effectLst/>
                <a:uLnTx/>
                <a:uFillTx/>
                <a:latin typeface="Times New Roman"/>
                <a:ea typeface="+mn-ea"/>
                <a:cs typeface="Times New Roman"/>
              </a:rPr>
              <a:t>OF</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8" name="object 8"/>
          <p:cNvSpPr txBox="1"/>
          <p:nvPr/>
        </p:nvSpPr>
        <p:spPr>
          <a:xfrm>
            <a:off x="1689207" y="935020"/>
            <a:ext cx="773981"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326" normalizeH="0" baseline="0" noProof="0" dirty="0">
                <a:ln>
                  <a:noFill/>
                </a:ln>
                <a:solidFill>
                  <a:srgbClr val="FFFFFF"/>
                </a:solidFill>
                <a:effectLst/>
                <a:uLnTx/>
                <a:uFillTx/>
                <a:latin typeface="Times New Roman"/>
                <a:ea typeface="+mn-ea"/>
                <a:cs typeface="Times New Roman"/>
              </a:rPr>
              <a:t>CARE</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7" name="object 7"/>
          <p:cNvSpPr txBox="1"/>
          <p:nvPr/>
        </p:nvSpPr>
        <p:spPr>
          <a:xfrm>
            <a:off x="2800115" y="1899944"/>
            <a:ext cx="2265955" cy="709592"/>
          </a:xfrm>
          <a:prstGeom prst="rect">
            <a:avLst/>
          </a:prstGeom>
        </p:spPr>
        <p:txBody>
          <a:bodyPr wrap="square" lIns="0" tIns="8505" rIns="0" bIns="0" rtlCol="0">
            <a:no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Potential Problems:</a:t>
            </a:r>
            <a:endParaRPr kumimoji="0"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2" name="object 2"/>
          <p:cNvSpPr txBox="1"/>
          <p:nvPr/>
        </p:nvSpPr>
        <p:spPr>
          <a:xfrm>
            <a:off x="125016" y="3433000"/>
            <a:ext cx="2446376" cy="3278981"/>
          </a:xfrm>
          <a:prstGeom prst="rect">
            <a:avLst/>
          </a:prstGeom>
        </p:spPr>
        <p:txBody>
          <a:bodyPr wrap="square" lIns="0" tIns="2505" rIns="0" bIns="0" rtlCol="0">
            <a:noAutofit/>
          </a:bodyPr>
          <a:lstStyle/>
          <a:p>
            <a:pPr marL="0" marR="0" lvl="0" indent="0" algn="l" defTabSz="642915" rtl="0" eaLnBrk="1" fontAlgn="auto" latinLnBrk="0" hangingPunct="1">
              <a:lnSpc>
                <a:spcPts val="598"/>
              </a:lnSpc>
              <a:spcBef>
                <a:spcPts val="0"/>
              </a:spcBef>
              <a:spcAft>
                <a:spcPts val="0"/>
              </a:spcAft>
              <a:buClrTx/>
              <a:buSzTx/>
              <a:buFontTx/>
              <a:buNone/>
              <a:tabLst/>
              <a:defRPr/>
            </a:pPr>
            <a:endParaRPr kumimoji="0" sz="598" b="0" i="0" u="none" strike="noStrike" kern="1200" cap="none" spc="0" normalizeH="0" baseline="0" noProof="0" dirty="0">
              <a:ln>
                <a:noFill/>
              </a:ln>
              <a:solidFill>
                <a:prstClr val="black"/>
              </a:solidFill>
              <a:effectLst/>
              <a:uLnTx/>
              <a:uFillTx/>
              <a:latin typeface="Calibri"/>
              <a:ea typeface="+mn-ea"/>
              <a:cs typeface="+mn-cs"/>
            </a:endParaRPr>
          </a:p>
          <a:p>
            <a:pPr marL="210550" marR="0" lvl="0" indent="0" algn="l" defTabSz="642915" rtl="0" eaLnBrk="1" fontAlgn="auto" latinLnBrk="0" hangingPunct="1">
              <a:lnSpc>
                <a:spcPct val="95825"/>
              </a:lnSpc>
              <a:spcBef>
                <a:spcPts val="1406"/>
              </a:spcBef>
              <a:spcAft>
                <a:spcPts val="0"/>
              </a:spcAft>
              <a:buClrTx/>
              <a:buSzTx/>
              <a:buFontTx/>
              <a:buNone/>
              <a:tabLst/>
              <a:defRPr/>
            </a:pPr>
            <a:r>
              <a:rPr kumimoji="0" sz="1195" b="1" i="0" u="none" strike="noStrike" kern="1200" cap="none" spc="-2" normalizeH="0" baseline="0" noProof="0" dirty="0">
                <a:ln>
                  <a:noFill/>
                </a:ln>
                <a:solidFill>
                  <a:srgbClr val="FFFFFF"/>
                </a:solidFill>
                <a:effectLst/>
                <a:uLnTx/>
                <a:uFillTx/>
                <a:latin typeface="Times New Roman"/>
                <a:ea typeface="+mn-ea"/>
                <a:cs typeface="Times New Roman"/>
              </a:rPr>
              <a:t>Name: </a:t>
            </a:r>
            <a:r>
              <a:rPr kumimoji="0" sz="1195" b="0" i="0" u="none" strike="noStrike" kern="1200" cap="none" spc="-2" normalizeH="0" baseline="0" noProof="0" dirty="0">
                <a:ln>
                  <a:noFill/>
                </a:ln>
                <a:solidFill>
                  <a:srgbClr val="FFFFFF"/>
                </a:solidFill>
                <a:effectLst/>
                <a:uLnTx/>
                <a:uFillTx/>
                <a:latin typeface="Times New Roman"/>
                <a:ea typeface="+mn-ea"/>
                <a:cs typeface="Times New Roman"/>
              </a:rPr>
              <a:t>Walter Jones</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2" normalizeH="0" baseline="0" noProof="0" dirty="0">
                <a:ln>
                  <a:noFill/>
                </a:ln>
                <a:solidFill>
                  <a:srgbClr val="FFFFFF"/>
                </a:solidFill>
                <a:effectLst/>
                <a:uLnTx/>
                <a:uFillTx/>
                <a:latin typeface="Times New Roman"/>
                <a:ea typeface="+mn-ea"/>
                <a:cs typeface="Times New Roman"/>
              </a:rPr>
              <a:t>Gender: </a:t>
            </a:r>
            <a:r>
              <a:rPr kumimoji="0" sz="1195" b="0" i="0" u="none" strike="noStrike" kern="1200" cap="none" spc="-12" normalizeH="0" baseline="0" noProof="0" dirty="0">
                <a:ln>
                  <a:noFill/>
                </a:ln>
                <a:solidFill>
                  <a:srgbClr val="FFFFFF"/>
                </a:solidFill>
                <a:effectLst/>
                <a:uLnTx/>
                <a:uFillTx/>
                <a:latin typeface="Times New Roman"/>
                <a:ea typeface="+mn-ea"/>
                <a:cs typeface="Times New Roman"/>
              </a:rPr>
              <a:t>Male</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23" normalizeH="0" baseline="0" noProof="0" dirty="0">
                <a:ln>
                  <a:noFill/>
                </a:ln>
                <a:solidFill>
                  <a:srgbClr val="FFFFFF"/>
                </a:solidFill>
                <a:effectLst/>
                <a:uLnTx/>
                <a:uFillTx/>
                <a:latin typeface="Times New Roman"/>
                <a:ea typeface="+mn-ea"/>
                <a:cs typeface="Times New Roman"/>
              </a:rPr>
              <a:t>Age: </a:t>
            </a:r>
            <a:r>
              <a:rPr kumimoji="0" sz="1195" b="0" i="0" u="none" strike="noStrike" kern="1200" cap="none" spc="-23" normalizeH="0" baseline="0" noProof="0" dirty="0">
                <a:ln>
                  <a:noFill/>
                </a:ln>
                <a:solidFill>
                  <a:srgbClr val="FFFFFF"/>
                </a:solidFill>
                <a:effectLst/>
                <a:uLnTx/>
                <a:uFillTx/>
                <a:latin typeface="Times New Roman"/>
                <a:ea typeface="+mn-ea"/>
                <a:cs typeface="Times New Roman"/>
              </a:rPr>
              <a:t>65</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6" normalizeH="0" baseline="0" noProof="0" dirty="0">
                <a:ln>
                  <a:noFill/>
                </a:ln>
                <a:solidFill>
                  <a:srgbClr val="FFFFFF"/>
                </a:solidFill>
                <a:effectLst/>
                <a:uLnTx/>
                <a:uFillTx/>
                <a:latin typeface="Times New Roman"/>
                <a:ea typeface="+mn-ea"/>
                <a:cs typeface="Times New Roman"/>
              </a:rPr>
              <a:t>Height: 6' 2"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7" normalizeH="0" baseline="0" noProof="0" dirty="0">
                <a:ln>
                  <a:noFill/>
                </a:ln>
                <a:solidFill>
                  <a:srgbClr val="FFFFFF"/>
                </a:solidFill>
                <a:effectLst/>
                <a:uLnTx/>
                <a:uFillTx/>
                <a:latin typeface="Times New Roman"/>
                <a:ea typeface="+mn-ea"/>
                <a:cs typeface="Times New Roman"/>
              </a:rPr>
              <a:t>Weight: 210 lb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lang="en-US" sz="1195" b="1" i="1" u="none" strike="noStrike" kern="1200" cap="none" spc="-28" normalizeH="0" baseline="0" noProof="0" dirty="0">
                <a:ln>
                  <a:noFill/>
                </a:ln>
                <a:solidFill>
                  <a:srgbClr val="FFFFFF"/>
                </a:solidFill>
                <a:effectLst/>
                <a:uLnTx/>
                <a:uFillTx/>
                <a:latin typeface="Times New Roman"/>
                <a:ea typeface="+mn-ea"/>
                <a:cs typeface="Times New Roman"/>
              </a:rPr>
              <a:t>CABG</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97"/>
              </a:spcBef>
              <a:spcAft>
                <a:spcPts val="0"/>
              </a:spcAft>
              <a:buClrTx/>
              <a:buSzTx/>
              <a:buFontTx/>
              <a:buNone/>
              <a:tabLst/>
              <a:defRPr/>
            </a:pPr>
            <a:r>
              <a:rPr kumimoji="0" sz="1195" b="1" i="0" u="none" strike="noStrike" kern="1200" cap="none" spc="-20" normalizeH="0" baseline="0" noProof="0" dirty="0">
                <a:ln>
                  <a:noFill/>
                </a:ln>
                <a:solidFill>
                  <a:srgbClr val="FFFFFF"/>
                </a:solidFill>
                <a:effectLst/>
                <a:uLnTx/>
                <a:uFillTx/>
                <a:latin typeface="Times New Roman"/>
                <a:ea typeface="+mn-ea"/>
                <a:cs typeface="Times New Roman"/>
              </a:rPr>
              <a:t>Primary Physician: </a:t>
            </a:r>
            <a:r>
              <a:rPr kumimoji="0" sz="1195" b="0" i="0" u="none" strike="noStrike" kern="1200" cap="none" spc="-20" normalizeH="0" baseline="0" noProof="0" dirty="0">
                <a:ln>
                  <a:noFill/>
                </a:ln>
                <a:solidFill>
                  <a:srgbClr val="FFFFFF"/>
                </a:solidFill>
                <a:effectLst/>
                <a:uLnTx/>
                <a:uFillTx/>
                <a:latin typeface="Times New Roman"/>
                <a:ea typeface="+mn-ea"/>
                <a:cs typeface="Times New Roman"/>
              </a:rPr>
              <a:t>Dr. Smith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5" normalizeH="0" baseline="0" noProof="0" dirty="0">
                <a:ln>
                  <a:noFill/>
                </a:ln>
                <a:solidFill>
                  <a:srgbClr val="FFFFFF"/>
                </a:solidFill>
                <a:effectLst/>
                <a:uLnTx/>
                <a:uFillTx/>
                <a:latin typeface="Times New Roman"/>
                <a:ea typeface="+mn-ea"/>
                <a:cs typeface="Times New Roman"/>
              </a:rPr>
              <a:t>Allergies: </a:t>
            </a:r>
            <a:r>
              <a:rPr kumimoji="0" sz="1195" b="0" i="0" u="none" strike="noStrike" kern="1200" cap="none" spc="-5" normalizeH="0" baseline="0" noProof="0" dirty="0">
                <a:ln>
                  <a:noFill/>
                </a:ln>
                <a:solidFill>
                  <a:srgbClr val="FFFFFF"/>
                </a:solidFill>
                <a:effectLst/>
                <a:uLnTx/>
                <a:uFillTx/>
                <a:latin typeface="Times New Roman"/>
                <a:ea typeface="+mn-ea"/>
                <a:cs typeface="Times New Roman"/>
              </a:rPr>
              <a:t>No Known Allergie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15" normalizeH="0" baseline="0" noProof="0" dirty="0">
                <a:ln>
                  <a:noFill/>
                </a:ln>
                <a:solidFill>
                  <a:srgbClr val="FFFFFF"/>
                </a:solidFill>
                <a:effectLst/>
                <a:uLnTx/>
                <a:uFillTx/>
                <a:latin typeface="Times New Roman"/>
                <a:ea typeface="+mn-ea"/>
                <a:cs typeface="Times New Roman"/>
              </a:rPr>
              <a:t>Pressure Ulcer POA: </a:t>
            </a:r>
            <a:r>
              <a:rPr kumimoji="0" sz="1195" b="0" i="0" u="none" strike="noStrike" kern="1200" cap="none" spc="-15" normalizeH="0" baseline="0" noProof="0" dirty="0">
                <a:ln>
                  <a:noFill/>
                </a:ln>
                <a:solidFill>
                  <a:srgbClr val="FFFFFF"/>
                </a:solidFill>
                <a:effectLst/>
                <a:uLnTx/>
                <a:uFillTx/>
                <a:latin typeface="Times New Roman"/>
                <a:ea typeface="+mn-ea"/>
                <a:cs typeface="Times New Roman"/>
              </a:rPr>
              <a:t>Negative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24" normalizeH="0" baseline="0" noProof="0" dirty="0">
                <a:ln>
                  <a:noFill/>
                </a:ln>
                <a:solidFill>
                  <a:srgbClr val="FFFFFF"/>
                </a:solidFill>
                <a:effectLst/>
                <a:uLnTx/>
                <a:uFillTx/>
                <a:latin typeface="Times New Roman"/>
                <a:ea typeface="+mn-ea"/>
                <a:cs typeface="Times New Roman"/>
              </a:rPr>
              <a:t>Last Braden Risk Score: </a:t>
            </a:r>
            <a:r>
              <a:rPr kumimoji="0" sz="1195" b="0" i="0" u="none" strike="noStrike" kern="1200" cap="none" spc="-24" normalizeH="0" baseline="0" noProof="0" dirty="0">
                <a:ln>
                  <a:noFill/>
                </a:ln>
                <a:solidFill>
                  <a:srgbClr val="FFFFFF"/>
                </a:solidFill>
                <a:effectLst/>
                <a:uLnTx/>
                <a:uFillTx/>
                <a:latin typeface="Times New Roman"/>
                <a:ea typeface="+mn-ea"/>
                <a:cs typeface="Times New Roman"/>
              </a:rPr>
              <a:t>19</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99"/>
              </a:spcBef>
              <a:spcAft>
                <a:spcPts val="0"/>
              </a:spcAft>
              <a:buClrTx/>
              <a:buSzTx/>
              <a:buFontTx/>
              <a:buNone/>
              <a:tabLst/>
              <a:defRPr/>
            </a:pPr>
            <a:r>
              <a:rPr kumimoji="0" sz="1195" b="1" i="0" u="none" strike="noStrike" kern="1200" cap="none" spc="-28" normalizeH="0" baseline="0" noProof="0" dirty="0">
                <a:ln>
                  <a:noFill/>
                </a:ln>
                <a:solidFill>
                  <a:srgbClr val="FFFFFF"/>
                </a:solidFill>
                <a:effectLst/>
                <a:uLnTx/>
                <a:uFillTx/>
                <a:latin typeface="Times New Roman"/>
                <a:ea typeface="+mn-ea"/>
                <a:cs typeface="Times New Roman"/>
              </a:rPr>
              <a:t>Fall Risk Score: </a:t>
            </a:r>
            <a:r>
              <a:rPr kumimoji="0" sz="1195" b="0" i="0" u="none" strike="noStrike" kern="1200" cap="none" spc="-28" normalizeH="0" baseline="0" noProof="0" dirty="0">
                <a:ln>
                  <a:noFill/>
                </a:ln>
                <a:solidFill>
                  <a:srgbClr val="FFFFFF"/>
                </a:solidFill>
                <a:effectLst/>
                <a:uLnTx/>
                <a:uFillTx/>
                <a:latin typeface="Times New Roman"/>
                <a:ea typeface="+mn-ea"/>
                <a:cs typeface="Times New Roman"/>
              </a:rPr>
              <a:t>6</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4" normalizeH="0" baseline="0" noProof="0" dirty="0">
                <a:ln>
                  <a:noFill/>
                </a:ln>
                <a:solidFill>
                  <a:srgbClr val="FFFFFF"/>
                </a:solidFill>
                <a:effectLst/>
                <a:uLnTx/>
                <a:uFillTx/>
                <a:latin typeface="Times New Roman"/>
                <a:ea typeface="+mn-ea"/>
                <a:cs typeface="Times New Roman"/>
              </a:rPr>
              <a:t>Last Pain Score: </a:t>
            </a:r>
            <a:r>
              <a:rPr kumimoji="0" lang="en-US" sz="1195" b="0" i="0" u="none" strike="noStrike" kern="1200" cap="none" spc="-14" normalizeH="0" baseline="0" noProof="0" dirty="0">
                <a:ln>
                  <a:noFill/>
                </a:ln>
                <a:solidFill>
                  <a:srgbClr val="FFFFFF"/>
                </a:solidFill>
                <a:effectLst/>
                <a:uLnTx/>
                <a:uFillTx/>
                <a:latin typeface="Times New Roman"/>
                <a:ea typeface="+mn-ea"/>
                <a:cs typeface="Times New Roman"/>
              </a:rPr>
              <a:t>5</a:t>
            </a:r>
            <a:r>
              <a:rPr kumimoji="0" sz="1195" b="0" i="0" u="none" strike="noStrike" kern="1200" cap="none" spc="-14" normalizeH="0" baseline="0" noProof="0" dirty="0">
                <a:ln>
                  <a:noFill/>
                </a:ln>
                <a:solidFill>
                  <a:srgbClr val="FFFFFF"/>
                </a:solidFill>
                <a:effectLst/>
                <a:uLnTx/>
                <a:uFillTx/>
                <a:latin typeface="Times New Roman"/>
                <a:ea typeface="+mn-ea"/>
                <a:cs typeface="Times New Roman"/>
              </a:rPr>
              <a:t> (0-10)</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3" name="TextBox 2">
            <a:extLst>
              <a:ext uri="{FF2B5EF4-FFF2-40B4-BE49-F238E27FC236}">
                <a16:creationId xmlns:a16="http://schemas.microsoft.com/office/drawing/2014/main" id="{180FBEAA-5020-4CF2-ABD9-9D69068EEEFF}"/>
              </a:ext>
            </a:extLst>
          </p:cNvPr>
          <p:cNvSpPr txBox="1"/>
          <p:nvPr/>
        </p:nvSpPr>
        <p:spPr>
          <a:xfrm>
            <a:off x="6085786" y="1822840"/>
            <a:ext cx="3009131" cy="1209947"/>
          </a:xfrm>
          <a:prstGeom prst="rect">
            <a:avLst/>
          </a:prstGeom>
          <a:noFill/>
        </p:spPr>
        <p:txBody>
          <a:bodyPr wrap="square" rtlCol="0">
            <a:sp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Suggested Care Plans:</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125"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mn-cs"/>
              </a:rPr>
              <a:t>Pneumonia</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white">
                    <a:lumMod val="65000"/>
                  </a:prstClr>
                </a:solidFill>
                <a:effectLst/>
                <a:uLnTx/>
                <a:uFillTx/>
                <a:latin typeface="Calibri"/>
                <a:ea typeface="+mn-ea"/>
                <a:cs typeface="Times New Roman" panose="02020603050405020304" pitchFamily="18" charset="0"/>
              </a:rPr>
              <a:t>Fall Injury Risk</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white">
                    <a:lumMod val="65000"/>
                  </a:prstClr>
                </a:solidFill>
                <a:effectLst/>
                <a:uLnTx/>
                <a:uFillTx/>
                <a:latin typeface="Calibri"/>
                <a:ea typeface="+mn-ea"/>
                <a:cs typeface="Times New Roman" panose="02020603050405020304" pitchFamily="18" charset="0"/>
              </a:rPr>
              <a:t>Skin Injury Risk</a:t>
            </a: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36" name="TextBox 35">
            <a:extLst>
              <a:ext uri="{FF2B5EF4-FFF2-40B4-BE49-F238E27FC236}">
                <a16:creationId xmlns:a16="http://schemas.microsoft.com/office/drawing/2014/main" id="{7BFA69F7-AE79-4E82-AD43-629EDD7CE8EB}"/>
              </a:ext>
            </a:extLst>
          </p:cNvPr>
          <p:cNvSpPr txBox="1"/>
          <p:nvPr/>
        </p:nvSpPr>
        <p:spPr>
          <a:xfrm>
            <a:off x="2742328" y="1586598"/>
            <a:ext cx="2125984" cy="259045"/>
          </a:xfrm>
          <a:prstGeom prst="rect">
            <a:avLst/>
          </a:prstGeom>
          <a:noFill/>
        </p:spPr>
        <p:txBody>
          <a:bodyPr wrap="square" rtlCol="0">
            <a:spAutoFit/>
          </a:bodyPr>
          <a:lstStyle/>
          <a:p>
            <a:pPr marL="8929" marR="23102" lvl="0" indent="0" algn="l" defTabSz="642915" rtl="0" eaLnBrk="1" fontAlgn="auto" latinLnBrk="0" hangingPunct="1">
              <a:lnSpc>
                <a:spcPts val="1339"/>
              </a:lnSpc>
              <a:spcBef>
                <a:spcPts val="0"/>
              </a:spcBef>
              <a:spcAft>
                <a:spcPts val="0"/>
              </a:spcAft>
              <a:buClrTx/>
              <a:buSzTx/>
              <a:buFontTx/>
              <a:buNone/>
              <a:tabLst/>
              <a:defRPr/>
            </a:pPr>
            <a:r>
              <a:rPr kumimoji="0" lang="en-US" sz="1266" b="1" i="0" u="none" strike="noStrike" kern="1200" cap="none" spc="-128" normalizeH="0" baseline="0" noProof="0" dirty="0">
                <a:ln>
                  <a:noFill/>
                </a:ln>
                <a:solidFill>
                  <a:srgbClr val="F5821F"/>
                </a:solidFill>
                <a:effectLst/>
                <a:uLnTx/>
                <a:uFillTx/>
                <a:latin typeface="Times New Roman"/>
                <a:ea typeface="+mn-ea"/>
                <a:cs typeface="Times New Roman"/>
              </a:rPr>
              <a:t>PLAN OF CARE</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pic>
        <p:nvPicPr>
          <p:cNvPr id="41" name="Picture 40">
            <a:extLst>
              <a:ext uri="{FF2B5EF4-FFF2-40B4-BE49-F238E27FC236}">
                <a16:creationId xmlns:a16="http://schemas.microsoft.com/office/drawing/2014/main" id="{3D3919E8-E196-466F-BD25-073290416D4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75284" y="2203982"/>
            <a:ext cx="211216" cy="207034"/>
          </a:xfrm>
          <a:prstGeom prst="rect">
            <a:avLst/>
          </a:prstGeom>
        </p:spPr>
      </p:pic>
      <p:sp>
        <p:nvSpPr>
          <p:cNvPr id="37" name="TextBox 36">
            <a:extLst>
              <a:ext uri="{FF2B5EF4-FFF2-40B4-BE49-F238E27FC236}">
                <a16:creationId xmlns:a16="http://schemas.microsoft.com/office/drawing/2014/main" id="{9FBC310D-48BF-4CE8-904F-99E8602AFD07}"/>
              </a:ext>
            </a:extLst>
          </p:cNvPr>
          <p:cNvSpPr txBox="1"/>
          <p:nvPr/>
        </p:nvSpPr>
        <p:spPr>
          <a:xfrm>
            <a:off x="2821964" y="2184472"/>
            <a:ext cx="2867321" cy="676724"/>
          </a:xfrm>
          <a:prstGeom prst="rect">
            <a:avLst/>
          </a:prstGeom>
          <a:noFill/>
        </p:spPr>
        <p:txBody>
          <a:bodyPr wrap="square" rtlCol="0">
            <a:spAutoFit/>
          </a:bodyPr>
          <a:lstStyle/>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srgbClr val="0070C0"/>
                </a:solidFill>
                <a:effectLst/>
                <a:uLnTx/>
                <a:uFillTx/>
                <a:latin typeface="Calibri"/>
                <a:ea typeface="+mn-ea"/>
                <a:cs typeface="+mn-cs"/>
              </a:rPr>
              <a:t>Respiratory Compromise</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Infection Progression</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Fluid/Electrolyte Imbalance</a:t>
            </a:r>
          </a:p>
        </p:txBody>
      </p:sp>
      <p:pic>
        <p:nvPicPr>
          <p:cNvPr id="35" name="Picture 34">
            <a:extLst>
              <a:ext uri="{FF2B5EF4-FFF2-40B4-BE49-F238E27FC236}">
                <a16:creationId xmlns:a16="http://schemas.microsoft.com/office/drawing/2014/main" id="{D3E708D1-28C1-4C73-BB0B-CC08F37EB0E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807018" y="2196703"/>
            <a:ext cx="211216" cy="207034"/>
          </a:xfrm>
          <a:prstGeom prst="rect">
            <a:avLst/>
          </a:prstGeom>
        </p:spPr>
      </p:pic>
      <p:sp>
        <p:nvSpPr>
          <p:cNvPr id="38" name="object 7">
            <a:extLst>
              <a:ext uri="{FF2B5EF4-FFF2-40B4-BE49-F238E27FC236}">
                <a16:creationId xmlns:a16="http://schemas.microsoft.com/office/drawing/2014/main" id="{36D297A0-8F86-444B-8C6D-4BA8650DB4F7}"/>
              </a:ext>
            </a:extLst>
          </p:cNvPr>
          <p:cNvSpPr txBox="1"/>
          <p:nvPr/>
        </p:nvSpPr>
        <p:spPr>
          <a:xfrm>
            <a:off x="2788248" y="3786208"/>
            <a:ext cx="5151904" cy="709592"/>
          </a:xfrm>
          <a:prstGeom prst="rect">
            <a:avLst/>
          </a:prstGeom>
        </p:spPr>
        <p:txBody>
          <a:bodyPr wrap="square" lIns="0" tIns="8505" rIns="0" bIns="0" rtlCol="0">
            <a:no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Goal:</a:t>
            </a:r>
          </a:p>
          <a:p>
            <a:pPr marL="0" marR="0" lvl="0" indent="0" algn="l" defTabSz="642915" rtl="0" eaLnBrk="1" fontAlgn="auto" latinLnBrk="0" hangingPunct="1">
              <a:lnSpc>
                <a:spcPct val="100000"/>
              </a:lnSpc>
              <a:spcBef>
                <a:spcPts val="0"/>
              </a:spcBef>
              <a:spcAft>
                <a:spcPts val="0"/>
              </a:spcAft>
              <a:buClrTx/>
              <a:buSzTx/>
              <a:buFontTx/>
              <a:buNone/>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By transition of care the patient will achieve the following goal:</a:t>
            </a: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266"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42915" rtl="0" eaLnBrk="1" fontAlgn="auto" latinLnBrk="0" hangingPunct="1">
              <a:lnSpc>
                <a:spcPct val="100000"/>
              </a:lnSpc>
              <a:spcBef>
                <a:spcPts val="0"/>
              </a:spcBef>
              <a:spcAft>
                <a:spcPts val="0"/>
              </a:spcAft>
              <a:buClrTx/>
              <a:buSzTx/>
              <a:buFontTx/>
              <a:buNone/>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Effective Oxygenation &amp; Ventilation</a:t>
            </a:r>
          </a:p>
          <a:p>
            <a:pPr marL="8929" marR="23102" lvl="0" indent="0" algn="l" defTabSz="642915" rtl="0" eaLnBrk="1" fontAlgn="auto" latinLnBrk="0" hangingPunct="1">
              <a:lnSpc>
                <a:spcPct val="95825"/>
              </a:lnSpc>
              <a:spcBef>
                <a:spcPts val="70"/>
              </a:spcBef>
              <a:spcAft>
                <a:spcPts val="0"/>
              </a:spcAft>
              <a:buClrTx/>
              <a:buSzTx/>
              <a:buFontTx/>
              <a:buNone/>
              <a:tabLst/>
              <a:defRPr/>
            </a:pP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3102" lvl="0" indent="0" algn="l" defTabSz="642915" rtl="0" eaLnBrk="1" fontAlgn="auto" latinLnBrk="0" hangingPunct="1">
              <a:lnSpc>
                <a:spcPct val="95825"/>
              </a:lnSpc>
              <a:spcBef>
                <a:spcPts val="7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6" name="Rectangle 5">
            <a:extLst>
              <a:ext uri="{FF2B5EF4-FFF2-40B4-BE49-F238E27FC236}">
                <a16:creationId xmlns:a16="http://schemas.microsoft.com/office/drawing/2014/main" id="{8D77C203-91DD-460F-B22D-EF3F89623F60}"/>
              </a:ext>
            </a:extLst>
          </p:cNvPr>
          <p:cNvSpPr/>
          <p:nvPr/>
        </p:nvSpPr>
        <p:spPr>
          <a:xfrm>
            <a:off x="2750344" y="5237227"/>
            <a:ext cx="2933816" cy="1646092"/>
          </a:xfrm>
          <a:prstGeom prst="rect">
            <a:avLst/>
          </a:prstGeom>
        </p:spPr>
        <p:txBody>
          <a:bodyPr wrap="none">
            <a:spAutoFit/>
          </a:bodyPr>
          <a:lstStyle/>
          <a:p>
            <a:pPr marL="0" marR="0" lvl="0" indent="0" algn="l" defTabSz="642915" rtl="0" eaLnBrk="1" fontAlgn="auto" latinLnBrk="0" hangingPunct="1">
              <a:lnSpc>
                <a:spcPct val="115000"/>
              </a:lnSpc>
              <a:spcBef>
                <a:spcPts val="0"/>
              </a:spcBef>
              <a:spcAft>
                <a:spcPts val="703"/>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Problem Intervention:</a:t>
            </a:r>
          </a:p>
          <a:p>
            <a:pPr marL="0" marR="0" lvl="0" indent="0" algn="l" defTabSz="642915" rtl="0" eaLnBrk="1" fontAlgn="auto" latinLnBrk="0" hangingPunct="1">
              <a:lnSpc>
                <a:spcPct val="115000"/>
              </a:lnSpc>
              <a:spcBef>
                <a:spcPts val="0"/>
              </a:spcBef>
              <a:spcAft>
                <a:spcPts val="703"/>
              </a:spcAft>
              <a:buClrTx/>
              <a:buSzTx/>
              <a:buFontTx/>
              <a:buNone/>
              <a:tabLst/>
              <a:defRPr/>
            </a:pPr>
            <a:r>
              <a:rPr kumimoji="0" lang="en-US" sz="1266" b="1" i="0" u="none" strike="noStrike" kern="1200" cap="none" spc="0" normalizeH="0" baseline="0" noProof="0" dirty="0">
                <a:ln>
                  <a:noFill/>
                </a:ln>
                <a:solidFill>
                  <a:srgbClr val="0D0D0D"/>
                </a:solidFill>
                <a:effectLst/>
                <a:uLnTx/>
                <a:uFillTx/>
                <a:latin typeface="Arial Narrow" panose="020B0606020202030204" pitchFamily="34" charset="0"/>
                <a:ea typeface="Arial Narrow" panose="020B0606020202030204" pitchFamily="34" charset="0"/>
                <a:cs typeface="Arial Narrow" panose="020B0606020202030204" pitchFamily="34" charset="0"/>
              </a:rPr>
              <a:t>       Optimize Oxygenation &amp; Ventilation</a:t>
            </a:r>
          </a:p>
          <a:p>
            <a:pPr marL="742950" marR="0" lvl="1" indent="-285750" algn="l" defTabSz="642915" rtl="0" eaLnBrk="1" fontAlgn="auto" latinLnBrk="0" hangingPunct="1">
              <a:lnSpc>
                <a:spcPct val="115000"/>
              </a:lnSpc>
              <a:spcBef>
                <a:spcPts val="0"/>
              </a:spcBef>
              <a:spcAft>
                <a:spcPts val="703"/>
              </a:spcAft>
              <a:buClrTx/>
              <a:buSzTx/>
              <a:buFont typeface="Wingdings" panose="05000000000000000000" pitchFamily="2" charset="2"/>
              <a:buChar char="§"/>
              <a:tabLst/>
              <a:defRPr/>
            </a:pPr>
            <a:r>
              <a:rPr kumimoji="0" lang="en-US" sz="1266" b="1" i="0" u="none" strike="noStrike" kern="1200" cap="none" spc="0" normalizeH="0" baseline="0" noProof="0" dirty="0">
                <a:ln>
                  <a:noFill/>
                </a:ln>
                <a:solidFill>
                  <a:srgbClr val="0D0D0D"/>
                </a:solidFill>
                <a:effectLst/>
                <a:uLnTx/>
                <a:uFillTx/>
                <a:latin typeface="Arial Narrow" panose="020B0606020202030204" pitchFamily="34" charset="0"/>
                <a:ea typeface="Arial Narrow" panose="020B0606020202030204" pitchFamily="34" charset="0"/>
                <a:cs typeface="Arial Narrow" panose="020B0606020202030204" pitchFamily="34" charset="0"/>
              </a:rPr>
              <a:t>Airway ventilation management</a:t>
            </a:r>
          </a:p>
          <a:p>
            <a:pPr marL="742950" marR="0" lvl="1" indent="-285750" algn="l" defTabSz="642915" rtl="0" eaLnBrk="1" fontAlgn="auto" latinLnBrk="0" hangingPunct="1">
              <a:lnSpc>
                <a:spcPct val="115000"/>
              </a:lnSpc>
              <a:spcBef>
                <a:spcPts val="0"/>
              </a:spcBef>
              <a:spcAft>
                <a:spcPts val="703"/>
              </a:spcAft>
              <a:buClrTx/>
              <a:buSzTx/>
              <a:buFont typeface="Wingdings" panose="05000000000000000000" pitchFamily="2" charset="2"/>
              <a:buChar char="§"/>
              <a:tabLst/>
              <a:defRPr/>
            </a:pPr>
            <a:r>
              <a:rPr kumimoji="0" lang="en-US" sz="1266" b="1" i="0" u="none" strike="noStrike" kern="1200" cap="none" spc="0" normalizeH="0" baseline="0" noProof="0" dirty="0">
                <a:ln>
                  <a:noFill/>
                </a:ln>
                <a:solidFill>
                  <a:srgbClr val="0D0D0D"/>
                </a:solidFill>
                <a:effectLst/>
                <a:uLnTx/>
                <a:uFillTx/>
                <a:latin typeface="Arial Narrow" panose="020B0606020202030204" pitchFamily="34" charset="0"/>
                <a:ea typeface="Arial Narrow" panose="020B0606020202030204" pitchFamily="34" charset="0"/>
                <a:cs typeface="Arial Narrow" panose="020B0606020202030204" pitchFamily="34" charset="0"/>
              </a:rPr>
              <a:t>Head of Bed (HOB) position</a:t>
            </a:r>
          </a:p>
          <a:p>
            <a:pPr marL="0" marR="0" lvl="0" indent="0" algn="l" defTabSz="642915" rtl="0" eaLnBrk="1" fontAlgn="auto" latinLnBrk="0" hangingPunct="1">
              <a:lnSpc>
                <a:spcPct val="115000"/>
              </a:lnSpc>
              <a:spcBef>
                <a:spcPts val="0"/>
              </a:spcBef>
              <a:spcAft>
                <a:spcPts val="703"/>
              </a:spcAft>
              <a:buClrTx/>
              <a:buSzTx/>
              <a:buFontTx/>
              <a:buNone/>
              <a:tabLst/>
              <a:defRPr/>
            </a:pPr>
            <a:endParaRPr kumimoji="0" lang="en-US" sz="168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9" name="AutoShape 2" descr="Image result for icon for a target">
            <a:extLst>
              <a:ext uri="{FF2B5EF4-FFF2-40B4-BE49-F238E27FC236}">
                <a16:creationId xmlns:a16="http://schemas.microsoft.com/office/drawing/2014/main" id="{A1BF2F91-0388-45A1-9086-7ED73115276C}"/>
              </a:ext>
            </a:extLst>
          </p:cNvPr>
          <p:cNvSpPr>
            <a:spLocks noChangeAspect="1" noChangeArrowheads="1"/>
          </p:cNvSpPr>
          <p:nvPr/>
        </p:nvSpPr>
        <p:spPr bwMode="auto">
          <a:xfrm>
            <a:off x="4464844" y="3321844"/>
            <a:ext cx="214313" cy="2143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4294" tIns="32147" rIns="64294" bIns="32147" numCol="1" anchor="t" anchorCtr="0" compatLnSpc="1">
            <a:prstTxWarp prst="textNoShape">
              <a:avLst/>
            </a:prstTxWarp>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266" b="0" i="0" u="none" strike="noStrike" kern="1200" cap="none" spc="0" normalizeH="0" baseline="0" noProof="0">
              <a:ln>
                <a:noFill/>
              </a:ln>
              <a:solidFill>
                <a:prstClr val="black"/>
              </a:solidFill>
              <a:effectLst/>
              <a:uLnTx/>
              <a:uFillTx/>
              <a:latin typeface="Calibri"/>
              <a:ea typeface="+mn-ea"/>
              <a:cs typeface="+mn-cs"/>
            </a:endParaRPr>
          </a:p>
        </p:txBody>
      </p:sp>
      <p:pic>
        <p:nvPicPr>
          <p:cNvPr id="40" name="Picture 39">
            <a:extLst>
              <a:ext uri="{FF2B5EF4-FFF2-40B4-BE49-F238E27FC236}">
                <a16:creationId xmlns:a16="http://schemas.microsoft.com/office/drawing/2014/main" id="{D82C58CC-D3EC-4521-A30B-91AB8468826B}"/>
              </a:ext>
            </a:extLst>
          </p:cNvPr>
          <p:cNvPicPr>
            <a:picLocks noChangeAspect="1"/>
          </p:cNvPicPr>
          <p:nvPr/>
        </p:nvPicPr>
        <p:blipFill>
          <a:blip r:embed="rId5"/>
          <a:stretch>
            <a:fillRect/>
          </a:stretch>
        </p:blipFill>
        <p:spPr>
          <a:xfrm>
            <a:off x="2895600" y="4301706"/>
            <a:ext cx="396776" cy="323645"/>
          </a:xfrm>
          <a:prstGeom prst="rect">
            <a:avLst/>
          </a:prstGeom>
        </p:spPr>
      </p:pic>
      <p:grpSp>
        <p:nvGrpSpPr>
          <p:cNvPr id="46" name="Group 45">
            <a:extLst>
              <a:ext uri="{FF2B5EF4-FFF2-40B4-BE49-F238E27FC236}">
                <a16:creationId xmlns:a16="http://schemas.microsoft.com/office/drawing/2014/main" id="{93C64037-FC8F-4AC2-A76C-E20FDDF21767}"/>
              </a:ext>
            </a:extLst>
          </p:cNvPr>
          <p:cNvGrpSpPr/>
          <p:nvPr/>
        </p:nvGrpSpPr>
        <p:grpSpPr>
          <a:xfrm>
            <a:off x="3487131" y="3204084"/>
            <a:ext cx="3523269" cy="2434716"/>
            <a:chOff x="5483568" y="557048"/>
            <a:chExt cx="3304831" cy="2434716"/>
          </a:xfrm>
        </p:grpSpPr>
        <p:grpSp>
          <p:nvGrpSpPr>
            <p:cNvPr id="47" name="Group 46">
              <a:extLst>
                <a:ext uri="{FF2B5EF4-FFF2-40B4-BE49-F238E27FC236}">
                  <a16:creationId xmlns:a16="http://schemas.microsoft.com/office/drawing/2014/main" id="{9F98EBFB-B838-481E-A3CA-28E96253E04F}"/>
                </a:ext>
              </a:extLst>
            </p:cNvPr>
            <p:cNvGrpSpPr/>
            <p:nvPr/>
          </p:nvGrpSpPr>
          <p:grpSpPr>
            <a:xfrm rot="16200000">
              <a:off x="5918626" y="121990"/>
              <a:ext cx="2434716" cy="3304831"/>
              <a:chOff x="6981358" y="3058366"/>
              <a:chExt cx="4744979" cy="1958223"/>
            </a:xfrm>
          </p:grpSpPr>
          <p:sp>
            <p:nvSpPr>
              <p:cNvPr id="51" name="Freeform 174">
                <a:extLst>
                  <a:ext uri="{FF2B5EF4-FFF2-40B4-BE49-F238E27FC236}">
                    <a16:creationId xmlns:a16="http://schemas.microsoft.com/office/drawing/2014/main" id="{00DDBF6E-F4AC-434C-B44B-62A8136A8E2C}"/>
                  </a:ext>
                </a:extLst>
              </p:cNvPr>
              <p:cNvSpPr/>
              <p:nvPr/>
            </p:nvSpPr>
            <p:spPr>
              <a:xfrm>
                <a:off x="6981358" y="3058366"/>
                <a:ext cx="4744979" cy="1958223"/>
              </a:xfrm>
              <a:custGeom>
                <a:avLst/>
                <a:gdLst>
                  <a:gd name="connsiteX0" fmla="*/ 320373 w 2382779"/>
                  <a:gd name="connsiteY0" fmla="*/ 1007842 h 2402803"/>
                  <a:gd name="connsiteX1" fmla="*/ 0 w 2382779"/>
                  <a:gd name="connsiteY1" fmla="*/ 1208076 h 2402803"/>
                  <a:gd name="connsiteX2" fmla="*/ 333722 w 2382779"/>
                  <a:gd name="connsiteY2" fmla="*/ 1408309 h 2402803"/>
                  <a:gd name="connsiteX3" fmla="*/ 333722 w 2382779"/>
                  <a:gd name="connsiteY3" fmla="*/ 2402803 h 2402803"/>
                  <a:gd name="connsiteX4" fmla="*/ 2382779 w 2382779"/>
                  <a:gd name="connsiteY4" fmla="*/ 2402803 h 2402803"/>
                  <a:gd name="connsiteX5" fmla="*/ 2382779 w 2382779"/>
                  <a:gd name="connsiteY5" fmla="*/ 0 h 2402803"/>
                  <a:gd name="connsiteX6" fmla="*/ 320373 w 2382779"/>
                  <a:gd name="connsiteY6" fmla="*/ 0 h 2402803"/>
                  <a:gd name="connsiteX7" fmla="*/ 320373 w 2382779"/>
                  <a:gd name="connsiteY7" fmla="*/ 1007842 h 2402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2779" h="2402803">
                    <a:moveTo>
                      <a:pt x="320373" y="1007842"/>
                    </a:moveTo>
                    <a:lnTo>
                      <a:pt x="0" y="1208076"/>
                    </a:lnTo>
                    <a:lnTo>
                      <a:pt x="333722" y="1408309"/>
                    </a:lnTo>
                    <a:lnTo>
                      <a:pt x="333722" y="2402803"/>
                    </a:lnTo>
                    <a:lnTo>
                      <a:pt x="2382779" y="2402803"/>
                    </a:lnTo>
                    <a:lnTo>
                      <a:pt x="2382779" y="0"/>
                    </a:lnTo>
                    <a:lnTo>
                      <a:pt x="320373" y="0"/>
                    </a:lnTo>
                    <a:lnTo>
                      <a:pt x="320373" y="1007842"/>
                    </a:lnTo>
                    <a:close/>
                  </a:path>
                </a:pathLst>
              </a:custGeom>
              <a:solidFill>
                <a:sysClr val="window" lastClr="FFFFFF"/>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55" name="TextBox 54">
                <a:extLst>
                  <a:ext uri="{FF2B5EF4-FFF2-40B4-BE49-F238E27FC236}">
                    <a16:creationId xmlns:a16="http://schemas.microsoft.com/office/drawing/2014/main" id="{8A32A7A0-89F4-4115-BFFB-3992EDA77BBD}"/>
                  </a:ext>
                </a:extLst>
              </p:cNvPr>
              <p:cNvSpPr txBox="1"/>
              <p:nvPr/>
            </p:nvSpPr>
            <p:spPr>
              <a:xfrm rot="5400000">
                <a:off x="10169064" y="3763822"/>
                <a:ext cx="1671614" cy="539839"/>
              </a:xfrm>
              <a:prstGeom prst="rect">
                <a:avLst/>
              </a:prstGeom>
              <a:noFill/>
            </p:spPr>
            <p:txBody>
              <a:bodyPr wrap="square" rtlCol="0">
                <a:spAutoFit/>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ETC..</a:t>
                </a:r>
              </a:p>
            </p:txBody>
          </p:sp>
        </p:grpSp>
        <p:sp>
          <p:nvSpPr>
            <p:cNvPr id="48" name="TextBox 47">
              <a:extLst>
                <a:ext uri="{FF2B5EF4-FFF2-40B4-BE49-F238E27FC236}">
                  <a16:creationId xmlns:a16="http://schemas.microsoft.com/office/drawing/2014/main" id="{4F717D8B-8BC6-458B-A32F-3C0E3806E4C0}"/>
                </a:ext>
              </a:extLst>
            </p:cNvPr>
            <p:cNvSpPr txBox="1"/>
            <p:nvPr/>
          </p:nvSpPr>
          <p:spPr>
            <a:xfrm>
              <a:off x="5494156" y="570545"/>
              <a:ext cx="3286483" cy="439080"/>
            </a:xfrm>
            <a:prstGeom prst="rect">
              <a:avLst/>
            </a:prstGeom>
            <a:solidFill>
              <a:srgbClr val="FF8200"/>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prstClr val="white"/>
                  </a:solidFill>
                  <a:effectLst/>
                  <a:uLnTx/>
                  <a:uFillTx/>
                  <a:latin typeface="Arial"/>
                  <a:ea typeface="+mn-ea"/>
                  <a:cs typeface="+mn-cs"/>
                </a:rPr>
                <a:t>Clinical Guidance</a:t>
              </a:r>
            </a:p>
          </p:txBody>
        </p:sp>
      </p:grpSp>
      <p:sp>
        <p:nvSpPr>
          <p:cNvPr id="4" name="Rectangle 3">
            <a:extLst>
              <a:ext uri="{FF2B5EF4-FFF2-40B4-BE49-F238E27FC236}">
                <a16:creationId xmlns:a16="http://schemas.microsoft.com/office/drawing/2014/main" id="{68145FB6-A9DF-46E1-9EF9-5B412269D1E2}"/>
              </a:ext>
            </a:extLst>
          </p:cNvPr>
          <p:cNvSpPr/>
          <p:nvPr/>
        </p:nvSpPr>
        <p:spPr>
          <a:xfrm>
            <a:off x="3504129" y="3621523"/>
            <a:ext cx="3497998" cy="1477328"/>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Promote pulmonary hygiene and secretion clear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Monitor and manage pain and anxiety to avoid respiratory compromi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ncourage repositioning to maximize ventil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Monitor and manage fluid bala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ncourage activity and mobility per patient tolera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Monitor medication effects (e.g., inhaled, analgesic, anxiolytic).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 Anticipate need for additional respiratory support. </a:t>
            </a:r>
          </a:p>
        </p:txBody>
      </p:sp>
    </p:spTree>
    <p:extLst>
      <p:ext uri="{BB962C8B-B14F-4D97-AF65-F5344CB8AC3E}">
        <p14:creationId xmlns:p14="http://schemas.microsoft.com/office/powerpoint/2010/main" val="1275569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6" grpId="0"/>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7">
            <a:extLst>
              <a:ext uri="{FF2B5EF4-FFF2-40B4-BE49-F238E27FC236}">
                <a16:creationId xmlns:a16="http://schemas.microsoft.com/office/drawing/2014/main" id="{36D297A0-8F86-444B-8C6D-4BA8650DB4F7}"/>
              </a:ext>
            </a:extLst>
          </p:cNvPr>
          <p:cNvSpPr txBox="1"/>
          <p:nvPr/>
        </p:nvSpPr>
        <p:spPr>
          <a:xfrm>
            <a:off x="2772896" y="3581400"/>
            <a:ext cx="5151904" cy="709592"/>
          </a:xfrm>
          <a:prstGeom prst="rect">
            <a:avLst/>
          </a:prstGeom>
        </p:spPr>
        <p:txBody>
          <a:bodyPr wrap="square" lIns="0" tIns="8505" rIns="0" bIns="0" rtlCol="0">
            <a:no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Goal:</a:t>
            </a:r>
          </a:p>
          <a:p>
            <a:pPr marL="0" marR="0" lvl="0" indent="0" algn="l" defTabSz="642915" rtl="0" eaLnBrk="1" fontAlgn="auto" latinLnBrk="0" hangingPunct="1">
              <a:lnSpc>
                <a:spcPct val="100000"/>
              </a:lnSpc>
              <a:spcBef>
                <a:spcPts val="0"/>
              </a:spcBef>
              <a:spcAft>
                <a:spcPts val="0"/>
              </a:spcAft>
              <a:buClrTx/>
              <a:buSzTx/>
              <a:buFontTx/>
              <a:buNone/>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By transition of care the patient will achieve the following goal:</a:t>
            </a: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266"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42915" rtl="0" eaLnBrk="1" fontAlgn="auto" latinLnBrk="0" hangingPunct="1">
              <a:lnSpc>
                <a:spcPct val="100000"/>
              </a:lnSpc>
              <a:spcBef>
                <a:spcPts val="0"/>
              </a:spcBef>
              <a:spcAft>
                <a:spcPts val="0"/>
              </a:spcAft>
              <a:buClrTx/>
              <a:buSzTx/>
              <a:buFontTx/>
              <a:buNone/>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Effective Oxygenation &amp; Ventilation</a:t>
            </a:r>
          </a:p>
          <a:p>
            <a:pPr marL="8929" marR="23102" lvl="0" indent="0" algn="l" defTabSz="642915" rtl="0" eaLnBrk="1" fontAlgn="auto" latinLnBrk="0" hangingPunct="1">
              <a:lnSpc>
                <a:spcPct val="95825"/>
              </a:lnSpc>
              <a:spcBef>
                <a:spcPts val="70"/>
              </a:spcBef>
              <a:spcAft>
                <a:spcPts val="0"/>
              </a:spcAft>
              <a:buClrTx/>
              <a:buSzTx/>
              <a:buFontTx/>
              <a:buNone/>
              <a:tabLst/>
              <a:defRPr/>
            </a:pP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3102" lvl="0" indent="0" algn="l" defTabSz="642915" rtl="0" eaLnBrk="1" fontAlgn="auto" latinLnBrk="0" hangingPunct="1">
              <a:lnSpc>
                <a:spcPct val="95825"/>
              </a:lnSpc>
              <a:spcBef>
                <a:spcPts val="7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4" name="TextBox 3">
            <a:extLst>
              <a:ext uri="{FF2B5EF4-FFF2-40B4-BE49-F238E27FC236}">
                <a16:creationId xmlns:a16="http://schemas.microsoft.com/office/drawing/2014/main" id="{B1809880-5673-4F14-8333-638F0C41F585}"/>
              </a:ext>
            </a:extLst>
          </p:cNvPr>
          <p:cNvSpPr txBox="1"/>
          <p:nvPr/>
        </p:nvSpPr>
        <p:spPr>
          <a:xfrm>
            <a:off x="6286499" y="4933039"/>
            <a:ext cx="2786063" cy="871521"/>
          </a:xfrm>
          <a:prstGeom prst="rect">
            <a:avLst/>
          </a:prstGeom>
          <a:solidFill>
            <a:schemeClr val="bg1"/>
          </a:solidFill>
        </p:spPr>
        <p:txBody>
          <a:bodyPr wrap="square" rtlCol="0">
            <a:spAutoFit/>
          </a:bodyPr>
          <a:lstStyle/>
          <a:p>
            <a:pPr marL="65168" marR="0" lvl="0" indent="-200911" algn="l" defTabSz="642915"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airway patency maintained   </a:t>
            </a:r>
          </a:p>
          <a:p>
            <a:pPr marL="65168" marR="0" lvl="0" indent="-200911" algn="l" defTabSz="642915"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calming measures promoted   </a:t>
            </a:r>
          </a:p>
          <a:p>
            <a:pPr marL="65168" marR="0" lvl="0" indent="-200911" algn="l" defTabSz="642915"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humidification applied   </a:t>
            </a:r>
          </a:p>
          <a:p>
            <a:pPr marL="65168" marR="0" lvl="0" indent="-200911" algn="l" defTabSz="642915"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pulmonary hygiene promoted </a:t>
            </a:r>
          </a:p>
        </p:txBody>
      </p:sp>
      <p:sp>
        <p:nvSpPr>
          <p:cNvPr id="27" name="object 27"/>
          <p:cNvSpPr/>
          <p:nvPr/>
        </p:nvSpPr>
        <p:spPr>
          <a:xfrm>
            <a:off x="7197328" y="273013"/>
            <a:ext cx="202266" cy="219938"/>
          </a:xfrm>
          <a:custGeom>
            <a:avLst/>
            <a:gdLst/>
            <a:ahLst/>
            <a:cxnLst/>
            <a:rect l="l" t="t" r="r" b="b"/>
            <a:pathLst>
              <a:path w="287667" h="312801">
                <a:moveTo>
                  <a:pt x="279527" y="232981"/>
                </a:moveTo>
                <a:lnTo>
                  <a:pt x="276916" y="240546"/>
                </a:lnTo>
                <a:lnTo>
                  <a:pt x="271028" y="253498"/>
                </a:lnTo>
                <a:lnTo>
                  <a:pt x="263732" y="264989"/>
                </a:lnTo>
                <a:lnTo>
                  <a:pt x="255011" y="274826"/>
                </a:lnTo>
                <a:lnTo>
                  <a:pt x="244844" y="282815"/>
                </a:lnTo>
                <a:lnTo>
                  <a:pt x="233214" y="288761"/>
                </a:lnTo>
                <a:lnTo>
                  <a:pt x="220100" y="292471"/>
                </a:lnTo>
                <a:lnTo>
                  <a:pt x="205486" y="293750"/>
                </a:lnTo>
                <a:lnTo>
                  <a:pt x="114566" y="293750"/>
                </a:lnTo>
                <a:lnTo>
                  <a:pt x="107728" y="293248"/>
                </a:lnTo>
                <a:lnTo>
                  <a:pt x="97959" y="288007"/>
                </a:lnTo>
                <a:lnTo>
                  <a:pt x="93852" y="275935"/>
                </a:lnTo>
                <a:lnTo>
                  <a:pt x="93014" y="255638"/>
                </a:lnTo>
                <a:lnTo>
                  <a:pt x="93014" y="157327"/>
                </a:lnTo>
                <a:lnTo>
                  <a:pt x="183959" y="157327"/>
                </a:lnTo>
                <a:lnTo>
                  <a:pt x="196111" y="158269"/>
                </a:lnTo>
                <a:lnTo>
                  <a:pt x="208856" y="162758"/>
                </a:lnTo>
                <a:lnTo>
                  <a:pt x="217578" y="171143"/>
                </a:lnTo>
                <a:lnTo>
                  <a:pt x="222963" y="183638"/>
                </a:lnTo>
                <a:lnTo>
                  <a:pt x="225691" y="200456"/>
                </a:lnTo>
                <a:lnTo>
                  <a:pt x="234276" y="200456"/>
                </a:lnTo>
                <a:lnTo>
                  <a:pt x="234276" y="95199"/>
                </a:lnTo>
                <a:lnTo>
                  <a:pt x="225691" y="95199"/>
                </a:lnTo>
                <a:lnTo>
                  <a:pt x="223826" y="107933"/>
                </a:lnTo>
                <a:lnTo>
                  <a:pt x="219273" y="121643"/>
                </a:lnTo>
                <a:lnTo>
                  <a:pt x="211670" y="131078"/>
                </a:lnTo>
                <a:lnTo>
                  <a:pt x="200178" y="136526"/>
                </a:lnTo>
                <a:lnTo>
                  <a:pt x="183959" y="138277"/>
                </a:lnTo>
                <a:lnTo>
                  <a:pt x="93014" y="138277"/>
                </a:lnTo>
                <a:lnTo>
                  <a:pt x="93014" y="50723"/>
                </a:lnTo>
                <a:lnTo>
                  <a:pt x="93622" y="31657"/>
                </a:lnTo>
                <a:lnTo>
                  <a:pt x="98530" y="21623"/>
                </a:lnTo>
                <a:lnTo>
                  <a:pt x="112407" y="19100"/>
                </a:lnTo>
                <a:lnTo>
                  <a:pt x="195286" y="19103"/>
                </a:lnTo>
                <a:lnTo>
                  <a:pt x="211403" y="20210"/>
                </a:lnTo>
                <a:lnTo>
                  <a:pt x="224822" y="23609"/>
                </a:lnTo>
                <a:lnTo>
                  <a:pt x="235629" y="29719"/>
                </a:lnTo>
                <a:lnTo>
                  <a:pt x="243912" y="38959"/>
                </a:lnTo>
                <a:lnTo>
                  <a:pt x="249756" y="51747"/>
                </a:lnTo>
                <a:lnTo>
                  <a:pt x="253250" y="68503"/>
                </a:lnTo>
                <a:lnTo>
                  <a:pt x="261886" y="68503"/>
                </a:lnTo>
                <a:lnTo>
                  <a:pt x="257987" y="0"/>
                </a:lnTo>
                <a:lnTo>
                  <a:pt x="0" y="0"/>
                </a:lnTo>
                <a:lnTo>
                  <a:pt x="0" y="9016"/>
                </a:lnTo>
                <a:lnTo>
                  <a:pt x="1410" y="9021"/>
                </a:lnTo>
                <a:lnTo>
                  <a:pt x="18919" y="10203"/>
                </a:lnTo>
                <a:lnTo>
                  <a:pt x="31711" y="14202"/>
                </a:lnTo>
                <a:lnTo>
                  <a:pt x="40261" y="22059"/>
                </a:lnTo>
                <a:lnTo>
                  <a:pt x="45044" y="34817"/>
                </a:lnTo>
                <a:lnTo>
                  <a:pt x="46532" y="53517"/>
                </a:lnTo>
                <a:lnTo>
                  <a:pt x="46527" y="260779"/>
                </a:lnTo>
                <a:lnTo>
                  <a:pt x="44838" y="279017"/>
                </a:lnTo>
                <a:lnTo>
                  <a:pt x="39817" y="291402"/>
                </a:lnTo>
                <a:lnTo>
                  <a:pt x="30988" y="298970"/>
                </a:lnTo>
                <a:lnTo>
                  <a:pt x="17874" y="302752"/>
                </a:lnTo>
                <a:lnTo>
                  <a:pt x="0" y="303783"/>
                </a:lnTo>
                <a:lnTo>
                  <a:pt x="0" y="312800"/>
                </a:lnTo>
                <a:lnTo>
                  <a:pt x="264439" y="312800"/>
                </a:lnTo>
                <a:lnTo>
                  <a:pt x="287667"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object 28"/>
          <p:cNvSpPr/>
          <p:nvPr/>
        </p:nvSpPr>
        <p:spPr>
          <a:xfrm>
            <a:off x="7397748" y="273013"/>
            <a:ext cx="192604" cy="219938"/>
          </a:xfrm>
          <a:custGeom>
            <a:avLst/>
            <a:gdLst/>
            <a:ahLst/>
            <a:cxnLst/>
            <a:rect l="l" t="t" r="r" b="b"/>
            <a:pathLst>
              <a:path w="273926" h="312801">
                <a:moveTo>
                  <a:pt x="263626" y="230720"/>
                </a:moveTo>
                <a:lnTo>
                  <a:pt x="254350" y="250108"/>
                </a:lnTo>
                <a:lnTo>
                  <a:pt x="246935" y="261900"/>
                </a:lnTo>
                <a:lnTo>
                  <a:pt x="238716" y="271780"/>
                </a:lnTo>
                <a:lnTo>
                  <a:pt x="229476" y="279784"/>
                </a:lnTo>
                <a:lnTo>
                  <a:pt x="218997" y="285948"/>
                </a:lnTo>
                <a:lnTo>
                  <a:pt x="207064" y="290306"/>
                </a:lnTo>
                <a:lnTo>
                  <a:pt x="193459" y="292895"/>
                </a:lnTo>
                <a:lnTo>
                  <a:pt x="177965" y="293750"/>
                </a:lnTo>
                <a:lnTo>
                  <a:pt x="116319" y="293750"/>
                </a:lnTo>
                <a:lnTo>
                  <a:pt x="103518" y="291860"/>
                </a:lnTo>
                <a:lnTo>
                  <a:pt x="94331" y="284253"/>
                </a:lnTo>
                <a:lnTo>
                  <a:pt x="90713" y="271286"/>
                </a:lnTo>
                <a:lnTo>
                  <a:pt x="90081" y="253466"/>
                </a:lnTo>
                <a:lnTo>
                  <a:pt x="90087" y="52028"/>
                </a:lnTo>
                <a:lnTo>
                  <a:pt x="91780" y="33763"/>
                </a:lnTo>
                <a:lnTo>
                  <a:pt x="96794" y="21372"/>
                </a:lnTo>
                <a:lnTo>
                  <a:pt x="105612" y="13812"/>
                </a:lnTo>
                <a:lnTo>
                  <a:pt x="118716" y="10042"/>
                </a:lnTo>
                <a:lnTo>
                  <a:pt x="136588" y="9016"/>
                </a:lnTo>
                <a:lnTo>
                  <a:pt x="136588" y="0"/>
                </a:lnTo>
                <a:lnTo>
                  <a:pt x="0" y="0"/>
                </a:lnTo>
                <a:lnTo>
                  <a:pt x="0" y="9016"/>
                </a:lnTo>
                <a:lnTo>
                  <a:pt x="14966" y="10511"/>
                </a:lnTo>
                <a:lnTo>
                  <a:pt x="28155" y="14358"/>
                </a:lnTo>
                <a:lnTo>
                  <a:pt x="37006" y="21749"/>
                </a:lnTo>
                <a:lnTo>
                  <a:pt x="41980" y="34041"/>
                </a:lnTo>
                <a:lnTo>
                  <a:pt x="43535" y="52590"/>
                </a:lnTo>
                <a:lnTo>
                  <a:pt x="43535" y="260261"/>
                </a:lnTo>
                <a:lnTo>
                  <a:pt x="42426" y="276421"/>
                </a:lnTo>
                <a:lnTo>
                  <a:pt x="37999" y="289580"/>
                </a:lnTo>
                <a:lnTo>
                  <a:pt x="29760" y="297621"/>
                </a:lnTo>
                <a:lnTo>
                  <a:pt x="17247" y="301903"/>
                </a:lnTo>
                <a:lnTo>
                  <a:pt x="0" y="303783"/>
                </a:lnTo>
                <a:lnTo>
                  <a:pt x="0" y="312800"/>
                </a:lnTo>
                <a:lnTo>
                  <a:pt x="247650" y="312800"/>
                </a:lnTo>
                <a:lnTo>
                  <a:pt x="273926" y="232625"/>
                </a:lnTo>
                <a:lnTo>
                  <a:pt x="263626" y="23072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bject 29"/>
          <p:cNvSpPr/>
          <p:nvPr/>
        </p:nvSpPr>
        <p:spPr>
          <a:xfrm>
            <a:off x="7595780" y="267888"/>
            <a:ext cx="141160" cy="230162"/>
          </a:xfrm>
          <a:custGeom>
            <a:avLst/>
            <a:gdLst/>
            <a:ahLst/>
            <a:cxnLst/>
            <a:rect l="l" t="t" r="r" b="b"/>
            <a:pathLst>
              <a:path w="200761" h="327342">
                <a:moveTo>
                  <a:pt x="10321" y="68942"/>
                </a:moveTo>
                <a:lnTo>
                  <a:pt x="9067" y="84797"/>
                </a:lnTo>
                <a:lnTo>
                  <a:pt x="9094" y="86841"/>
                </a:lnTo>
                <a:lnTo>
                  <a:pt x="10343" y="98306"/>
                </a:lnTo>
                <a:lnTo>
                  <a:pt x="13392" y="108843"/>
                </a:lnTo>
                <a:lnTo>
                  <a:pt x="18155" y="118652"/>
                </a:lnTo>
                <a:lnTo>
                  <a:pt x="24544" y="127932"/>
                </a:lnTo>
                <a:lnTo>
                  <a:pt x="32474" y="136881"/>
                </a:lnTo>
                <a:lnTo>
                  <a:pt x="41858" y="145698"/>
                </a:lnTo>
                <a:lnTo>
                  <a:pt x="52609" y="154583"/>
                </a:lnTo>
                <a:lnTo>
                  <a:pt x="64641" y="163733"/>
                </a:lnTo>
                <a:lnTo>
                  <a:pt x="77867" y="173349"/>
                </a:lnTo>
                <a:lnTo>
                  <a:pt x="92202" y="183629"/>
                </a:lnTo>
                <a:lnTo>
                  <a:pt x="104017" y="192251"/>
                </a:lnTo>
                <a:lnTo>
                  <a:pt x="117107" y="202385"/>
                </a:lnTo>
                <a:lnTo>
                  <a:pt x="128553" y="212154"/>
                </a:lnTo>
                <a:lnTo>
                  <a:pt x="138219" y="221667"/>
                </a:lnTo>
                <a:lnTo>
                  <a:pt x="145972" y="231033"/>
                </a:lnTo>
                <a:lnTo>
                  <a:pt x="151675" y="240363"/>
                </a:lnTo>
                <a:lnTo>
                  <a:pt x="155196" y="249764"/>
                </a:lnTo>
                <a:lnTo>
                  <a:pt x="156400" y="259346"/>
                </a:lnTo>
                <a:lnTo>
                  <a:pt x="154334" y="274067"/>
                </a:lnTo>
                <a:lnTo>
                  <a:pt x="148555" y="286590"/>
                </a:lnTo>
                <a:lnTo>
                  <a:pt x="139643" y="296736"/>
                </a:lnTo>
                <a:lnTo>
                  <a:pt x="128181" y="304271"/>
                </a:lnTo>
                <a:lnTo>
                  <a:pt x="114751" y="308962"/>
                </a:lnTo>
                <a:lnTo>
                  <a:pt x="99936" y="310578"/>
                </a:lnTo>
                <a:lnTo>
                  <a:pt x="89934" y="309904"/>
                </a:lnTo>
                <a:lnTo>
                  <a:pt x="76906" y="306822"/>
                </a:lnTo>
                <a:lnTo>
                  <a:pt x="65028" y="301521"/>
                </a:lnTo>
                <a:lnTo>
                  <a:pt x="54235" y="294302"/>
                </a:lnTo>
                <a:lnTo>
                  <a:pt x="44462" y="285468"/>
                </a:lnTo>
                <a:lnTo>
                  <a:pt x="35645" y="275322"/>
                </a:lnTo>
                <a:lnTo>
                  <a:pt x="27718" y="264166"/>
                </a:lnTo>
                <a:lnTo>
                  <a:pt x="20618" y="252302"/>
                </a:lnTo>
                <a:lnTo>
                  <a:pt x="14278" y="240032"/>
                </a:lnTo>
                <a:lnTo>
                  <a:pt x="8636" y="227660"/>
                </a:lnTo>
                <a:lnTo>
                  <a:pt x="0" y="227660"/>
                </a:lnTo>
                <a:lnTo>
                  <a:pt x="16802" y="324192"/>
                </a:lnTo>
                <a:lnTo>
                  <a:pt x="25463" y="324192"/>
                </a:lnTo>
                <a:lnTo>
                  <a:pt x="26352" y="317449"/>
                </a:lnTo>
                <a:lnTo>
                  <a:pt x="31876" y="314299"/>
                </a:lnTo>
                <a:lnTo>
                  <a:pt x="37096" y="314299"/>
                </a:lnTo>
                <a:lnTo>
                  <a:pt x="41516" y="314915"/>
                </a:lnTo>
                <a:lnTo>
                  <a:pt x="50668" y="317201"/>
                </a:lnTo>
                <a:lnTo>
                  <a:pt x="62825" y="320407"/>
                </a:lnTo>
                <a:lnTo>
                  <a:pt x="77157" y="323713"/>
                </a:lnTo>
                <a:lnTo>
                  <a:pt x="92835" y="326298"/>
                </a:lnTo>
                <a:lnTo>
                  <a:pt x="109029" y="327342"/>
                </a:lnTo>
                <a:lnTo>
                  <a:pt x="109480" y="327341"/>
                </a:lnTo>
                <a:lnTo>
                  <a:pt x="124538" y="326156"/>
                </a:lnTo>
                <a:lnTo>
                  <a:pt x="138729" y="322841"/>
                </a:lnTo>
                <a:lnTo>
                  <a:pt x="151884" y="317559"/>
                </a:lnTo>
                <a:lnTo>
                  <a:pt x="163836" y="310469"/>
                </a:lnTo>
                <a:lnTo>
                  <a:pt x="174413" y="301732"/>
                </a:lnTo>
                <a:lnTo>
                  <a:pt x="183447" y="291509"/>
                </a:lnTo>
                <a:lnTo>
                  <a:pt x="190768" y="279961"/>
                </a:lnTo>
                <a:lnTo>
                  <a:pt x="196207" y="267249"/>
                </a:lnTo>
                <a:lnTo>
                  <a:pt x="199594" y="253534"/>
                </a:lnTo>
                <a:lnTo>
                  <a:pt x="200761" y="238975"/>
                </a:lnTo>
                <a:lnTo>
                  <a:pt x="200208" y="229802"/>
                </a:lnTo>
                <a:lnTo>
                  <a:pt x="197518" y="217185"/>
                </a:lnTo>
                <a:lnTo>
                  <a:pt x="192813" y="205469"/>
                </a:lnTo>
                <a:lnTo>
                  <a:pt x="186339" y="194585"/>
                </a:lnTo>
                <a:lnTo>
                  <a:pt x="178341" y="184463"/>
                </a:lnTo>
                <a:lnTo>
                  <a:pt x="169065" y="175032"/>
                </a:lnTo>
                <a:lnTo>
                  <a:pt x="158755" y="166225"/>
                </a:lnTo>
                <a:lnTo>
                  <a:pt x="147657" y="157969"/>
                </a:lnTo>
                <a:lnTo>
                  <a:pt x="136016" y="150196"/>
                </a:lnTo>
                <a:lnTo>
                  <a:pt x="124079" y="142836"/>
                </a:lnTo>
                <a:lnTo>
                  <a:pt x="114617" y="137112"/>
                </a:lnTo>
                <a:lnTo>
                  <a:pt x="99689" y="127857"/>
                </a:lnTo>
                <a:lnTo>
                  <a:pt x="86381" y="119077"/>
                </a:lnTo>
                <a:lnTo>
                  <a:pt x="74808" y="110584"/>
                </a:lnTo>
                <a:lnTo>
                  <a:pt x="65084" y="102185"/>
                </a:lnTo>
                <a:lnTo>
                  <a:pt x="57322" y="93693"/>
                </a:lnTo>
                <a:lnTo>
                  <a:pt x="51636" y="84916"/>
                </a:lnTo>
                <a:lnTo>
                  <a:pt x="48142" y="75664"/>
                </a:lnTo>
                <a:lnTo>
                  <a:pt x="46951" y="65747"/>
                </a:lnTo>
                <a:lnTo>
                  <a:pt x="47315" y="59506"/>
                </a:lnTo>
                <a:lnTo>
                  <a:pt x="51053" y="45528"/>
                </a:lnTo>
                <a:lnTo>
                  <a:pt x="58334" y="33757"/>
                </a:lnTo>
                <a:lnTo>
                  <a:pt x="68536" y="24710"/>
                </a:lnTo>
                <a:lnTo>
                  <a:pt x="81036" y="18903"/>
                </a:lnTo>
                <a:lnTo>
                  <a:pt x="95211" y="16852"/>
                </a:lnTo>
                <a:lnTo>
                  <a:pt x="95535" y="16853"/>
                </a:lnTo>
                <a:lnTo>
                  <a:pt x="109355" y="18312"/>
                </a:lnTo>
                <a:lnTo>
                  <a:pt x="121957" y="22352"/>
                </a:lnTo>
                <a:lnTo>
                  <a:pt x="133357" y="28658"/>
                </a:lnTo>
                <a:lnTo>
                  <a:pt x="143574" y="36919"/>
                </a:lnTo>
                <a:lnTo>
                  <a:pt x="152623" y="46820"/>
                </a:lnTo>
                <a:lnTo>
                  <a:pt x="160524" y="58051"/>
                </a:lnTo>
                <a:lnTo>
                  <a:pt x="167294" y="70297"/>
                </a:lnTo>
                <a:lnTo>
                  <a:pt x="172949" y="83245"/>
                </a:lnTo>
                <a:lnTo>
                  <a:pt x="177507" y="96583"/>
                </a:lnTo>
                <a:lnTo>
                  <a:pt x="186093" y="96583"/>
                </a:lnTo>
                <a:lnTo>
                  <a:pt x="176225" y="3314"/>
                </a:lnTo>
                <a:lnTo>
                  <a:pt x="167627" y="3314"/>
                </a:lnTo>
                <a:lnTo>
                  <a:pt x="168846" y="10477"/>
                </a:lnTo>
                <a:lnTo>
                  <a:pt x="167627" y="14592"/>
                </a:lnTo>
                <a:lnTo>
                  <a:pt x="158018" y="14521"/>
                </a:lnTo>
                <a:lnTo>
                  <a:pt x="148019" y="12591"/>
                </a:lnTo>
                <a:lnTo>
                  <a:pt x="137982" y="8937"/>
                </a:lnTo>
                <a:lnTo>
                  <a:pt x="126710" y="4796"/>
                </a:lnTo>
                <a:lnTo>
                  <a:pt x="113009" y="1405"/>
                </a:lnTo>
                <a:lnTo>
                  <a:pt x="95681" y="0"/>
                </a:lnTo>
                <a:lnTo>
                  <a:pt x="87648" y="311"/>
                </a:lnTo>
                <a:lnTo>
                  <a:pt x="73426" y="2477"/>
                </a:lnTo>
                <a:lnTo>
                  <a:pt x="60081" y="6636"/>
                </a:lnTo>
                <a:lnTo>
                  <a:pt x="47824" y="12709"/>
                </a:lnTo>
                <a:lnTo>
                  <a:pt x="36869" y="20614"/>
                </a:lnTo>
                <a:lnTo>
                  <a:pt x="27428" y="30271"/>
                </a:lnTo>
                <a:lnTo>
                  <a:pt x="19714" y="41598"/>
                </a:lnTo>
                <a:lnTo>
                  <a:pt x="13941" y="54516"/>
                </a:lnTo>
                <a:lnTo>
                  <a:pt x="10321" y="68942"/>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bject 30"/>
          <p:cNvSpPr/>
          <p:nvPr/>
        </p:nvSpPr>
        <p:spPr>
          <a:xfrm>
            <a:off x="7737814" y="273013"/>
            <a:ext cx="202338" cy="219938"/>
          </a:xfrm>
          <a:custGeom>
            <a:avLst/>
            <a:gdLst/>
            <a:ahLst/>
            <a:cxnLst/>
            <a:rect l="l" t="t" r="r" b="b"/>
            <a:pathLst>
              <a:path w="287769" h="312801">
                <a:moveTo>
                  <a:pt x="279552" y="232981"/>
                </a:moveTo>
                <a:lnTo>
                  <a:pt x="276943" y="240536"/>
                </a:lnTo>
                <a:lnTo>
                  <a:pt x="271058" y="253490"/>
                </a:lnTo>
                <a:lnTo>
                  <a:pt x="263768" y="264984"/>
                </a:lnTo>
                <a:lnTo>
                  <a:pt x="255054" y="274822"/>
                </a:lnTo>
                <a:lnTo>
                  <a:pt x="244894" y="282812"/>
                </a:lnTo>
                <a:lnTo>
                  <a:pt x="233266" y="288760"/>
                </a:lnTo>
                <a:lnTo>
                  <a:pt x="220150" y="292470"/>
                </a:lnTo>
                <a:lnTo>
                  <a:pt x="205524" y="293750"/>
                </a:lnTo>
                <a:lnTo>
                  <a:pt x="114617" y="293750"/>
                </a:lnTo>
                <a:lnTo>
                  <a:pt x="107743" y="293243"/>
                </a:lnTo>
                <a:lnTo>
                  <a:pt x="97971" y="287995"/>
                </a:lnTo>
                <a:lnTo>
                  <a:pt x="93848" y="275924"/>
                </a:lnTo>
                <a:lnTo>
                  <a:pt x="93002" y="255638"/>
                </a:lnTo>
                <a:lnTo>
                  <a:pt x="93002" y="157327"/>
                </a:lnTo>
                <a:lnTo>
                  <a:pt x="183972" y="157327"/>
                </a:lnTo>
                <a:lnTo>
                  <a:pt x="196132" y="158270"/>
                </a:lnTo>
                <a:lnTo>
                  <a:pt x="208870" y="162761"/>
                </a:lnTo>
                <a:lnTo>
                  <a:pt x="217590" y="171146"/>
                </a:lnTo>
                <a:lnTo>
                  <a:pt x="222977" y="183640"/>
                </a:lnTo>
                <a:lnTo>
                  <a:pt x="225717" y="200456"/>
                </a:lnTo>
                <a:lnTo>
                  <a:pt x="234302" y="200456"/>
                </a:lnTo>
                <a:lnTo>
                  <a:pt x="234302" y="95199"/>
                </a:lnTo>
                <a:lnTo>
                  <a:pt x="225717" y="95199"/>
                </a:lnTo>
                <a:lnTo>
                  <a:pt x="223839" y="107942"/>
                </a:lnTo>
                <a:lnTo>
                  <a:pt x="219288" y="121649"/>
                </a:lnTo>
                <a:lnTo>
                  <a:pt x="211694" y="131080"/>
                </a:lnTo>
                <a:lnTo>
                  <a:pt x="200206" y="136526"/>
                </a:lnTo>
                <a:lnTo>
                  <a:pt x="183972" y="138277"/>
                </a:lnTo>
                <a:lnTo>
                  <a:pt x="93002" y="138277"/>
                </a:lnTo>
                <a:lnTo>
                  <a:pt x="93002" y="50723"/>
                </a:lnTo>
                <a:lnTo>
                  <a:pt x="93614" y="31635"/>
                </a:lnTo>
                <a:lnTo>
                  <a:pt x="98538" y="21619"/>
                </a:lnTo>
                <a:lnTo>
                  <a:pt x="112445" y="19100"/>
                </a:lnTo>
                <a:lnTo>
                  <a:pt x="195307" y="19104"/>
                </a:lnTo>
                <a:lnTo>
                  <a:pt x="211444" y="20221"/>
                </a:lnTo>
                <a:lnTo>
                  <a:pt x="224871" y="23628"/>
                </a:lnTo>
                <a:lnTo>
                  <a:pt x="235677" y="29742"/>
                </a:lnTo>
                <a:lnTo>
                  <a:pt x="243952" y="38981"/>
                </a:lnTo>
                <a:lnTo>
                  <a:pt x="249784" y="51762"/>
                </a:lnTo>
                <a:lnTo>
                  <a:pt x="253263" y="68503"/>
                </a:lnTo>
                <a:lnTo>
                  <a:pt x="261861" y="68503"/>
                </a:lnTo>
                <a:lnTo>
                  <a:pt x="258025" y="0"/>
                </a:lnTo>
                <a:lnTo>
                  <a:pt x="0" y="0"/>
                </a:lnTo>
                <a:lnTo>
                  <a:pt x="0" y="9016"/>
                </a:lnTo>
                <a:lnTo>
                  <a:pt x="1382" y="9021"/>
                </a:lnTo>
                <a:lnTo>
                  <a:pt x="18909" y="10200"/>
                </a:lnTo>
                <a:lnTo>
                  <a:pt x="31704" y="14197"/>
                </a:lnTo>
                <a:lnTo>
                  <a:pt x="40248" y="22053"/>
                </a:lnTo>
                <a:lnTo>
                  <a:pt x="45022" y="34812"/>
                </a:lnTo>
                <a:lnTo>
                  <a:pt x="46507" y="53517"/>
                </a:lnTo>
                <a:lnTo>
                  <a:pt x="46501" y="260748"/>
                </a:lnTo>
                <a:lnTo>
                  <a:pt x="44822" y="278999"/>
                </a:lnTo>
                <a:lnTo>
                  <a:pt x="39815" y="291394"/>
                </a:lnTo>
                <a:lnTo>
                  <a:pt x="30996" y="298967"/>
                </a:lnTo>
                <a:lnTo>
                  <a:pt x="17886" y="302752"/>
                </a:lnTo>
                <a:lnTo>
                  <a:pt x="0" y="303783"/>
                </a:lnTo>
                <a:lnTo>
                  <a:pt x="0" y="312800"/>
                </a:lnTo>
                <a:lnTo>
                  <a:pt x="264502" y="312800"/>
                </a:lnTo>
                <a:lnTo>
                  <a:pt x="287769" y="236232"/>
                </a:lnTo>
                <a:lnTo>
                  <a:pt x="279552"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object 31"/>
          <p:cNvSpPr/>
          <p:nvPr/>
        </p:nvSpPr>
        <p:spPr>
          <a:xfrm>
            <a:off x="7923469" y="273014"/>
            <a:ext cx="228341" cy="222528"/>
          </a:xfrm>
          <a:custGeom>
            <a:avLst/>
            <a:gdLst/>
            <a:ahLst/>
            <a:cxnLst/>
            <a:rect l="l" t="t" r="r" b="b"/>
            <a:pathLst>
              <a:path w="324751" h="316484">
                <a:moveTo>
                  <a:pt x="91997" y="24011"/>
                </a:moveTo>
                <a:lnTo>
                  <a:pt x="99871" y="13459"/>
                </a:lnTo>
                <a:lnTo>
                  <a:pt x="114130" y="9572"/>
                </a:lnTo>
                <a:lnTo>
                  <a:pt x="127977" y="9016"/>
                </a:lnTo>
                <a:lnTo>
                  <a:pt x="127977" y="0"/>
                </a:lnTo>
                <a:lnTo>
                  <a:pt x="0" y="0"/>
                </a:lnTo>
                <a:lnTo>
                  <a:pt x="0" y="9016"/>
                </a:lnTo>
                <a:lnTo>
                  <a:pt x="2948" y="9122"/>
                </a:lnTo>
                <a:lnTo>
                  <a:pt x="15857" y="12204"/>
                </a:lnTo>
                <a:lnTo>
                  <a:pt x="26953" y="19165"/>
                </a:lnTo>
                <a:lnTo>
                  <a:pt x="35356" y="29476"/>
                </a:lnTo>
                <a:lnTo>
                  <a:pt x="42551" y="42746"/>
                </a:lnTo>
                <a:lnTo>
                  <a:pt x="48256" y="54127"/>
                </a:lnTo>
                <a:lnTo>
                  <a:pt x="53680" y="65620"/>
                </a:lnTo>
                <a:lnTo>
                  <a:pt x="58887" y="77198"/>
                </a:lnTo>
                <a:lnTo>
                  <a:pt x="63944" y="88835"/>
                </a:lnTo>
                <a:lnTo>
                  <a:pt x="68916" y="100505"/>
                </a:lnTo>
                <a:lnTo>
                  <a:pt x="73868" y="112181"/>
                </a:lnTo>
                <a:lnTo>
                  <a:pt x="78866" y="123837"/>
                </a:lnTo>
                <a:lnTo>
                  <a:pt x="161975" y="316483"/>
                </a:lnTo>
                <a:lnTo>
                  <a:pt x="168401" y="316483"/>
                </a:lnTo>
                <a:lnTo>
                  <a:pt x="268338" y="86550"/>
                </a:lnTo>
                <a:lnTo>
                  <a:pt x="270549" y="81247"/>
                </a:lnTo>
                <a:lnTo>
                  <a:pt x="275260" y="69665"/>
                </a:lnTo>
                <a:lnTo>
                  <a:pt x="280885" y="56348"/>
                </a:lnTo>
                <a:lnTo>
                  <a:pt x="287239" y="42690"/>
                </a:lnTo>
                <a:lnTo>
                  <a:pt x="294141" y="30083"/>
                </a:lnTo>
                <a:lnTo>
                  <a:pt x="301406" y="19918"/>
                </a:lnTo>
                <a:lnTo>
                  <a:pt x="308851" y="13588"/>
                </a:lnTo>
                <a:lnTo>
                  <a:pt x="314007" y="10883"/>
                </a:lnTo>
                <a:lnTo>
                  <a:pt x="319557" y="10020"/>
                </a:lnTo>
                <a:lnTo>
                  <a:pt x="324751" y="9016"/>
                </a:lnTo>
                <a:lnTo>
                  <a:pt x="324751" y="0"/>
                </a:lnTo>
                <a:lnTo>
                  <a:pt x="233476" y="0"/>
                </a:lnTo>
                <a:lnTo>
                  <a:pt x="233476" y="9016"/>
                </a:lnTo>
                <a:lnTo>
                  <a:pt x="250754" y="11440"/>
                </a:lnTo>
                <a:lnTo>
                  <a:pt x="262460" y="16957"/>
                </a:lnTo>
                <a:lnTo>
                  <a:pt x="266280" y="25387"/>
                </a:lnTo>
                <a:lnTo>
                  <a:pt x="266156" y="28939"/>
                </a:lnTo>
                <a:lnTo>
                  <a:pt x="264646" y="38693"/>
                </a:lnTo>
                <a:lnTo>
                  <a:pt x="260974" y="51036"/>
                </a:lnTo>
                <a:lnTo>
                  <a:pt x="254584" y="67132"/>
                </a:lnTo>
                <a:lnTo>
                  <a:pt x="179616" y="241617"/>
                </a:lnTo>
                <a:lnTo>
                  <a:pt x="117182" y="92976"/>
                </a:lnTo>
                <a:lnTo>
                  <a:pt x="113376" y="83986"/>
                </a:lnTo>
                <a:lnTo>
                  <a:pt x="106936" y="68608"/>
                </a:lnTo>
                <a:lnTo>
                  <a:pt x="101056" y="54194"/>
                </a:lnTo>
                <a:lnTo>
                  <a:pt x="96237" y="41751"/>
                </a:lnTo>
                <a:lnTo>
                  <a:pt x="92979" y="32283"/>
                </a:lnTo>
                <a:lnTo>
                  <a:pt x="91782" y="26796"/>
                </a:lnTo>
                <a:lnTo>
                  <a:pt x="91997" y="2401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object 32"/>
          <p:cNvSpPr/>
          <p:nvPr/>
        </p:nvSpPr>
        <p:spPr>
          <a:xfrm>
            <a:off x="8153924" y="273013"/>
            <a:ext cx="98146" cy="219938"/>
          </a:xfrm>
          <a:custGeom>
            <a:avLst/>
            <a:gdLst/>
            <a:ahLst/>
            <a:cxnLst/>
            <a:rect l="l" t="t" r="r" b="b"/>
            <a:pathLst>
              <a:path w="139585" h="312801">
                <a:moveTo>
                  <a:pt x="46570" y="259397"/>
                </a:moveTo>
                <a:lnTo>
                  <a:pt x="44869" y="279043"/>
                </a:lnTo>
                <a:lnTo>
                  <a:pt x="39840" y="291415"/>
                </a:lnTo>
                <a:lnTo>
                  <a:pt x="31003" y="298975"/>
                </a:lnTo>
                <a:lnTo>
                  <a:pt x="17881" y="302753"/>
                </a:lnTo>
                <a:lnTo>
                  <a:pt x="0" y="303783"/>
                </a:lnTo>
                <a:lnTo>
                  <a:pt x="0" y="312800"/>
                </a:lnTo>
                <a:lnTo>
                  <a:pt x="139585" y="312800"/>
                </a:lnTo>
                <a:lnTo>
                  <a:pt x="139585" y="303783"/>
                </a:lnTo>
                <a:lnTo>
                  <a:pt x="138180" y="303779"/>
                </a:lnTo>
                <a:lnTo>
                  <a:pt x="120634" y="302594"/>
                </a:lnTo>
                <a:lnTo>
                  <a:pt x="107812" y="298593"/>
                </a:lnTo>
                <a:lnTo>
                  <a:pt x="99240" y="290746"/>
                </a:lnTo>
                <a:lnTo>
                  <a:pt x="94444" y="278024"/>
                </a:lnTo>
                <a:lnTo>
                  <a:pt x="92951" y="259397"/>
                </a:lnTo>
                <a:lnTo>
                  <a:pt x="92959" y="51875"/>
                </a:lnTo>
                <a:lnTo>
                  <a:pt x="94681" y="33676"/>
                </a:lnTo>
                <a:lnTo>
                  <a:pt x="99733" y="21330"/>
                </a:lnTo>
                <a:lnTo>
                  <a:pt x="108586" y="13797"/>
                </a:lnTo>
                <a:lnTo>
                  <a:pt x="121713" y="10038"/>
                </a:lnTo>
                <a:lnTo>
                  <a:pt x="139585" y="9016"/>
                </a:lnTo>
                <a:lnTo>
                  <a:pt x="139585" y="0"/>
                </a:lnTo>
                <a:lnTo>
                  <a:pt x="0" y="0"/>
                </a:lnTo>
                <a:lnTo>
                  <a:pt x="0" y="9016"/>
                </a:lnTo>
                <a:lnTo>
                  <a:pt x="1454" y="9021"/>
                </a:lnTo>
                <a:lnTo>
                  <a:pt x="18959" y="10207"/>
                </a:lnTo>
                <a:lnTo>
                  <a:pt x="31749" y="14209"/>
                </a:lnTo>
                <a:lnTo>
                  <a:pt x="40299" y="22068"/>
                </a:lnTo>
                <a:lnTo>
                  <a:pt x="45081" y="34823"/>
                </a:lnTo>
                <a:lnTo>
                  <a:pt x="46570" y="53517"/>
                </a:lnTo>
                <a:lnTo>
                  <a:pt x="46570" y="25939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bject 33"/>
          <p:cNvSpPr/>
          <p:nvPr/>
        </p:nvSpPr>
        <p:spPr>
          <a:xfrm>
            <a:off x="8265583" y="273013"/>
            <a:ext cx="202319" cy="219938"/>
          </a:xfrm>
          <a:custGeom>
            <a:avLst/>
            <a:gdLst/>
            <a:ahLst/>
            <a:cxnLst/>
            <a:rect l="l" t="t" r="r" b="b"/>
            <a:pathLst>
              <a:path w="287743" h="312801">
                <a:moveTo>
                  <a:pt x="279527" y="232981"/>
                </a:moveTo>
                <a:lnTo>
                  <a:pt x="276917" y="240565"/>
                </a:lnTo>
                <a:lnTo>
                  <a:pt x="271048" y="253513"/>
                </a:lnTo>
                <a:lnTo>
                  <a:pt x="263772" y="265000"/>
                </a:lnTo>
                <a:lnTo>
                  <a:pt x="255065" y="274833"/>
                </a:lnTo>
                <a:lnTo>
                  <a:pt x="244903" y="282819"/>
                </a:lnTo>
                <a:lnTo>
                  <a:pt x="233264" y="288763"/>
                </a:lnTo>
                <a:lnTo>
                  <a:pt x="220124" y="292471"/>
                </a:lnTo>
                <a:lnTo>
                  <a:pt x="205460" y="293750"/>
                </a:lnTo>
                <a:lnTo>
                  <a:pt x="114579" y="293750"/>
                </a:lnTo>
                <a:lnTo>
                  <a:pt x="107757" y="293250"/>
                </a:lnTo>
                <a:lnTo>
                  <a:pt x="97991" y="288011"/>
                </a:lnTo>
                <a:lnTo>
                  <a:pt x="93888" y="275940"/>
                </a:lnTo>
                <a:lnTo>
                  <a:pt x="93052" y="255638"/>
                </a:lnTo>
                <a:lnTo>
                  <a:pt x="93052" y="157327"/>
                </a:lnTo>
                <a:lnTo>
                  <a:pt x="183908" y="157327"/>
                </a:lnTo>
                <a:lnTo>
                  <a:pt x="196122" y="158276"/>
                </a:lnTo>
                <a:lnTo>
                  <a:pt x="208868" y="162773"/>
                </a:lnTo>
                <a:lnTo>
                  <a:pt x="217594" y="171159"/>
                </a:lnTo>
                <a:lnTo>
                  <a:pt x="222980" y="183649"/>
                </a:lnTo>
                <a:lnTo>
                  <a:pt x="225704" y="200456"/>
                </a:lnTo>
                <a:lnTo>
                  <a:pt x="234340" y="200456"/>
                </a:lnTo>
                <a:lnTo>
                  <a:pt x="234340" y="95199"/>
                </a:lnTo>
                <a:lnTo>
                  <a:pt x="225704" y="95199"/>
                </a:lnTo>
                <a:lnTo>
                  <a:pt x="223860" y="107980"/>
                </a:lnTo>
                <a:lnTo>
                  <a:pt x="219304" y="121669"/>
                </a:lnTo>
                <a:lnTo>
                  <a:pt x="211672" y="131089"/>
                </a:lnTo>
                <a:lnTo>
                  <a:pt x="200145" y="136528"/>
                </a:lnTo>
                <a:lnTo>
                  <a:pt x="183908" y="138277"/>
                </a:lnTo>
                <a:lnTo>
                  <a:pt x="93052" y="138277"/>
                </a:lnTo>
                <a:lnTo>
                  <a:pt x="93052" y="50723"/>
                </a:lnTo>
                <a:lnTo>
                  <a:pt x="93667" y="31624"/>
                </a:lnTo>
                <a:lnTo>
                  <a:pt x="98599" y="21617"/>
                </a:lnTo>
                <a:lnTo>
                  <a:pt x="112522" y="19100"/>
                </a:lnTo>
                <a:lnTo>
                  <a:pt x="195377" y="19104"/>
                </a:lnTo>
                <a:lnTo>
                  <a:pt x="211528" y="20228"/>
                </a:lnTo>
                <a:lnTo>
                  <a:pt x="224950" y="23640"/>
                </a:lnTo>
                <a:lnTo>
                  <a:pt x="235741" y="29756"/>
                </a:lnTo>
                <a:lnTo>
                  <a:pt x="244002" y="38995"/>
                </a:lnTo>
                <a:lnTo>
                  <a:pt x="249831" y="51771"/>
                </a:lnTo>
                <a:lnTo>
                  <a:pt x="253326" y="68503"/>
                </a:lnTo>
                <a:lnTo>
                  <a:pt x="261861" y="68503"/>
                </a:lnTo>
                <a:lnTo>
                  <a:pt x="258025" y="0"/>
                </a:lnTo>
                <a:lnTo>
                  <a:pt x="0" y="0"/>
                </a:lnTo>
                <a:lnTo>
                  <a:pt x="0" y="9016"/>
                </a:lnTo>
                <a:lnTo>
                  <a:pt x="1385" y="9021"/>
                </a:lnTo>
                <a:lnTo>
                  <a:pt x="18934" y="10200"/>
                </a:lnTo>
                <a:lnTo>
                  <a:pt x="31731" y="14197"/>
                </a:lnTo>
                <a:lnTo>
                  <a:pt x="40266" y="22053"/>
                </a:lnTo>
                <a:lnTo>
                  <a:pt x="45028" y="34812"/>
                </a:lnTo>
                <a:lnTo>
                  <a:pt x="46507" y="53517"/>
                </a:lnTo>
                <a:lnTo>
                  <a:pt x="46501" y="260748"/>
                </a:lnTo>
                <a:lnTo>
                  <a:pt x="44829" y="278999"/>
                </a:lnTo>
                <a:lnTo>
                  <a:pt x="39833" y="291394"/>
                </a:lnTo>
                <a:lnTo>
                  <a:pt x="31024" y="298967"/>
                </a:lnTo>
                <a:lnTo>
                  <a:pt x="17910" y="302752"/>
                </a:lnTo>
                <a:lnTo>
                  <a:pt x="0" y="303783"/>
                </a:lnTo>
                <a:lnTo>
                  <a:pt x="0" y="312800"/>
                </a:lnTo>
                <a:lnTo>
                  <a:pt x="264439" y="312800"/>
                </a:lnTo>
                <a:lnTo>
                  <a:pt x="287743"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34"/>
          <p:cNvSpPr/>
          <p:nvPr/>
        </p:nvSpPr>
        <p:spPr>
          <a:xfrm>
            <a:off x="8467537" y="273015"/>
            <a:ext cx="221045" cy="219938"/>
          </a:xfrm>
          <a:custGeom>
            <a:avLst/>
            <a:gdLst/>
            <a:ahLst/>
            <a:cxnLst/>
            <a:rect l="l" t="t" r="r" b="b"/>
            <a:pathLst>
              <a:path w="314375" h="312801">
                <a:moveTo>
                  <a:pt x="314375" y="303783"/>
                </a:moveTo>
                <a:lnTo>
                  <a:pt x="300670" y="299079"/>
                </a:lnTo>
                <a:lnTo>
                  <a:pt x="290550" y="293294"/>
                </a:lnTo>
                <a:lnTo>
                  <a:pt x="281779" y="285095"/>
                </a:lnTo>
                <a:lnTo>
                  <a:pt x="276504" y="278803"/>
                </a:lnTo>
                <a:lnTo>
                  <a:pt x="181749" y="161886"/>
                </a:lnTo>
                <a:lnTo>
                  <a:pt x="196480" y="158116"/>
                </a:lnTo>
                <a:lnTo>
                  <a:pt x="210046" y="153248"/>
                </a:lnTo>
                <a:lnTo>
                  <a:pt x="222306" y="147169"/>
                </a:lnTo>
                <a:lnTo>
                  <a:pt x="233118" y="139769"/>
                </a:lnTo>
                <a:lnTo>
                  <a:pt x="242342" y="130933"/>
                </a:lnTo>
                <a:lnTo>
                  <a:pt x="249835" y="120551"/>
                </a:lnTo>
                <a:lnTo>
                  <a:pt x="255456" y="108509"/>
                </a:lnTo>
                <a:lnTo>
                  <a:pt x="259064" y="94696"/>
                </a:lnTo>
                <a:lnTo>
                  <a:pt x="260517" y="78998"/>
                </a:lnTo>
                <a:lnTo>
                  <a:pt x="260540" y="76606"/>
                </a:lnTo>
                <a:lnTo>
                  <a:pt x="259020" y="58622"/>
                </a:lnTo>
                <a:lnTo>
                  <a:pt x="254681" y="43691"/>
                </a:lnTo>
                <a:lnTo>
                  <a:pt x="247856" y="31531"/>
                </a:lnTo>
                <a:lnTo>
                  <a:pt x="238877" y="21857"/>
                </a:lnTo>
                <a:lnTo>
                  <a:pt x="228075" y="14388"/>
                </a:lnTo>
                <a:lnTo>
                  <a:pt x="215784" y="8840"/>
                </a:lnTo>
                <a:lnTo>
                  <a:pt x="202336" y="4930"/>
                </a:lnTo>
                <a:lnTo>
                  <a:pt x="188062" y="2374"/>
                </a:lnTo>
                <a:lnTo>
                  <a:pt x="173296" y="890"/>
                </a:lnTo>
                <a:lnTo>
                  <a:pt x="158369" y="193"/>
                </a:lnTo>
                <a:lnTo>
                  <a:pt x="143614" y="2"/>
                </a:lnTo>
                <a:lnTo>
                  <a:pt x="0" y="0"/>
                </a:lnTo>
                <a:lnTo>
                  <a:pt x="0" y="9016"/>
                </a:lnTo>
                <a:lnTo>
                  <a:pt x="17847" y="10042"/>
                </a:lnTo>
                <a:lnTo>
                  <a:pt x="30948" y="13812"/>
                </a:lnTo>
                <a:lnTo>
                  <a:pt x="39774" y="21372"/>
                </a:lnTo>
                <a:lnTo>
                  <a:pt x="44801" y="33763"/>
                </a:lnTo>
                <a:lnTo>
                  <a:pt x="103533" y="18338"/>
                </a:lnTo>
                <a:lnTo>
                  <a:pt x="121766" y="16832"/>
                </a:lnTo>
                <a:lnTo>
                  <a:pt x="126542" y="16814"/>
                </a:lnTo>
                <a:lnTo>
                  <a:pt x="141816" y="17509"/>
                </a:lnTo>
                <a:lnTo>
                  <a:pt x="156370" y="19742"/>
                </a:lnTo>
                <a:lnTo>
                  <a:pt x="169834" y="23743"/>
                </a:lnTo>
                <a:lnTo>
                  <a:pt x="181839" y="29736"/>
                </a:lnTo>
                <a:lnTo>
                  <a:pt x="192017" y="37950"/>
                </a:lnTo>
                <a:lnTo>
                  <a:pt x="199998" y="48611"/>
                </a:lnTo>
                <a:lnTo>
                  <a:pt x="205414" y="61946"/>
                </a:lnTo>
                <a:lnTo>
                  <a:pt x="207894" y="78182"/>
                </a:lnTo>
                <a:lnTo>
                  <a:pt x="208013" y="83007"/>
                </a:lnTo>
                <a:lnTo>
                  <a:pt x="206455" y="99861"/>
                </a:lnTo>
                <a:lnTo>
                  <a:pt x="202008" y="114037"/>
                </a:lnTo>
                <a:lnTo>
                  <a:pt x="195011" y="125725"/>
                </a:lnTo>
                <a:lnTo>
                  <a:pt x="185804" y="135111"/>
                </a:lnTo>
                <a:lnTo>
                  <a:pt x="174724" y="142386"/>
                </a:lnTo>
                <a:lnTo>
                  <a:pt x="162113" y="147737"/>
                </a:lnTo>
                <a:lnTo>
                  <a:pt x="148307" y="151354"/>
                </a:lnTo>
                <a:lnTo>
                  <a:pt x="133648" y="153423"/>
                </a:lnTo>
                <a:lnTo>
                  <a:pt x="132219" y="173189"/>
                </a:lnTo>
                <a:lnTo>
                  <a:pt x="244652" y="312800"/>
                </a:lnTo>
                <a:lnTo>
                  <a:pt x="314375" y="312800"/>
                </a:lnTo>
                <a:lnTo>
                  <a:pt x="314375" y="303783"/>
                </a:lnTo>
                <a:close/>
              </a:path>
              <a:path w="314375" h="312801">
                <a:moveTo>
                  <a:pt x="139547" y="312800"/>
                </a:moveTo>
                <a:lnTo>
                  <a:pt x="139547" y="303783"/>
                </a:lnTo>
                <a:lnTo>
                  <a:pt x="121667" y="302754"/>
                </a:lnTo>
                <a:lnTo>
                  <a:pt x="108541" y="298978"/>
                </a:lnTo>
                <a:lnTo>
                  <a:pt x="99696" y="291423"/>
                </a:lnTo>
                <a:lnTo>
                  <a:pt x="94659" y="279060"/>
                </a:lnTo>
                <a:lnTo>
                  <a:pt x="92957" y="260855"/>
                </a:lnTo>
                <a:lnTo>
                  <a:pt x="92951" y="173189"/>
                </a:lnTo>
                <a:lnTo>
                  <a:pt x="132219" y="173189"/>
                </a:lnTo>
                <a:lnTo>
                  <a:pt x="133648" y="153423"/>
                </a:lnTo>
                <a:lnTo>
                  <a:pt x="118474" y="154135"/>
                </a:lnTo>
                <a:lnTo>
                  <a:pt x="92951" y="154139"/>
                </a:lnTo>
                <a:lnTo>
                  <a:pt x="92951" y="39408"/>
                </a:lnTo>
                <a:lnTo>
                  <a:pt x="95040" y="24720"/>
                </a:lnTo>
                <a:lnTo>
                  <a:pt x="103533" y="18338"/>
                </a:lnTo>
                <a:lnTo>
                  <a:pt x="44801" y="33763"/>
                </a:lnTo>
                <a:lnTo>
                  <a:pt x="46500" y="52028"/>
                </a:lnTo>
                <a:lnTo>
                  <a:pt x="46507" y="259397"/>
                </a:lnTo>
                <a:lnTo>
                  <a:pt x="45014" y="278046"/>
                </a:lnTo>
                <a:lnTo>
                  <a:pt x="40217" y="290775"/>
                </a:lnTo>
                <a:lnTo>
                  <a:pt x="31643" y="298617"/>
                </a:lnTo>
                <a:lnTo>
                  <a:pt x="18814" y="302607"/>
                </a:lnTo>
                <a:lnTo>
                  <a:pt x="1257" y="303780"/>
                </a:lnTo>
                <a:lnTo>
                  <a:pt x="0" y="303783"/>
                </a:lnTo>
                <a:lnTo>
                  <a:pt x="0" y="312800"/>
                </a:lnTo>
                <a:lnTo>
                  <a:pt x="139547" y="3128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5"/>
          <p:cNvSpPr/>
          <p:nvPr/>
        </p:nvSpPr>
        <p:spPr>
          <a:xfrm>
            <a:off x="473271" y="314717"/>
            <a:ext cx="137392" cy="172914"/>
          </a:xfrm>
          <a:custGeom>
            <a:avLst/>
            <a:gdLst/>
            <a:ahLst/>
            <a:cxnLst/>
            <a:rect l="l" t="t" r="r" b="b"/>
            <a:pathLst>
              <a:path w="195402" h="245922">
                <a:moveTo>
                  <a:pt x="35286" y="117306"/>
                </a:moveTo>
                <a:lnTo>
                  <a:pt x="36531" y="103026"/>
                </a:lnTo>
                <a:lnTo>
                  <a:pt x="39488" y="89346"/>
                </a:lnTo>
                <a:lnTo>
                  <a:pt x="44162" y="76478"/>
                </a:lnTo>
                <a:lnTo>
                  <a:pt x="50557" y="64635"/>
                </a:lnTo>
                <a:lnTo>
                  <a:pt x="58677" y="54030"/>
                </a:lnTo>
                <a:lnTo>
                  <a:pt x="68527" y="44876"/>
                </a:lnTo>
                <a:lnTo>
                  <a:pt x="80111" y="37385"/>
                </a:lnTo>
                <a:lnTo>
                  <a:pt x="93434" y="31772"/>
                </a:lnTo>
                <a:lnTo>
                  <a:pt x="108499" y="28247"/>
                </a:lnTo>
                <a:lnTo>
                  <a:pt x="125310" y="27025"/>
                </a:lnTo>
                <a:lnTo>
                  <a:pt x="131111" y="27142"/>
                </a:lnTo>
                <a:lnTo>
                  <a:pt x="143066" y="28077"/>
                </a:lnTo>
                <a:lnTo>
                  <a:pt x="155696" y="30052"/>
                </a:lnTo>
                <a:lnTo>
                  <a:pt x="168583" y="33191"/>
                </a:lnTo>
                <a:lnTo>
                  <a:pt x="181306" y="37623"/>
                </a:lnTo>
                <a:lnTo>
                  <a:pt x="193446" y="43472"/>
                </a:lnTo>
                <a:lnTo>
                  <a:pt x="195402" y="13715"/>
                </a:lnTo>
                <a:lnTo>
                  <a:pt x="184701" y="9126"/>
                </a:lnTo>
                <a:lnTo>
                  <a:pt x="173914" y="5608"/>
                </a:lnTo>
                <a:lnTo>
                  <a:pt x="161366" y="2704"/>
                </a:lnTo>
                <a:lnTo>
                  <a:pt x="147006" y="728"/>
                </a:lnTo>
                <a:lnTo>
                  <a:pt x="130784" y="0"/>
                </a:lnTo>
                <a:lnTo>
                  <a:pt x="126835" y="40"/>
                </a:lnTo>
                <a:lnTo>
                  <a:pt x="109616" y="1232"/>
                </a:lnTo>
                <a:lnTo>
                  <a:pt x="93617" y="4001"/>
                </a:lnTo>
                <a:lnTo>
                  <a:pt x="78846" y="8249"/>
                </a:lnTo>
                <a:lnTo>
                  <a:pt x="65312" y="13877"/>
                </a:lnTo>
                <a:lnTo>
                  <a:pt x="53024" y="20789"/>
                </a:lnTo>
                <a:lnTo>
                  <a:pt x="41992" y="28885"/>
                </a:lnTo>
                <a:lnTo>
                  <a:pt x="32223" y="38067"/>
                </a:lnTo>
                <a:lnTo>
                  <a:pt x="23728" y="48238"/>
                </a:lnTo>
                <a:lnTo>
                  <a:pt x="16515" y="59300"/>
                </a:lnTo>
                <a:lnTo>
                  <a:pt x="10594" y="71155"/>
                </a:lnTo>
                <a:lnTo>
                  <a:pt x="5972" y="83703"/>
                </a:lnTo>
                <a:lnTo>
                  <a:pt x="2660" y="96848"/>
                </a:lnTo>
                <a:lnTo>
                  <a:pt x="666" y="110492"/>
                </a:lnTo>
                <a:lnTo>
                  <a:pt x="0" y="124536"/>
                </a:lnTo>
                <a:lnTo>
                  <a:pt x="630" y="138065"/>
                </a:lnTo>
                <a:lnTo>
                  <a:pt x="3013" y="153464"/>
                </a:lnTo>
                <a:lnTo>
                  <a:pt x="7057" y="167764"/>
                </a:lnTo>
                <a:lnTo>
                  <a:pt x="12644" y="180943"/>
                </a:lnTo>
                <a:lnTo>
                  <a:pt x="19651" y="192976"/>
                </a:lnTo>
                <a:lnTo>
                  <a:pt x="27960" y="203841"/>
                </a:lnTo>
                <a:lnTo>
                  <a:pt x="37450" y="213514"/>
                </a:lnTo>
                <a:lnTo>
                  <a:pt x="48001" y="221973"/>
                </a:lnTo>
                <a:lnTo>
                  <a:pt x="59494" y="229194"/>
                </a:lnTo>
                <a:lnTo>
                  <a:pt x="71808" y="235155"/>
                </a:lnTo>
                <a:lnTo>
                  <a:pt x="84822" y="239831"/>
                </a:lnTo>
                <a:lnTo>
                  <a:pt x="98418" y="243199"/>
                </a:lnTo>
                <a:lnTo>
                  <a:pt x="112475" y="245238"/>
                </a:lnTo>
                <a:lnTo>
                  <a:pt x="126872" y="245922"/>
                </a:lnTo>
                <a:lnTo>
                  <a:pt x="132177" y="245840"/>
                </a:lnTo>
                <a:lnTo>
                  <a:pt x="144006" y="245133"/>
                </a:lnTo>
                <a:lnTo>
                  <a:pt x="156948" y="243572"/>
                </a:lnTo>
                <a:lnTo>
                  <a:pt x="170298" y="241002"/>
                </a:lnTo>
                <a:lnTo>
                  <a:pt x="183352" y="237269"/>
                </a:lnTo>
                <a:lnTo>
                  <a:pt x="195402" y="232219"/>
                </a:lnTo>
                <a:lnTo>
                  <a:pt x="193446" y="202056"/>
                </a:lnTo>
                <a:lnTo>
                  <a:pt x="188941" y="204345"/>
                </a:lnTo>
                <a:lnTo>
                  <a:pt x="175560" y="209939"/>
                </a:lnTo>
                <a:lnTo>
                  <a:pt x="162324" y="213968"/>
                </a:lnTo>
                <a:lnTo>
                  <a:pt x="149651" y="216618"/>
                </a:lnTo>
                <a:lnTo>
                  <a:pt x="137958" y="218072"/>
                </a:lnTo>
                <a:lnTo>
                  <a:pt x="127660" y="218516"/>
                </a:lnTo>
                <a:lnTo>
                  <a:pt x="118573" y="218118"/>
                </a:lnTo>
                <a:lnTo>
                  <a:pt x="104205" y="215746"/>
                </a:lnTo>
                <a:lnTo>
                  <a:pt x="90889" y="211362"/>
                </a:lnTo>
                <a:lnTo>
                  <a:pt x="78733" y="205105"/>
                </a:lnTo>
                <a:lnTo>
                  <a:pt x="67845" y="197115"/>
                </a:lnTo>
                <a:lnTo>
                  <a:pt x="58335" y="187532"/>
                </a:lnTo>
                <a:lnTo>
                  <a:pt x="50311" y="176496"/>
                </a:lnTo>
                <a:lnTo>
                  <a:pt x="43881" y="164147"/>
                </a:lnTo>
                <a:lnTo>
                  <a:pt x="39154" y="150626"/>
                </a:lnTo>
                <a:lnTo>
                  <a:pt x="36238" y="136071"/>
                </a:lnTo>
                <a:lnTo>
                  <a:pt x="35242" y="120624"/>
                </a:lnTo>
                <a:lnTo>
                  <a:pt x="35286" y="11730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object 26"/>
          <p:cNvSpPr/>
          <p:nvPr/>
        </p:nvSpPr>
        <p:spPr>
          <a:xfrm>
            <a:off x="629089"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1"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5" y="-88506"/>
                </a:lnTo>
                <a:lnTo>
                  <a:pt x="136270"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601" y="-65859"/>
                </a:lnTo>
                <a:lnTo>
                  <a:pt x="85750" y="-67360"/>
                </a:lnTo>
                <a:lnTo>
                  <a:pt x="93254" y="-66844"/>
                </a:lnTo>
                <a:lnTo>
                  <a:pt x="105137" y="-63160"/>
                </a:lnTo>
                <a:lnTo>
                  <a:pt x="114522" y="-55803"/>
                </a:lnTo>
                <a:lnTo>
                  <a:pt x="121328" y="-44622"/>
                </a:lnTo>
                <a:lnTo>
                  <a:pt x="125473" y="-29466"/>
                </a:lnTo>
                <a:lnTo>
                  <a:pt x="126872" y="-10185"/>
                </a:lnTo>
                <a:lnTo>
                  <a:pt x="126872"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3"/>
          <p:cNvSpPr/>
          <p:nvPr/>
        </p:nvSpPr>
        <p:spPr>
          <a:xfrm>
            <a:off x="775818" y="356571"/>
            <a:ext cx="75992" cy="127756"/>
          </a:xfrm>
          <a:custGeom>
            <a:avLst/>
            <a:gdLst/>
            <a:ahLst/>
            <a:cxnLst/>
            <a:rect l="l" t="t" r="r" b="b"/>
            <a:pathLst>
              <a:path w="108077" h="181698">
                <a:moveTo>
                  <a:pt x="83400" y="39560"/>
                </a:moveTo>
                <a:lnTo>
                  <a:pt x="108077" y="32499"/>
                </a:lnTo>
                <a:lnTo>
                  <a:pt x="107683" y="28587"/>
                </a:lnTo>
                <a:lnTo>
                  <a:pt x="107289" y="25844"/>
                </a:lnTo>
                <a:lnTo>
                  <a:pt x="106000" y="20626"/>
                </a:lnTo>
                <a:lnTo>
                  <a:pt x="99644" y="9293"/>
                </a:lnTo>
                <a:lnTo>
                  <a:pt x="88841" y="2355"/>
                </a:lnTo>
                <a:lnTo>
                  <a:pt x="73228" y="0"/>
                </a:lnTo>
                <a:lnTo>
                  <a:pt x="72122" y="19"/>
                </a:lnTo>
                <a:lnTo>
                  <a:pt x="58986" y="3260"/>
                </a:lnTo>
                <a:lnTo>
                  <a:pt x="47814" y="10886"/>
                </a:lnTo>
                <a:lnTo>
                  <a:pt x="38989" y="21199"/>
                </a:lnTo>
                <a:lnTo>
                  <a:pt x="32893" y="32499"/>
                </a:lnTo>
                <a:lnTo>
                  <a:pt x="27800" y="4305"/>
                </a:lnTo>
                <a:lnTo>
                  <a:pt x="0" y="4305"/>
                </a:lnTo>
                <a:lnTo>
                  <a:pt x="1562" y="18414"/>
                </a:lnTo>
                <a:lnTo>
                  <a:pt x="2339" y="26086"/>
                </a:lnTo>
                <a:lnTo>
                  <a:pt x="2957" y="38564"/>
                </a:lnTo>
                <a:lnTo>
                  <a:pt x="3136" y="52870"/>
                </a:lnTo>
                <a:lnTo>
                  <a:pt x="3136" y="181698"/>
                </a:lnTo>
                <a:lnTo>
                  <a:pt x="33286" y="181698"/>
                </a:lnTo>
                <a:lnTo>
                  <a:pt x="33286" y="68922"/>
                </a:lnTo>
                <a:lnTo>
                  <a:pt x="35886" y="62885"/>
                </a:lnTo>
                <a:lnTo>
                  <a:pt x="42221" y="50341"/>
                </a:lnTo>
                <a:lnTo>
                  <a:pt x="50365" y="38075"/>
                </a:lnTo>
                <a:lnTo>
                  <a:pt x="60017" y="28756"/>
                </a:lnTo>
                <a:lnTo>
                  <a:pt x="70878" y="25057"/>
                </a:lnTo>
                <a:lnTo>
                  <a:pt x="82232" y="25057"/>
                </a:lnTo>
                <a:lnTo>
                  <a:pt x="83400" y="36804"/>
                </a:lnTo>
                <a:lnTo>
                  <a:pt x="83400" y="3956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4"/>
          <p:cNvSpPr/>
          <p:nvPr/>
        </p:nvSpPr>
        <p:spPr>
          <a:xfrm>
            <a:off x="861154" y="356297"/>
            <a:ext cx="105728" cy="131337"/>
          </a:xfrm>
          <a:custGeom>
            <a:avLst/>
            <a:gdLst/>
            <a:ahLst/>
            <a:cxnLst/>
            <a:rect l="l" t="t" r="r" b="b"/>
            <a:pathLst>
              <a:path w="150368" h="186791">
                <a:moveTo>
                  <a:pt x="35010" y="62876"/>
                </a:moveTo>
                <a:lnTo>
                  <a:pt x="41098" y="46175"/>
                </a:lnTo>
                <a:lnTo>
                  <a:pt x="48702" y="35750"/>
                </a:lnTo>
                <a:lnTo>
                  <a:pt x="53657" y="30937"/>
                </a:lnTo>
                <a:lnTo>
                  <a:pt x="55600" y="28968"/>
                </a:lnTo>
                <a:lnTo>
                  <a:pt x="68922" y="25450"/>
                </a:lnTo>
                <a:lnTo>
                  <a:pt x="77139" y="25450"/>
                </a:lnTo>
                <a:lnTo>
                  <a:pt x="90999" y="26113"/>
                </a:lnTo>
                <a:lnTo>
                  <a:pt x="104434" y="29335"/>
                </a:lnTo>
                <a:lnTo>
                  <a:pt x="114238" y="36308"/>
                </a:lnTo>
                <a:lnTo>
                  <a:pt x="120413" y="48200"/>
                </a:lnTo>
                <a:lnTo>
                  <a:pt x="122961" y="66179"/>
                </a:lnTo>
                <a:lnTo>
                  <a:pt x="34455" y="66179"/>
                </a:lnTo>
                <a:lnTo>
                  <a:pt x="31330" y="89674"/>
                </a:lnTo>
                <a:lnTo>
                  <a:pt x="150367" y="89674"/>
                </a:lnTo>
                <a:lnTo>
                  <a:pt x="150367" y="89275"/>
                </a:lnTo>
                <a:lnTo>
                  <a:pt x="149692" y="70094"/>
                </a:lnTo>
                <a:lnTo>
                  <a:pt x="147602" y="53325"/>
                </a:lnTo>
                <a:lnTo>
                  <a:pt x="143927" y="38928"/>
                </a:lnTo>
                <a:lnTo>
                  <a:pt x="138497" y="26860"/>
                </a:lnTo>
                <a:lnTo>
                  <a:pt x="131144" y="17079"/>
                </a:lnTo>
                <a:lnTo>
                  <a:pt x="121697" y="9544"/>
                </a:lnTo>
                <a:lnTo>
                  <a:pt x="109986" y="4214"/>
                </a:lnTo>
                <a:lnTo>
                  <a:pt x="95842" y="1046"/>
                </a:lnTo>
                <a:lnTo>
                  <a:pt x="79095" y="0"/>
                </a:lnTo>
                <a:lnTo>
                  <a:pt x="69735" y="474"/>
                </a:lnTo>
                <a:lnTo>
                  <a:pt x="56568" y="2924"/>
                </a:lnTo>
                <a:lnTo>
                  <a:pt x="44434" y="7432"/>
                </a:lnTo>
                <a:lnTo>
                  <a:pt x="35010" y="62876"/>
                </a:lnTo>
                <a:close/>
              </a:path>
              <a:path w="150368" h="186791">
                <a:moveTo>
                  <a:pt x="0" y="93980"/>
                </a:moveTo>
                <a:lnTo>
                  <a:pt x="461" y="105315"/>
                </a:lnTo>
                <a:lnTo>
                  <a:pt x="2938" y="121659"/>
                </a:lnTo>
                <a:lnTo>
                  <a:pt x="7407" y="136345"/>
                </a:lnTo>
                <a:lnTo>
                  <a:pt x="13692" y="149304"/>
                </a:lnTo>
                <a:lnTo>
                  <a:pt x="21622" y="160463"/>
                </a:lnTo>
                <a:lnTo>
                  <a:pt x="31023" y="169752"/>
                </a:lnTo>
                <a:lnTo>
                  <a:pt x="41723" y="177100"/>
                </a:lnTo>
                <a:lnTo>
                  <a:pt x="53548" y="182437"/>
                </a:lnTo>
                <a:lnTo>
                  <a:pt x="66325" y="185691"/>
                </a:lnTo>
                <a:lnTo>
                  <a:pt x="79882" y="186791"/>
                </a:lnTo>
                <a:lnTo>
                  <a:pt x="88087" y="186632"/>
                </a:lnTo>
                <a:lnTo>
                  <a:pt x="103693" y="185288"/>
                </a:lnTo>
                <a:lnTo>
                  <a:pt x="116964" y="182744"/>
                </a:lnTo>
                <a:lnTo>
                  <a:pt x="128347" y="179203"/>
                </a:lnTo>
                <a:lnTo>
                  <a:pt x="138287" y="174867"/>
                </a:lnTo>
                <a:lnTo>
                  <a:pt x="147231" y="169938"/>
                </a:lnTo>
                <a:lnTo>
                  <a:pt x="144894" y="142544"/>
                </a:lnTo>
                <a:lnTo>
                  <a:pt x="139995" y="146247"/>
                </a:lnTo>
                <a:lnTo>
                  <a:pt x="129511" y="151889"/>
                </a:lnTo>
                <a:lnTo>
                  <a:pt x="116861" y="156570"/>
                </a:lnTo>
                <a:lnTo>
                  <a:pt x="103100" y="159765"/>
                </a:lnTo>
                <a:lnTo>
                  <a:pt x="89280" y="160947"/>
                </a:lnTo>
                <a:lnTo>
                  <a:pt x="75824" y="159821"/>
                </a:lnTo>
                <a:lnTo>
                  <a:pt x="62559" y="155850"/>
                </a:lnTo>
                <a:lnTo>
                  <a:pt x="51528" y="149086"/>
                </a:lnTo>
                <a:lnTo>
                  <a:pt x="42811" y="139602"/>
                </a:lnTo>
                <a:lnTo>
                  <a:pt x="36486" y="127470"/>
                </a:lnTo>
                <a:lnTo>
                  <a:pt x="32632" y="112763"/>
                </a:lnTo>
                <a:lnTo>
                  <a:pt x="31330" y="95554"/>
                </a:lnTo>
                <a:lnTo>
                  <a:pt x="31330" y="89674"/>
                </a:lnTo>
                <a:lnTo>
                  <a:pt x="34455" y="66179"/>
                </a:lnTo>
                <a:lnTo>
                  <a:pt x="35010" y="62876"/>
                </a:lnTo>
                <a:lnTo>
                  <a:pt x="44434" y="7432"/>
                </a:lnTo>
                <a:lnTo>
                  <a:pt x="33472" y="13966"/>
                </a:lnTo>
                <a:lnTo>
                  <a:pt x="23818" y="22495"/>
                </a:lnTo>
                <a:lnTo>
                  <a:pt x="15610" y="32988"/>
                </a:lnTo>
                <a:lnTo>
                  <a:pt x="8987" y="45415"/>
                </a:lnTo>
                <a:lnTo>
                  <a:pt x="4086" y="59743"/>
                </a:lnTo>
                <a:lnTo>
                  <a:pt x="1044" y="75941"/>
                </a:lnTo>
                <a:lnTo>
                  <a:pt x="0" y="9398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22"/>
          <p:cNvSpPr/>
          <p:nvPr/>
        </p:nvSpPr>
        <p:spPr>
          <a:xfrm>
            <a:off x="1050010" y="318031"/>
            <a:ext cx="110406" cy="166298"/>
          </a:xfrm>
          <a:custGeom>
            <a:avLst/>
            <a:gdLst/>
            <a:ahLst/>
            <a:cxnLst/>
            <a:rect l="l" t="t" r="r" b="b"/>
            <a:pathLst>
              <a:path w="157022" h="236512">
                <a:moveTo>
                  <a:pt x="71455" y="126006"/>
                </a:moveTo>
                <a:lnTo>
                  <a:pt x="55994" y="126873"/>
                </a:lnTo>
                <a:lnTo>
                  <a:pt x="45034" y="126873"/>
                </a:lnTo>
                <a:lnTo>
                  <a:pt x="30937" y="125298"/>
                </a:lnTo>
                <a:lnTo>
                  <a:pt x="30937" y="25057"/>
                </a:lnTo>
                <a:lnTo>
                  <a:pt x="0" y="0"/>
                </a:lnTo>
                <a:lnTo>
                  <a:pt x="0" y="236512"/>
                </a:lnTo>
                <a:lnTo>
                  <a:pt x="30937" y="236512"/>
                </a:lnTo>
                <a:lnTo>
                  <a:pt x="30937" y="150749"/>
                </a:lnTo>
                <a:lnTo>
                  <a:pt x="43178" y="151895"/>
                </a:lnTo>
                <a:lnTo>
                  <a:pt x="56058" y="152535"/>
                </a:lnTo>
                <a:lnTo>
                  <a:pt x="71455" y="126006"/>
                </a:lnTo>
                <a:close/>
              </a:path>
              <a:path w="157022" h="236512">
                <a:moveTo>
                  <a:pt x="30937" y="25057"/>
                </a:moveTo>
                <a:lnTo>
                  <a:pt x="66179" y="25057"/>
                </a:lnTo>
                <a:lnTo>
                  <a:pt x="81534" y="26150"/>
                </a:lnTo>
                <a:lnTo>
                  <a:pt x="96054" y="30091"/>
                </a:lnTo>
                <a:lnTo>
                  <a:pt x="107326" y="36913"/>
                </a:lnTo>
                <a:lnTo>
                  <a:pt x="115364" y="46630"/>
                </a:lnTo>
                <a:lnTo>
                  <a:pt x="120178" y="59251"/>
                </a:lnTo>
                <a:lnTo>
                  <a:pt x="121780" y="74790"/>
                </a:lnTo>
                <a:lnTo>
                  <a:pt x="121018" y="85191"/>
                </a:lnTo>
                <a:lnTo>
                  <a:pt x="116679" y="99384"/>
                </a:lnTo>
                <a:lnTo>
                  <a:pt x="108991" y="110212"/>
                </a:lnTo>
                <a:lnTo>
                  <a:pt x="98516" y="118025"/>
                </a:lnTo>
                <a:lnTo>
                  <a:pt x="85817" y="123173"/>
                </a:lnTo>
                <a:lnTo>
                  <a:pt x="71455" y="126006"/>
                </a:lnTo>
                <a:lnTo>
                  <a:pt x="56058" y="152535"/>
                </a:lnTo>
                <a:lnTo>
                  <a:pt x="67741" y="152704"/>
                </a:lnTo>
                <a:lnTo>
                  <a:pt x="72445" y="152586"/>
                </a:lnTo>
                <a:lnTo>
                  <a:pt x="86585" y="150820"/>
                </a:lnTo>
                <a:lnTo>
                  <a:pt x="100330" y="147037"/>
                </a:lnTo>
                <a:lnTo>
                  <a:pt x="113340" y="141366"/>
                </a:lnTo>
                <a:lnTo>
                  <a:pt x="125277" y="133933"/>
                </a:lnTo>
                <a:lnTo>
                  <a:pt x="135803" y="124865"/>
                </a:lnTo>
                <a:lnTo>
                  <a:pt x="144579" y="114289"/>
                </a:lnTo>
                <a:lnTo>
                  <a:pt x="151266" y="102333"/>
                </a:lnTo>
                <a:lnTo>
                  <a:pt x="155527" y="89125"/>
                </a:lnTo>
                <a:lnTo>
                  <a:pt x="157022" y="74790"/>
                </a:lnTo>
                <a:lnTo>
                  <a:pt x="156430" y="64454"/>
                </a:lnTo>
                <a:lnTo>
                  <a:pt x="153253" y="49732"/>
                </a:lnTo>
                <a:lnTo>
                  <a:pt x="147577" y="36821"/>
                </a:lnTo>
                <a:lnTo>
                  <a:pt x="139683" y="25766"/>
                </a:lnTo>
                <a:lnTo>
                  <a:pt x="129850" y="16616"/>
                </a:lnTo>
                <a:lnTo>
                  <a:pt x="118359" y="9417"/>
                </a:lnTo>
                <a:lnTo>
                  <a:pt x="105492" y="4217"/>
                </a:lnTo>
                <a:lnTo>
                  <a:pt x="91527" y="1062"/>
                </a:lnTo>
                <a:lnTo>
                  <a:pt x="76746" y="0"/>
                </a:lnTo>
                <a:lnTo>
                  <a:pt x="0" y="0"/>
                </a:lnTo>
                <a:lnTo>
                  <a:pt x="30937" y="2505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21"/>
          <p:cNvSpPr/>
          <p:nvPr/>
        </p:nvSpPr>
        <p:spPr>
          <a:xfrm>
            <a:off x="1196328" y="304538"/>
            <a:ext cx="0" cy="179790"/>
          </a:xfrm>
          <a:custGeom>
            <a:avLst/>
            <a:gdLst/>
            <a:ahLst/>
            <a:cxnLst/>
            <a:rect l="l" t="t" r="r" b="b"/>
            <a:pathLst>
              <a:path h="255701">
                <a:moveTo>
                  <a:pt x="0" y="0"/>
                </a:moveTo>
                <a:lnTo>
                  <a:pt x="0" y="255701"/>
                </a:lnTo>
              </a:path>
            </a:pathLst>
          </a:custGeom>
          <a:ln w="31419">
            <a:solidFill>
              <a:srgbClr val="F5821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20"/>
          <p:cNvSpPr/>
          <p:nvPr/>
        </p:nvSpPr>
        <p:spPr>
          <a:xfrm>
            <a:off x="1235550"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2"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6" y="-88506"/>
                </a:lnTo>
                <a:lnTo>
                  <a:pt x="136271"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595" y="-65859"/>
                </a:lnTo>
                <a:lnTo>
                  <a:pt x="85750" y="-67360"/>
                </a:lnTo>
                <a:lnTo>
                  <a:pt x="93254" y="-66844"/>
                </a:lnTo>
                <a:lnTo>
                  <a:pt x="105137" y="-63160"/>
                </a:lnTo>
                <a:lnTo>
                  <a:pt x="114522" y="-55803"/>
                </a:lnTo>
                <a:lnTo>
                  <a:pt x="121328" y="-44622"/>
                </a:lnTo>
                <a:lnTo>
                  <a:pt x="125473" y="-29466"/>
                </a:lnTo>
                <a:lnTo>
                  <a:pt x="126873" y="-10185"/>
                </a:lnTo>
                <a:lnTo>
                  <a:pt x="126873"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19"/>
          <p:cNvSpPr/>
          <p:nvPr/>
        </p:nvSpPr>
        <p:spPr>
          <a:xfrm>
            <a:off x="1382277" y="356293"/>
            <a:ext cx="103790" cy="128033"/>
          </a:xfrm>
          <a:custGeom>
            <a:avLst/>
            <a:gdLst/>
            <a:ahLst/>
            <a:cxnLst/>
            <a:rect l="l" t="t" r="r" b="b"/>
            <a:pathLst>
              <a:path w="147613" h="182092">
                <a:moveTo>
                  <a:pt x="62649" y="31724"/>
                </a:moveTo>
                <a:lnTo>
                  <a:pt x="65392" y="30162"/>
                </a:lnTo>
                <a:lnTo>
                  <a:pt x="77927" y="27025"/>
                </a:lnTo>
                <a:lnTo>
                  <a:pt x="87325" y="27025"/>
                </a:lnTo>
                <a:lnTo>
                  <a:pt x="103229" y="29547"/>
                </a:lnTo>
                <a:lnTo>
                  <a:pt x="112206" y="37199"/>
                </a:lnTo>
                <a:lnTo>
                  <a:pt x="116226" y="49942"/>
                </a:lnTo>
                <a:lnTo>
                  <a:pt x="117475" y="67741"/>
                </a:lnTo>
                <a:lnTo>
                  <a:pt x="117747" y="78307"/>
                </a:lnTo>
                <a:lnTo>
                  <a:pt x="117877" y="106135"/>
                </a:lnTo>
                <a:lnTo>
                  <a:pt x="118031" y="121023"/>
                </a:lnTo>
                <a:lnTo>
                  <a:pt x="118013" y="141871"/>
                </a:lnTo>
                <a:lnTo>
                  <a:pt x="117776" y="152000"/>
                </a:lnTo>
                <a:lnTo>
                  <a:pt x="117345" y="164712"/>
                </a:lnTo>
                <a:lnTo>
                  <a:pt x="116687" y="182092"/>
                </a:lnTo>
                <a:lnTo>
                  <a:pt x="146837" y="182092"/>
                </a:lnTo>
                <a:lnTo>
                  <a:pt x="146944" y="174487"/>
                </a:lnTo>
                <a:lnTo>
                  <a:pt x="147097" y="162795"/>
                </a:lnTo>
                <a:lnTo>
                  <a:pt x="147276" y="147767"/>
                </a:lnTo>
                <a:lnTo>
                  <a:pt x="147447" y="131083"/>
                </a:lnTo>
                <a:lnTo>
                  <a:pt x="147574" y="114423"/>
                </a:lnTo>
                <a:lnTo>
                  <a:pt x="147613" y="71983"/>
                </a:lnTo>
                <a:lnTo>
                  <a:pt x="147275" y="59290"/>
                </a:lnTo>
                <a:lnTo>
                  <a:pt x="146456" y="46596"/>
                </a:lnTo>
                <a:lnTo>
                  <a:pt x="144273" y="33519"/>
                </a:lnTo>
                <a:lnTo>
                  <a:pt x="138664" y="20109"/>
                </a:lnTo>
                <a:lnTo>
                  <a:pt x="130182" y="10555"/>
                </a:lnTo>
                <a:lnTo>
                  <a:pt x="119084" y="4355"/>
                </a:lnTo>
                <a:lnTo>
                  <a:pt x="105627" y="1005"/>
                </a:lnTo>
                <a:lnTo>
                  <a:pt x="90068" y="0"/>
                </a:lnTo>
                <a:lnTo>
                  <a:pt x="87824" y="32"/>
                </a:lnTo>
                <a:lnTo>
                  <a:pt x="73699" y="1882"/>
                </a:lnTo>
                <a:lnTo>
                  <a:pt x="61466" y="6295"/>
                </a:lnTo>
                <a:lnTo>
                  <a:pt x="50763" y="12874"/>
                </a:lnTo>
                <a:lnTo>
                  <a:pt x="41228" y="21220"/>
                </a:lnTo>
                <a:lnTo>
                  <a:pt x="32499" y="30937"/>
                </a:lnTo>
                <a:lnTo>
                  <a:pt x="27800" y="4698"/>
                </a:lnTo>
                <a:lnTo>
                  <a:pt x="0" y="4698"/>
                </a:lnTo>
                <a:lnTo>
                  <a:pt x="1562" y="18808"/>
                </a:lnTo>
                <a:lnTo>
                  <a:pt x="2377" y="27075"/>
                </a:lnTo>
                <a:lnTo>
                  <a:pt x="2965" y="39633"/>
                </a:lnTo>
                <a:lnTo>
                  <a:pt x="3136" y="54038"/>
                </a:lnTo>
                <a:lnTo>
                  <a:pt x="3136" y="182092"/>
                </a:lnTo>
                <a:lnTo>
                  <a:pt x="33286" y="182092"/>
                </a:lnTo>
                <a:lnTo>
                  <a:pt x="33286" y="63055"/>
                </a:lnTo>
                <a:lnTo>
                  <a:pt x="36379" y="58995"/>
                </a:lnTo>
                <a:lnTo>
                  <a:pt x="46352" y="47354"/>
                </a:lnTo>
                <a:lnTo>
                  <a:pt x="56262" y="37087"/>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8"/>
          <p:cNvSpPr/>
          <p:nvPr/>
        </p:nvSpPr>
        <p:spPr>
          <a:xfrm>
            <a:off x="1521577" y="356293"/>
            <a:ext cx="103787" cy="128033"/>
          </a:xfrm>
          <a:custGeom>
            <a:avLst/>
            <a:gdLst/>
            <a:ahLst/>
            <a:cxnLst/>
            <a:rect l="l" t="t" r="r" b="b"/>
            <a:pathLst>
              <a:path w="147608" h="182092">
                <a:moveTo>
                  <a:pt x="62649" y="31724"/>
                </a:moveTo>
                <a:lnTo>
                  <a:pt x="65392" y="30162"/>
                </a:lnTo>
                <a:lnTo>
                  <a:pt x="77927" y="27025"/>
                </a:lnTo>
                <a:lnTo>
                  <a:pt x="87312" y="27025"/>
                </a:lnTo>
                <a:lnTo>
                  <a:pt x="103218" y="29547"/>
                </a:lnTo>
                <a:lnTo>
                  <a:pt x="112198" y="37199"/>
                </a:lnTo>
                <a:lnTo>
                  <a:pt x="116218" y="49942"/>
                </a:lnTo>
                <a:lnTo>
                  <a:pt x="117462" y="67741"/>
                </a:lnTo>
                <a:lnTo>
                  <a:pt x="117734" y="78307"/>
                </a:lnTo>
                <a:lnTo>
                  <a:pt x="117864" y="106135"/>
                </a:lnTo>
                <a:lnTo>
                  <a:pt x="118018" y="121023"/>
                </a:lnTo>
                <a:lnTo>
                  <a:pt x="118001" y="141871"/>
                </a:lnTo>
                <a:lnTo>
                  <a:pt x="117767" y="152000"/>
                </a:lnTo>
                <a:lnTo>
                  <a:pt x="117339" y="164712"/>
                </a:lnTo>
                <a:lnTo>
                  <a:pt x="116687" y="182092"/>
                </a:lnTo>
                <a:lnTo>
                  <a:pt x="146837" y="182092"/>
                </a:lnTo>
                <a:lnTo>
                  <a:pt x="146944" y="174487"/>
                </a:lnTo>
                <a:lnTo>
                  <a:pt x="147097" y="162795"/>
                </a:lnTo>
                <a:lnTo>
                  <a:pt x="147276" y="147767"/>
                </a:lnTo>
                <a:lnTo>
                  <a:pt x="147447" y="131083"/>
                </a:lnTo>
                <a:lnTo>
                  <a:pt x="147574" y="114423"/>
                </a:lnTo>
                <a:lnTo>
                  <a:pt x="147608" y="71984"/>
                </a:lnTo>
                <a:lnTo>
                  <a:pt x="147270" y="59290"/>
                </a:lnTo>
                <a:lnTo>
                  <a:pt x="146456" y="46596"/>
                </a:lnTo>
                <a:lnTo>
                  <a:pt x="144270" y="33508"/>
                </a:lnTo>
                <a:lnTo>
                  <a:pt x="138658" y="20103"/>
                </a:lnTo>
                <a:lnTo>
                  <a:pt x="130172" y="10552"/>
                </a:lnTo>
                <a:lnTo>
                  <a:pt x="119071" y="4354"/>
                </a:lnTo>
                <a:lnTo>
                  <a:pt x="105613" y="1004"/>
                </a:lnTo>
                <a:lnTo>
                  <a:pt x="90055" y="0"/>
                </a:lnTo>
                <a:lnTo>
                  <a:pt x="87812" y="32"/>
                </a:lnTo>
                <a:lnTo>
                  <a:pt x="73688" y="1882"/>
                </a:lnTo>
                <a:lnTo>
                  <a:pt x="61457" y="6295"/>
                </a:lnTo>
                <a:lnTo>
                  <a:pt x="50756" y="12874"/>
                </a:lnTo>
                <a:lnTo>
                  <a:pt x="41220" y="21220"/>
                </a:lnTo>
                <a:lnTo>
                  <a:pt x="32486" y="30937"/>
                </a:lnTo>
                <a:lnTo>
                  <a:pt x="27800" y="4698"/>
                </a:lnTo>
                <a:lnTo>
                  <a:pt x="0" y="4698"/>
                </a:lnTo>
                <a:lnTo>
                  <a:pt x="1549" y="18808"/>
                </a:lnTo>
                <a:lnTo>
                  <a:pt x="2372" y="27075"/>
                </a:lnTo>
                <a:lnTo>
                  <a:pt x="2964" y="39633"/>
                </a:lnTo>
                <a:lnTo>
                  <a:pt x="3136" y="54038"/>
                </a:lnTo>
                <a:lnTo>
                  <a:pt x="3136" y="182092"/>
                </a:lnTo>
                <a:lnTo>
                  <a:pt x="33274" y="182092"/>
                </a:lnTo>
                <a:lnTo>
                  <a:pt x="33274" y="63055"/>
                </a:lnTo>
                <a:lnTo>
                  <a:pt x="36372" y="58988"/>
                </a:lnTo>
                <a:lnTo>
                  <a:pt x="46348" y="47349"/>
                </a:lnTo>
                <a:lnTo>
                  <a:pt x="56261" y="37086"/>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7"/>
          <p:cNvSpPr/>
          <p:nvPr/>
        </p:nvSpPr>
        <p:spPr>
          <a:xfrm>
            <a:off x="1659762" y="307292"/>
            <a:ext cx="27816" cy="177040"/>
          </a:xfrm>
          <a:custGeom>
            <a:avLst/>
            <a:gdLst/>
            <a:ahLst/>
            <a:cxnLst/>
            <a:rect l="l" t="t" r="r" b="b"/>
            <a:pathLst>
              <a:path w="39560" h="251790">
                <a:moveTo>
                  <a:pt x="0" y="21526"/>
                </a:moveTo>
                <a:lnTo>
                  <a:pt x="482" y="25980"/>
                </a:lnTo>
                <a:lnTo>
                  <a:pt x="7360" y="38207"/>
                </a:lnTo>
                <a:lnTo>
                  <a:pt x="19583" y="43459"/>
                </a:lnTo>
                <a:lnTo>
                  <a:pt x="24294" y="42714"/>
                </a:lnTo>
                <a:lnTo>
                  <a:pt x="35117" y="34404"/>
                </a:lnTo>
                <a:lnTo>
                  <a:pt x="39560" y="21145"/>
                </a:lnTo>
                <a:lnTo>
                  <a:pt x="39123" y="17027"/>
                </a:lnTo>
                <a:lnTo>
                  <a:pt x="32080" y="5036"/>
                </a:lnTo>
                <a:lnTo>
                  <a:pt x="19583" y="0"/>
                </a:lnTo>
                <a:lnTo>
                  <a:pt x="15527" y="508"/>
                </a:lnTo>
                <a:lnTo>
                  <a:pt x="4404" y="8411"/>
                </a:lnTo>
                <a:lnTo>
                  <a:pt x="0" y="21526"/>
                </a:lnTo>
                <a:close/>
              </a:path>
              <a:path w="39560" h="251790">
                <a:moveTo>
                  <a:pt x="4711" y="74396"/>
                </a:moveTo>
                <a:lnTo>
                  <a:pt x="4711" y="251790"/>
                </a:lnTo>
                <a:lnTo>
                  <a:pt x="34861" y="251790"/>
                </a:lnTo>
                <a:lnTo>
                  <a:pt x="34861" y="74396"/>
                </a:lnTo>
                <a:lnTo>
                  <a:pt x="4711" y="7439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5"/>
          <p:cNvSpPr/>
          <p:nvPr/>
        </p:nvSpPr>
        <p:spPr>
          <a:xfrm>
            <a:off x="1720600" y="356293"/>
            <a:ext cx="103798" cy="128033"/>
          </a:xfrm>
          <a:custGeom>
            <a:avLst/>
            <a:gdLst/>
            <a:ahLst/>
            <a:cxnLst/>
            <a:rect l="l" t="t" r="r" b="b"/>
            <a:pathLst>
              <a:path w="147624" h="182092">
                <a:moveTo>
                  <a:pt x="62661" y="31724"/>
                </a:moveTo>
                <a:lnTo>
                  <a:pt x="65392" y="30162"/>
                </a:lnTo>
                <a:lnTo>
                  <a:pt x="77927" y="27025"/>
                </a:lnTo>
                <a:lnTo>
                  <a:pt x="87325" y="27025"/>
                </a:lnTo>
                <a:lnTo>
                  <a:pt x="103236" y="29549"/>
                </a:lnTo>
                <a:lnTo>
                  <a:pt x="112214" y="37202"/>
                </a:lnTo>
                <a:lnTo>
                  <a:pt x="116237" y="49945"/>
                </a:lnTo>
                <a:lnTo>
                  <a:pt x="117487" y="67741"/>
                </a:lnTo>
                <a:lnTo>
                  <a:pt x="117760" y="78307"/>
                </a:lnTo>
                <a:lnTo>
                  <a:pt x="117889" y="106135"/>
                </a:lnTo>
                <a:lnTo>
                  <a:pt x="118038" y="121023"/>
                </a:lnTo>
                <a:lnTo>
                  <a:pt x="118016" y="141871"/>
                </a:lnTo>
                <a:lnTo>
                  <a:pt x="117780" y="152000"/>
                </a:lnTo>
                <a:lnTo>
                  <a:pt x="117352" y="164712"/>
                </a:lnTo>
                <a:lnTo>
                  <a:pt x="116700" y="182092"/>
                </a:lnTo>
                <a:lnTo>
                  <a:pt x="146850" y="182092"/>
                </a:lnTo>
                <a:lnTo>
                  <a:pt x="146957" y="174487"/>
                </a:lnTo>
                <a:lnTo>
                  <a:pt x="147110" y="162795"/>
                </a:lnTo>
                <a:lnTo>
                  <a:pt x="147289" y="147767"/>
                </a:lnTo>
                <a:lnTo>
                  <a:pt x="147460" y="131083"/>
                </a:lnTo>
                <a:lnTo>
                  <a:pt x="147587" y="114423"/>
                </a:lnTo>
                <a:lnTo>
                  <a:pt x="147624" y="71983"/>
                </a:lnTo>
                <a:lnTo>
                  <a:pt x="147282" y="59290"/>
                </a:lnTo>
                <a:lnTo>
                  <a:pt x="146456" y="46596"/>
                </a:lnTo>
                <a:lnTo>
                  <a:pt x="144280" y="33529"/>
                </a:lnTo>
                <a:lnTo>
                  <a:pt x="138674" y="20115"/>
                </a:lnTo>
                <a:lnTo>
                  <a:pt x="130192" y="10559"/>
                </a:lnTo>
                <a:lnTo>
                  <a:pt x="119094" y="4357"/>
                </a:lnTo>
                <a:lnTo>
                  <a:pt x="105637" y="1005"/>
                </a:lnTo>
                <a:lnTo>
                  <a:pt x="90081" y="0"/>
                </a:lnTo>
                <a:lnTo>
                  <a:pt x="87837" y="32"/>
                </a:lnTo>
                <a:lnTo>
                  <a:pt x="73712" y="1882"/>
                </a:lnTo>
                <a:lnTo>
                  <a:pt x="61479" y="6295"/>
                </a:lnTo>
                <a:lnTo>
                  <a:pt x="50776" y="12874"/>
                </a:lnTo>
                <a:lnTo>
                  <a:pt x="41241" y="21220"/>
                </a:lnTo>
                <a:lnTo>
                  <a:pt x="32511" y="30937"/>
                </a:lnTo>
                <a:lnTo>
                  <a:pt x="27812" y="4698"/>
                </a:lnTo>
                <a:lnTo>
                  <a:pt x="0" y="4698"/>
                </a:lnTo>
                <a:lnTo>
                  <a:pt x="1574" y="18808"/>
                </a:lnTo>
                <a:lnTo>
                  <a:pt x="2389" y="27075"/>
                </a:lnTo>
                <a:lnTo>
                  <a:pt x="2978" y="39633"/>
                </a:lnTo>
                <a:lnTo>
                  <a:pt x="3149" y="54038"/>
                </a:lnTo>
                <a:lnTo>
                  <a:pt x="3149" y="182092"/>
                </a:lnTo>
                <a:lnTo>
                  <a:pt x="33286" y="182092"/>
                </a:lnTo>
                <a:lnTo>
                  <a:pt x="33286" y="63055"/>
                </a:lnTo>
                <a:lnTo>
                  <a:pt x="36385" y="58988"/>
                </a:lnTo>
                <a:lnTo>
                  <a:pt x="46360" y="47349"/>
                </a:lnTo>
                <a:lnTo>
                  <a:pt x="56274" y="37086"/>
                </a:lnTo>
                <a:lnTo>
                  <a:pt x="62661"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6"/>
          <p:cNvSpPr/>
          <p:nvPr/>
        </p:nvSpPr>
        <p:spPr>
          <a:xfrm>
            <a:off x="1852187" y="422106"/>
            <a:ext cx="34227" cy="124376"/>
          </a:xfrm>
          <a:custGeom>
            <a:avLst/>
            <a:gdLst/>
            <a:ahLst/>
            <a:cxnLst/>
            <a:rect l="l" t="t" r="r" b="b"/>
            <a:pathLst>
              <a:path w="48678" h="176891">
                <a:moveTo>
                  <a:pt x="36766" y="77831"/>
                </a:moveTo>
                <a:lnTo>
                  <a:pt x="48678" y="83292"/>
                </a:lnTo>
                <a:lnTo>
                  <a:pt x="38801" y="37607"/>
                </a:lnTo>
                <a:lnTo>
                  <a:pt x="34161" y="21483"/>
                </a:lnTo>
                <a:lnTo>
                  <a:pt x="32511" y="0"/>
                </a:lnTo>
                <a:lnTo>
                  <a:pt x="26161" y="70248"/>
                </a:lnTo>
                <a:lnTo>
                  <a:pt x="36766" y="77831"/>
                </a:lnTo>
                <a:close/>
              </a:path>
              <a:path w="48678" h="176891">
                <a:moveTo>
                  <a:pt x="968" y="19440"/>
                </a:moveTo>
                <a:lnTo>
                  <a:pt x="4267" y="35140"/>
                </a:lnTo>
                <a:lnTo>
                  <a:pt x="9704" y="48866"/>
                </a:lnTo>
                <a:lnTo>
                  <a:pt x="17071" y="60581"/>
                </a:lnTo>
                <a:lnTo>
                  <a:pt x="26161" y="70248"/>
                </a:lnTo>
                <a:lnTo>
                  <a:pt x="32511" y="0"/>
                </a:lnTo>
                <a:lnTo>
                  <a:pt x="32531" y="-2276"/>
                </a:lnTo>
                <a:lnTo>
                  <a:pt x="34572" y="-22375"/>
                </a:lnTo>
                <a:lnTo>
                  <a:pt x="39057" y="-37880"/>
                </a:lnTo>
                <a:lnTo>
                  <a:pt x="44671" y="-49218"/>
                </a:lnTo>
                <a:lnTo>
                  <a:pt x="50103" y="-56812"/>
                </a:lnTo>
                <a:lnTo>
                  <a:pt x="54038" y="-61086"/>
                </a:lnTo>
                <a:lnTo>
                  <a:pt x="69618" y="-66254"/>
                </a:lnTo>
                <a:lnTo>
                  <a:pt x="85763" y="-67754"/>
                </a:lnTo>
                <a:lnTo>
                  <a:pt x="93260" y="-67239"/>
                </a:lnTo>
                <a:lnTo>
                  <a:pt x="105142" y="-63556"/>
                </a:lnTo>
                <a:lnTo>
                  <a:pt x="114527" y="-56199"/>
                </a:lnTo>
                <a:lnTo>
                  <a:pt x="121331" y="-45018"/>
                </a:lnTo>
                <a:lnTo>
                  <a:pt x="125473" y="-29862"/>
                </a:lnTo>
                <a:lnTo>
                  <a:pt x="126872" y="-10579"/>
                </a:lnTo>
                <a:lnTo>
                  <a:pt x="126872" y="28575"/>
                </a:lnTo>
                <a:lnTo>
                  <a:pt x="123171" y="35166"/>
                </a:lnTo>
                <a:lnTo>
                  <a:pt x="114746" y="45769"/>
                </a:lnTo>
                <a:lnTo>
                  <a:pt x="104376" y="54231"/>
                </a:lnTo>
                <a:lnTo>
                  <a:pt x="92485" y="59834"/>
                </a:lnTo>
                <a:lnTo>
                  <a:pt x="79501" y="61861"/>
                </a:lnTo>
                <a:lnTo>
                  <a:pt x="78046" y="61848"/>
                </a:lnTo>
                <a:lnTo>
                  <a:pt x="66054" y="60492"/>
                </a:lnTo>
                <a:lnTo>
                  <a:pt x="55208" y="56444"/>
                </a:lnTo>
                <a:lnTo>
                  <a:pt x="45970" y="49038"/>
                </a:lnTo>
                <a:lnTo>
                  <a:pt x="38801" y="37607"/>
                </a:lnTo>
                <a:lnTo>
                  <a:pt x="48678" y="83292"/>
                </a:lnTo>
                <a:lnTo>
                  <a:pt x="61688" y="86596"/>
                </a:lnTo>
                <a:lnTo>
                  <a:pt x="75590" y="87706"/>
                </a:lnTo>
                <a:lnTo>
                  <a:pt x="82543" y="87459"/>
                </a:lnTo>
                <a:lnTo>
                  <a:pt x="96032" y="85208"/>
                </a:lnTo>
                <a:lnTo>
                  <a:pt x="107612" y="80630"/>
                </a:lnTo>
                <a:lnTo>
                  <a:pt x="117838" y="73753"/>
                </a:lnTo>
                <a:lnTo>
                  <a:pt x="127266" y="64604"/>
                </a:lnTo>
                <a:lnTo>
                  <a:pt x="127439" y="78176"/>
                </a:lnTo>
                <a:lnTo>
                  <a:pt x="127833" y="91163"/>
                </a:lnTo>
                <a:lnTo>
                  <a:pt x="128054" y="101015"/>
                </a:lnTo>
                <a:lnTo>
                  <a:pt x="127331" y="111049"/>
                </a:lnTo>
                <a:lnTo>
                  <a:pt x="122971" y="124692"/>
                </a:lnTo>
                <a:lnTo>
                  <a:pt x="114979" y="134530"/>
                </a:lnTo>
                <a:lnTo>
                  <a:pt x="103718" y="141007"/>
                </a:lnTo>
                <a:lnTo>
                  <a:pt x="89549" y="144568"/>
                </a:lnTo>
                <a:lnTo>
                  <a:pt x="72834" y="145656"/>
                </a:lnTo>
                <a:lnTo>
                  <a:pt x="70290" y="145636"/>
                </a:lnTo>
                <a:lnTo>
                  <a:pt x="53477" y="143803"/>
                </a:lnTo>
                <a:lnTo>
                  <a:pt x="42129" y="138170"/>
                </a:lnTo>
                <a:lnTo>
                  <a:pt x="35713" y="127562"/>
                </a:lnTo>
                <a:lnTo>
                  <a:pt x="33693" y="110807"/>
                </a:lnTo>
                <a:lnTo>
                  <a:pt x="2755" y="116687"/>
                </a:lnTo>
                <a:lnTo>
                  <a:pt x="4929" y="134144"/>
                </a:lnTo>
                <a:lnTo>
                  <a:pt x="10500" y="146856"/>
                </a:lnTo>
                <a:lnTo>
                  <a:pt x="19040" y="156561"/>
                </a:lnTo>
                <a:lnTo>
                  <a:pt x="30104" y="163568"/>
                </a:lnTo>
                <a:lnTo>
                  <a:pt x="43250" y="168189"/>
                </a:lnTo>
                <a:lnTo>
                  <a:pt x="58035" y="170734"/>
                </a:lnTo>
                <a:lnTo>
                  <a:pt x="74015" y="171513"/>
                </a:lnTo>
                <a:lnTo>
                  <a:pt x="81572" y="171343"/>
                </a:lnTo>
                <a:lnTo>
                  <a:pt x="98864" y="169483"/>
                </a:lnTo>
                <a:lnTo>
                  <a:pt x="114042" y="165632"/>
                </a:lnTo>
                <a:lnTo>
                  <a:pt x="127048" y="159865"/>
                </a:lnTo>
                <a:lnTo>
                  <a:pt x="137822" y="152258"/>
                </a:lnTo>
                <a:lnTo>
                  <a:pt x="146306" y="142885"/>
                </a:lnTo>
                <a:lnTo>
                  <a:pt x="152438" y="131822"/>
                </a:lnTo>
                <a:lnTo>
                  <a:pt x="156162" y="119144"/>
                </a:lnTo>
                <a:lnTo>
                  <a:pt x="157416" y="104927"/>
                </a:lnTo>
                <a:lnTo>
                  <a:pt x="157325" y="96305"/>
                </a:lnTo>
                <a:lnTo>
                  <a:pt x="157145" y="82259"/>
                </a:lnTo>
                <a:lnTo>
                  <a:pt x="157048" y="-63830"/>
                </a:lnTo>
                <a:lnTo>
                  <a:pt x="159778" y="-88899"/>
                </a:lnTo>
                <a:lnTo>
                  <a:pt x="136283" y="-88899"/>
                </a:lnTo>
                <a:lnTo>
                  <a:pt x="129628" y="-74790"/>
                </a:lnTo>
                <a:lnTo>
                  <a:pt x="121632" y="-82771"/>
                </a:lnTo>
                <a:lnTo>
                  <a:pt x="110116" y="-89118"/>
                </a:lnTo>
                <a:lnTo>
                  <a:pt x="97409" y="-92561"/>
                </a:lnTo>
                <a:lnTo>
                  <a:pt x="84581" y="-93598"/>
                </a:lnTo>
                <a:lnTo>
                  <a:pt x="81930" y="-93570"/>
                </a:lnTo>
                <a:lnTo>
                  <a:pt x="66639" y="-92197"/>
                </a:lnTo>
                <a:lnTo>
                  <a:pt x="52871" y="-88801"/>
                </a:lnTo>
                <a:lnTo>
                  <a:pt x="40647" y="-83443"/>
                </a:lnTo>
                <a:lnTo>
                  <a:pt x="29986" y="-76184"/>
                </a:lnTo>
                <a:lnTo>
                  <a:pt x="20908" y="-67084"/>
                </a:lnTo>
                <a:lnTo>
                  <a:pt x="13436" y="-56204"/>
                </a:lnTo>
                <a:lnTo>
                  <a:pt x="7588" y="-43604"/>
                </a:lnTo>
                <a:lnTo>
                  <a:pt x="3386" y="-29344"/>
                </a:lnTo>
                <a:lnTo>
                  <a:pt x="849" y="-13485"/>
                </a:lnTo>
                <a:lnTo>
                  <a:pt x="0" y="3911"/>
                </a:lnTo>
                <a:lnTo>
                  <a:pt x="968" y="1944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bject 14"/>
          <p:cNvSpPr/>
          <p:nvPr/>
        </p:nvSpPr>
        <p:spPr>
          <a:xfrm>
            <a:off x="0" y="732235"/>
            <a:ext cx="9144000" cy="667878"/>
          </a:xfrm>
          <a:custGeom>
            <a:avLst/>
            <a:gdLst/>
            <a:ahLst/>
            <a:cxnLst/>
            <a:rect l="l" t="t" r="r" b="b"/>
            <a:pathLst>
              <a:path w="13004800" h="949871">
                <a:moveTo>
                  <a:pt x="0" y="949871"/>
                </a:moveTo>
                <a:lnTo>
                  <a:pt x="13004800" y="949871"/>
                </a:lnTo>
                <a:lnTo>
                  <a:pt x="13004800" y="0"/>
                </a:lnTo>
                <a:lnTo>
                  <a:pt x="0" y="0"/>
                </a:lnTo>
                <a:lnTo>
                  <a:pt x="0" y="94987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12"/>
          <p:cNvSpPr/>
          <p:nvPr/>
        </p:nvSpPr>
        <p:spPr>
          <a:xfrm>
            <a:off x="125016" y="3433000"/>
            <a:ext cx="2446376" cy="3278981"/>
          </a:xfrm>
          <a:custGeom>
            <a:avLst/>
            <a:gdLst/>
            <a:ahLst/>
            <a:cxnLst/>
            <a:rect l="l" t="t" r="r" b="b"/>
            <a:pathLst>
              <a:path w="3479291" h="4663439">
                <a:moveTo>
                  <a:pt x="0" y="0"/>
                </a:moveTo>
                <a:lnTo>
                  <a:pt x="0" y="4663440"/>
                </a:lnTo>
                <a:lnTo>
                  <a:pt x="3479291" y="4663440"/>
                </a:lnTo>
                <a:lnTo>
                  <a:pt x="3479291" y="0"/>
                </a:lnTo>
                <a:lnTo>
                  <a:pt x="0" y="0"/>
                </a:lnTo>
                <a:close/>
              </a:path>
            </a:pathLst>
          </a:custGeom>
          <a:solidFill>
            <a:srgbClr val="000000">
              <a:alpha val="35000"/>
            </a:srgbClr>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13"/>
          <p:cNvSpPr/>
          <p:nvPr/>
        </p:nvSpPr>
        <p:spPr>
          <a:xfrm>
            <a:off x="145531" y="3474618"/>
            <a:ext cx="2348508" cy="3186925"/>
          </a:xfrm>
          <a:custGeom>
            <a:avLst/>
            <a:gdLst/>
            <a:ahLst/>
            <a:cxnLst/>
            <a:rect l="l" t="t" r="r" b="b"/>
            <a:pathLst>
              <a:path w="3340100" h="4532515">
                <a:moveTo>
                  <a:pt x="31" y="4405500"/>
                </a:moveTo>
                <a:lnTo>
                  <a:pt x="841" y="4447492"/>
                </a:lnTo>
                <a:lnTo>
                  <a:pt x="6735" y="4491345"/>
                </a:lnTo>
                <a:lnTo>
                  <a:pt x="31181" y="4521954"/>
                </a:lnTo>
                <a:lnTo>
                  <a:pt x="68505" y="4530563"/>
                </a:lnTo>
                <a:lnTo>
                  <a:pt x="127719" y="4532487"/>
                </a:lnTo>
                <a:lnTo>
                  <a:pt x="3340100" y="4532515"/>
                </a:lnTo>
                <a:lnTo>
                  <a:pt x="3340068" y="304421"/>
                </a:lnTo>
                <a:lnTo>
                  <a:pt x="3339258" y="262429"/>
                </a:lnTo>
                <a:lnTo>
                  <a:pt x="3333364" y="218576"/>
                </a:lnTo>
                <a:lnTo>
                  <a:pt x="3308918" y="187967"/>
                </a:lnTo>
                <a:lnTo>
                  <a:pt x="3271594" y="179358"/>
                </a:lnTo>
                <a:lnTo>
                  <a:pt x="3212380" y="177434"/>
                </a:lnTo>
                <a:lnTo>
                  <a:pt x="896327" y="177406"/>
                </a:lnTo>
                <a:lnTo>
                  <a:pt x="689381" y="0"/>
                </a:lnTo>
                <a:lnTo>
                  <a:pt x="482968" y="177406"/>
                </a:lnTo>
                <a:lnTo>
                  <a:pt x="0" y="177406"/>
                </a:lnTo>
                <a:lnTo>
                  <a:pt x="31" y="44055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11"/>
          <p:cNvSpPr/>
          <p:nvPr/>
        </p:nvSpPr>
        <p:spPr>
          <a:xfrm>
            <a:off x="174834" y="1553936"/>
            <a:ext cx="2396558" cy="1828626"/>
          </a:xfrm>
          <a:prstGeom prst="rect">
            <a:avLst/>
          </a:prstGeom>
          <a:blipFill>
            <a:blip r:embed="rId3" cstate="print"/>
            <a:stretch>
              <a:fillRect/>
            </a:stretch>
          </a:blip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bject 10"/>
          <p:cNvSpPr txBox="1"/>
          <p:nvPr/>
        </p:nvSpPr>
        <p:spPr>
          <a:xfrm>
            <a:off x="422710" y="935020"/>
            <a:ext cx="78636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231" normalizeH="0" baseline="0" noProof="0" dirty="0">
                <a:ln>
                  <a:noFill/>
                </a:ln>
                <a:solidFill>
                  <a:srgbClr val="FFFFFF"/>
                </a:solidFill>
                <a:effectLst/>
                <a:uLnTx/>
                <a:uFillTx/>
                <a:latin typeface="Times New Roman"/>
                <a:ea typeface="+mn-ea"/>
                <a:cs typeface="Times New Roman"/>
              </a:rPr>
              <a:t>PLAN</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 name="object 9"/>
          <p:cNvSpPr txBox="1"/>
          <p:nvPr/>
        </p:nvSpPr>
        <p:spPr>
          <a:xfrm>
            <a:off x="1222163" y="935020"/>
            <a:ext cx="45395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0" normalizeH="0" baseline="0" noProof="0" dirty="0">
                <a:ln>
                  <a:noFill/>
                </a:ln>
                <a:solidFill>
                  <a:srgbClr val="FFFFFF"/>
                </a:solidFill>
                <a:effectLst/>
                <a:uLnTx/>
                <a:uFillTx/>
                <a:latin typeface="Times New Roman"/>
                <a:ea typeface="+mn-ea"/>
                <a:cs typeface="Times New Roman"/>
              </a:rPr>
              <a:t>OF</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8" name="object 8"/>
          <p:cNvSpPr txBox="1"/>
          <p:nvPr/>
        </p:nvSpPr>
        <p:spPr>
          <a:xfrm>
            <a:off x="1689207" y="935020"/>
            <a:ext cx="773981"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326" normalizeH="0" baseline="0" noProof="0" dirty="0">
                <a:ln>
                  <a:noFill/>
                </a:ln>
                <a:solidFill>
                  <a:srgbClr val="FFFFFF"/>
                </a:solidFill>
                <a:effectLst/>
                <a:uLnTx/>
                <a:uFillTx/>
                <a:latin typeface="Times New Roman"/>
                <a:ea typeface="+mn-ea"/>
                <a:cs typeface="Times New Roman"/>
              </a:rPr>
              <a:t>CARE</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7" name="object 7"/>
          <p:cNvSpPr txBox="1"/>
          <p:nvPr/>
        </p:nvSpPr>
        <p:spPr>
          <a:xfrm>
            <a:off x="2800115" y="1899944"/>
            <a:ext cx="2265955" cy="709592"/>
          </a:xfrm>
          <a:prstGeom prst="rect">
            <a:avLst/>
          </a:prstGeom>
        </p:spPr>
        <p:txBody>
          <a:bodyPr wrap="square" lIns="0" tIns="8505" rIns="0" bIns="0" rtlCol="0">
            <a:no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Potential Problems:</a:t>
            </a:r>
            <a:endParaRPr kumimoji="0"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2" name="object 2"/>
          <p:cNvSpPr txBox="1"/>
          <p:nvPr/>
        </p:nvSpPr>
        <p:spPr>
          <a:xfrm>
            <a:off x="125016" y="3433000"/>
            <a:ext cx="2446376" cy="3278981"/>
          </a:xfrm>
          <a:prstGeom prst="rect">
            <a:avLst/>
          </a:prstGeom>
        </p:spPr>
        <p:txBody>
          <a:bodyPr wrap="square" lIns="0" tIns="2505" rIns="0" bIns="0" rtlCol="0">
            <a:noAutofit/>
          </a:bodyPr>
          <a:lstStyle/>
          <a:p>
            <a:pPr marL="0" marR="0" lvl="0" indent="0" algn="l" defTabSz="642915" rtl="0" eaLnBrk="1" fontAlgn="auto" latinLnBrk="0" hangingPunct="1">
              <a:lnSpc>
                <a:spcPts val="598"/>
              </a:lnSpc>
              <a:spcBef>
                <a:spcPts val="0"/>
              </a:spcBef>
              <a:spcAft>
                <a:spcPts val="0"/>
              </a:spcAft>
              <a:buClrTx/>
              <a:buSzTx/>
              <a:buFontTx/>
              <a:buNone/>
              <a:tabLst/>
              <a:defRPr/>
            </a:pPr>
            <a:endParaRPr kumimoji="0" sz="598" b="0" i="0" u="none" strike="noStrike" kern="1200" cap="none" spc="0" normalizeH="0" baseline="0" noProof="0" dirty="0">
              <a:ln>
                <a:noFill/>
              </a:ln>
              <a:solidFill>
                <a:prstClr val="black"/>
              </a:solidFill>
              <a:effectLst/>
              <a:uLnTx/>
              <a:uFillTx/>
              <a:latin typeface="Calibri"/>
              <a:ea typeface="+mn-ea"/>
              <a:cs typeface="+mn-cs"/>
            </a:endParaRPr>
          </a:p>
          <a:p>
            <a:pPr marL="210550" marR="0" lvl="0" indent="0" algn="l" defTabSz="642915" rtl="0" eaLnBrk="1" fontAlgn="auto" latinLnBrk="0" hangingPunct="1">
              <a:lnSpc>
                <a:spcPct val="95825"/>
              </a:lnSpc>
              <a:spcBef>
                <a:spcPts val="1406"/>
              </a:spcBef>
              <a:spcAft>
                <a:spcPts val="0"/>
              </a:spcAft>
              <a:buClrTx/>
              <a:buSzTx/>
              <a:buFontTx/>
              <a:buNone/>
              <a:tabLst/>
              <a:defRPr/>
            </a:pPr>
            <a:r>
              <a:rPr kumimoji="0" sz="1195" b="1" i="0" u="none" strike="noStrike" kern="1200" cap="none" spc="-2" normalizeH="0" baseline="0" noProof="0" dirty="0">
                <a:ln>
                  <a:noFill/>
                </a:ln>
                <a:solidFill>
                  <a:srgbClr val="FFFFFF"/>
                </a:solidFill>
                <a:effectLst/>
                <a:uLnTx/>
                <a:uFillTx/>
                <a:latin typeface="Times New Roman"/>
                <a:ea typeface="+mn-ea"/>
                <a:cs typeface="Times New Roman"/>
              </a:rPr>
              <a:t>Name: </a:t>
            </a:r>
            <a:r>
              <a:rPr kumimoji="0" sz="1195" b="0" i="0" u="none" strike="noStrike" kern="1200" cap="none" spc="-2" normalizeH="0" baseline="0" noProof="0" dirty="0">
                <a:ln>
                  <a:noFill/>
                </a:ln>
                <a:solidFill>
                  <a:srgbClr val="FFFFFF"/>
                </a:solidFill>
                <a:effectLst/>
                <a:uLnTx/>
                <a:uFillTx/>
                <a:latin typeface="Times New Roman"/>
                <a:ea typeface="+mn-ea"/>
                <a:cs typeface="Times New Roman"/>
              </a:rPr>
              <a:t>Walter Jones</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2" normalizeH="0" baseline="0" noProof="0" dirty="0">
                <a:ln>
                  <a:noFill/>
                </a:ln>
                <a:solidFill>
                  <a:srgbClr val="FFFFFF"/>
                </a:solidFill>
                <a:effectLst/>
                <a:uLnTx/>
                <a:uFillTx/>
                <a:latin typeface="Times New Roman"/>
                <a:ea typeface="+mn-ea"/>
                <a:cs typeface="Times New Roman"/>
              </a:rPr>
              <a:t>Gender: </a:t>
            </a:r>
            <a:r>
              <a:rPr kumimoji="0" sz="1195" b="0" i="0" u="none" strike="noStrike" kern="1200" cap="none" spc="-12" normalizeH="0" baseline="0" noProof="0" dirty="0">
                <a:ln>
                  <a:noFill/>
                </a:ln>
                <a:solidFill>
                  <a:srgbClr val="FFFFFF"/>
                </a:solidFill>
                <a:effectLst/>
                <a:uLnTx/>
                <a:uFillTx/>
                <a:latin typeface="Times New Roman"/>
                <a:ea typeface="+mn-ea"/>
                <a:cs typeface="Times New Roman"/>
              </a:rPr>
              <a:t>Male</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23" normalizeH="0" baseline="0" noProof="0" dirty="0">
                <a:ln>
                  <a:noFill/>
                </a:ln>
                <a:solidFill>
                  <a:srgbClr val="FFFFFF"/>
                </a:solidFill>
                <a:effectLst/>
                <a:uLnTx/>
                <a:uFillTx/>
                <a:latin typeface="Times New Roman"/>
                <a:ea typeface="+mn-ea"/>
                <a:cs typeface="Times New Roman"/>
              </a:rPr>
              <a:t>Age: </a:t>
            </a:r>
            <a:r>
              <a:rPr kumimoji="0" sz="1195" b="0" i="0" u="none" strike="noStrike" kern="1200" cap="none" spc="-23" normalizeH="0" baseline="0" noProof="0" dirty="0">
                <a:ln>
                  <a:noFill/>
                </a:ln>
                <a:solidFill>
                  <a:srgbClr val="FFFFFF"/>
                </a:solidFill>
                <a:effectLst/>
                <a:uLnTx/>
                <a:uFillTx/>
                <a:latin typeface="Times New Roman"/>
                <a:ea typeface="+mn-ea"/>
                <a:cs typeface="Times New Roman"/>
              </a:rPr>
              <a:t>65</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6" normalizeH="0" baseline="0" noProof="0" dirty="0">
                <a:ln>
                  <a:noFill/>
                </a:ln>
                <a:solidFill>
                  <a:srgbClr val="FFFFFF"/>
                </a:solidFill>
                <a:effectLst/>
                <a:uLnTx/>
                <a:uFillTx/>
                <a:latin typeface="Times New Roman"/>
                <a:ea typeface="+mn-ea"/>
                <a:cs typeface="Times New Roman"/>
              </a:rPr>
              <a:t>Height: 6' 2"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sz="1195" b="1" i="0" u="none" strike="noStrike" kern="1200" cap="none" spc="-7" normalizeH="0" baseline="0" noProof="0" dirty="0">
                <a:ln>
                  <a:noFill/>
                </a:ln>
                <a:solidFill>
                  <a:srgbClr val="FFFFFF"/>
                </a:solidFill>
                <a:effectLst/>
                <a:uLnTx/>
                <a:uFillTx/>
                <a:latin typeface="Times New Roman"/>
                <a:ea typeface="+mn-ea"/>
                <a:cs typeface="Times New Roman"/>
              </a:rPr>
              <a:t>Weight: 210 lb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1172615" lvl="0" indent="0" algn="l" defTabSz="642915" rtl="0" eaLnBrk="1" fontAlgn="auto" latinLnBrk="0" hangingPunct="1">
              <a:lnSpc>
                <a:spcPts val="1374"/>
              </a:lnSpc>
              <a:spcBef>
                <a:spcPts val="383"/>
              </a:spcBef>
              <a:spcAft>
                <a:spcPts val="0"/>
              </a:spcAft>
              <a:buClrTx/>
              <a:buSzTx/>
              <a:buFontTx/>
              <a:buNone/>
              <a:tabLst/>
              <a:defRPr/>
            </a:pPr>
            <a:r>
              <a:rPr kumimoji="0" lang="en-US" sz="1195" b="1" i="1" u="none" strike="noStrike" kern="1200" cap="none" spc="-28" normalizeH="0" baseline="0" noProof="0" dirty="0">
                <a:ln>
                  <a:noFill/>
                </a:ln>
                <a:solidFill>
                  <a:srgbClr val="FFFFFF"/>
                </a:solidFill>
                <a:effectLst/>
                <a:uLnTx/>
                <a:uFillTx/>
                <a:latin typeface="Times New Roman"/>
                <a:ea typeface="+mn-ea"/>
                <a:cs typeface="Times New Roman"/>
              </a:rPr>
              <a:t>CABG</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97"/>
              </a:spcBef>
              <a:spcAft>
                <a:spcPts val="0"/>
              </a:spcAft>
              <a:buClrTx/>
              <a:buSzTx/>
              <a:buFontTx/>
              <a:buNone/>
              <a:tabLst/>
              <a:defRPr/>
            </a:pPr>
            <a:r>
              <a:rPr kumimoji="0" sz="1195" b="1" i="0" u="none" strike="noStrike" kern="1200" cap="none" spc="-20" normalizeH="0" baseline="0" noProof="0" dirty="0">
                <a:ln>
                  <a:noFill/>
                </a:ln>
                <a:solidFill>
                  <a:srgbClr val="FFFFFF"/>
                </a:solidFill>
                <a:effectLst/>
                <a:uLnTx/>
                <a:uFillTx/>
                <a:latin typeface="Times New Roman"/>
                <a:ea typeface="+mn-ea"/>
                <a:cs typeface="Times New Roman"/>
              </a:rPr>
              <a:t>Primary Physician: </a:t>
            </a:r>
            <a:r>
              <a:rPr kumimoji="0" sz="1195" b="0" i="0" u="none" strike="noStrike" kern="1200" cap="none" spc="-20" normalizeH="0" baseline="0" noProof="0" dirty="0">
                <a:ln>
                  <a:noFill/>
                </a:ln>
                <a:solidFill>
                  <a:srgbClr val="FFFFFF"/>
                </a:solidFill>
                <a:effectLst/>
                <a:uLnTx/>
                <a:uFillTx/>
                <a:latin typeface="Times New Roman"/>
                <a:ea typeface="+mn-ea"/>
                <a:cs typeface="Times New Roman"/>
              </a:rPr>
              <a:t>Dr. Smith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5" normalizeH="0" baseline="0" noProof="0" dirty="0">
                <a:ln>
                  <a:noFill/>
                </a:ln>
                <a:solidFill>
                  <a:srgbClr val="FFFFFF"/>
                </a:solidFill>
                <a:effectLst/>
                <a:uLnTx/>
                <a:uFillTx/>
                <a:latin typeface="Times New Roman"/>
                <a:ea typeface="+mn-ea"/>
                <a:cs typeface="Times New Roman"/>
              </a:rPr>
              <a:t>Allergies: </a:t>
            </a:r>
            <a:r>
              <a:rPr kumimoji="0" sz="1195" b="0" i="0" u="none" strike="noStrike" kern="1200" cap="none" spc="-5" normalizeH="0" baseline="0" noProof="0" dirty="0">
                <a:ln>
                  <a:noFill/>
                </a:ln>
                <a:solidFill>
                  <a:srgbClr val="FFFFFF"/>
                </a:solidFill>
                <a:effectLst/>
                <a:uLnTx/>
                <a:uFillTx/>
                <a:latin typeface="Times New Roman"/>
                <a:ea typeface="+mn-ea"/>
                <a:cs typeface="Times New Roman"/>
              </a:rPr>
              <a:t>No Known Allergies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15" normalizeH="0" baseline="0" noProof="0" dirty="0">
                <a:ln>
                  <a:noFill/>
                </a:ln>
                <a:solidFill>
                  <a:srgbClr val="FFFFFF"/>
                </a:solidFill>
                <a:effectLst/>
                <a:uLnTx/>
                <a:uFillTx/>
                <a:latin typeface="Times New Roman"/>
                <a:ea typeface="+mn-ea"/>
                <a:cs typeface="Times New Roman"/>
              </a:rPr>
              <a:t>Pressure Ulcer POA: </a:t>
            </a:r>
            <a:r>
              <a:rPr kumimoji="0" sz="1195" b="0" i="0" u="none" strike="noStrike" kern="1200" cap="none" spc="-15" normalizeH="0" baseline="0" noProof="0" dirty="0">
                <a:ln>
                  <a:noFill/>
                </a:ln>
                <a:solidFill>
                  <a:srgbClr val="FFFFFF"/>
                </a:solidFill>
                <a:effectLst/>
                <a:uLnTx/>
                <a:uFillTx/>
                <a:latin typeface="Times New Roman"/>
                <a:ea typeface="+mn-ea"/>
                <a:cs typeface="Times New Roman"/>
              </a:rPr>
              <a:t>Negative </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303245" lvl="0" indent="0" algn="l" defTabSz="642915" rtl="0" eaLnBrk="1" fontAlgn="auto" latinLnBrk="0" hangingPunct="1">
              <a:lnSpc>
                <a:spcPts val="1379"/>
              </a:lnSpc>
              <a:spcBef>
                <a:spcPts val="385"/>
              </a:spcBef>
              <a:spcAft>
                <a:spcPts val="0"/>
              </a:spcAft>
              <a:buClrTx/>
              <a:buSzTx/>
              <a:buFontTx/>
              <a:buNone/>
              <a:tabLst/>
              <a:defRPr/>
            </a:pPr>
            <a:r>
              <a:rPr kumimoji="0" sz="1195" b="1" i="0" u="none" strike="noStrike" kern="1200" cap="none" spc="-24" normalizeH="0" baseline="0" noProof="0" dirty="0">
                <a:ln>
                  <a:noFill/>
                </a:ln>
                <a:solidFill>
                  <a:srgbClr val="FFFFFF"/>
                </a:solidFill>
                <a:effectLst/>
                <a:uLnTx/>
                <a:uFillTx/>
                <a:latin typeface="Times New Roman"/>
                <a:ea typeface="+mn-ea"/>
                <a:cs typeface="Times New Roman"/>
              </a:rPr>
              <a:t>Last Braden Risk Score: </a:t>
            </a:r>
            <a:r>
              <a:rPr kumimoji="0" sz="1195" b="0" i="0" u="none" strike="noStrike" kern="1200" cap="none" spc="-24" normalizeH="0" baseline="0" noProof="0" dirty="0">
                <a:ln>
                  <a:noFill/>
                </a:ln>
                <a:solidFill>
                  <a:srgbClr val="FFFFFF"/>
                </a:solidFill>
                <a:effectLst/>
                <a:uLnTx/>
                <a:uFillTx/>
                <a:latin typeface="Times New Roman"/>
                <a:ea typeface="+mn-ea"/>
                <a:cs typeface="Times New Roman"/>
              </a:rPr>
              <a:t>19</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99"/>
              </a:spcBef>
              <a:spcAft>
                <a:spcPts val="0"/>
              </a:spcAft>
              <a:buClrTx/>
              <a:buSzTx/>
              <a:buFontTx/>
              <a:buNone/>
              <a:tabLst/>
              <a:defRPr/>
            </a:pPr>
            <a:r>
              <a:rPr kumimoji="0" sz="1195" b="1" i="0" u="none" strike="noStrike" kern="1200" cap="none" spc="-28" normalizeH="0" baseline="0" noProof="0" dirty="0">
                <a:ln>
                  <a:noFill/>
                </a:ln>
                <a:solidFill>
                  <a:srgbClr val="FFFFFF"/>
                </a:solidFill>
                <a:effectLst/>
                <a:uLnTx/>
                <a:uFillTx/>
                <a:latin typeface="Times New Roman"/>
                <a:ea typeface="+mn-ea"/>
                <a:cs typeface="Times New Roman"/>
              </a:rPr>
              <a:t>Fall Risk Score: </a:t>
            </a:r>
            <a:r>
              <a:rPr kumimoji="0" sz="1195" b="0" i="0" u="none" strike="noStrike" kern="1200" cap="none" spc="-28" normalizeH="0" baseline="0" noProof="0" dirty="0">
                <a:ln>
                  <a:noFill/>
                </a:ln>
                <a:solidFill>
                  <a:srgbClr val="FFFFFF"/>
                </a:solidFill>
                <a:effectLst/>
                <a:uLnTx/>
                <a:uFillTx/>
                <a:latin typeface="Times New Roman"/>
                <a:ea typeface="+mn-ea"/>
                <a:cs typeface="Times New Roman"/>
              </a:rPr>
              <a:t>6</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a:p>
            <a:pPr marL="210550" marR="0" lvl="0" indent="0" algn="l" defTabSz="642915" rtl="0" eaLnBrk="1" fontAlgn="auto" latinLnBrk="0" hangingPunct="1">
              <a:lnSpc>
                <a:spcPct val="95825"/>
              </a:lnSpc>
              <a:spcBef>
                <a:spcPts val="383"/>
              </a:spcBef>
              <a:spcAft>
                <a:spcPts val="0"/>
              </a:spcAft>
              <a:buClrTx/>
              <a:buSzTx/>
              <a:buFontTx/>
              <a:buNone/>
              <a:tabLst/>
              <a:defRPr/>
            </a:pPr>
            <a:r>
              <a:rPr kumimoji="0" sz="1195" b="1" i="0" u="none" strike="noStrike" kern="1200" cap="none" spc="-14" normalizeH="0" baseline="0" noProof="0" dirty="0">
                <a:ln>
                  <a:noFill/>
                </a:ln>
                <a:solidFill>
                  <a:srgbClr val="FFFFFF"/>
                </a:solidFill>
                <a:effectLst/>
                <a:uLnTx/>
                <a:uFillTx/>
                <a:latin typeface="Times New Roman"/>
                <a:ea typeface="+mn-ea"/>
                <a:cs typeface="Times New Roman"/>
              </a:rPr>
              <a:t>Last Pain Score: </a:t>
            </a:r>
            <a:r>
              <a:rPr kumimoji="0" lang="en-US" sz="1195" b="0" i="0" u="none" strike="noStrike" kern="1200" cap="none" spc="-14" normalizeH="0" baseline="0" noProof="0" dirty="0">
                <a:ln>
                  <a:noFill/>
                </a:ln>
                <a:solidFill>
                  <a:srgbClr val="FFFFFF"/>
                </a:solidFill>
                <a:effectLst/>
                <a:uLnTx/>
                <a:uFillTx/>
                <a:latin typeface="Times New Roman"/>
                <a:ea typeface="+mn-ea"/>
                <a:cs typeface="Times New Roman"/>
              </a:rPr>
              <a:t>5</a:t>
            </a:r>
            <a:r>
              <a:rPr kumimoji="0" sz="1195" b="0" i="0" u="none" strike="noStrike" kern="1200" cap="none" spc="-14" normalizeH="0" baseline="0" noProof="0" dirty="0">
                <a:ln>
                  <a:noFill/>
                </a:ln>
                <a:solidFill>
                  <a:srgbClr val="FFFFFF"/>
                </a:solidFill>
                <a:effectLst/>
                <a:uLnTx/>
                <a:uFillTx/>
                <a:latin typeface="Times New Roman"/>
                <a:ea typeface="+mn-ea"/>
                <a:cs typeface="Times New Roman"/>
              </a:rPr>
              <a:t> (0-10)</a:t>
            </a:r>
            <a:endParaRPr kumimoji="0" sz="1195"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3" name="TextBox 2">
            <a:extLst>
              <a:ext uri="{FF2B5EF4-FFF2-40B4-BE49-F238E27FC236}">
                <a16:creationId xmlns:a16="http://schemas.microsoft.com/office/drawing/2014/main" id="{180FBEAA-5020-4CF2-ABD9-9D69068EEEFF}"/>
              </a:ext>
            </a:extLst>
          </p:cNvPr>
          <p:cNvSpPr txBox="1"/>
          <p:nvPr/>
        </p:nvSpPr>
        <p:spPr>
          <a:xfrm>
            <a:off x="6085786" y="1822840"/>
            <a:ext cx="3009131" cy="1036822"/>
          </a:xfrm>
          <a:prstGeom prst="rect">
            <a:avLst/>
          </a:prstGeom>
          <a:noFill/>
        </p:spPr>
        <p:txBody>
          <a:bodyPr wrap="square" rtlCol="0">
            <a:sp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Suggested Care Plans:</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125"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mn-cs"/>
              </a:rPr>
              <a:t>Pneumonia</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white">
                    <a:lumMod val="65000"/>
                  </a:prstClr>
                </a:solidFill>
                <a:effectLst/>
                <a:uLnTx/>
                <a:uFillTx/>
                <a:latin typeface="Calibri"/>
                <a:ea typeface="+mn-ea"/>
                <a:cs typeface="Times New Roman" panose="02020603050405020304" pitchFamily="18" charset="0"/>
              </a:rPr>
              <a:t>Fall Injury Risk</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white">
                    <a:lumMod val="65000"/>
                  </a:prstClr>
                </a:solidFill>
                <a:effectLst/>
                <a:uLnTx/>
                <a:uFillTx/>
                <a:latin typeface="Calibri"/>
                <a:ea typeface="+mn-ea"/>
                <a:cs typeface="Times New Roman" panose="02020603050405020304" pitchFamily="18" charset="0"/>
              </a:rPr>
              <a:t>Skin Injury Risk</a:t>
            </a:r>
          </a:p>
        </p:txBody>
      </p:sp>
      <p:sp>
        <p:nvSpPr>
          <p:cNvPr id="36" name="TextBox 35">
            <a:extLst>
              <a:ext uri="{FF2B5EF4-FFF2-40B4-BE49-F238E27FC236}">
                <a16:creationId xmlns:a16="http://schemas.microsoft.com/office/drawing/2014/main" id="{7BFA69F7-AE79-4E82-AD43-629EDD7CE8EB}"/>
              </a:ext>
            </a:extLst>
          </p:cNvPr>
          <p:cNvSpPr txBox="1"/>
          <p:nvPr/>
        </p:nvSpPr>
        <p:spPr>
          <a:xfrm>
            <a:off x="2742328" y="1586598"/>
            <a:ext cx="2125984" cy="259045"/>
          </a:xfrm>
          <a:prstGeom prst="rect">
            <a:avLst/>
          </a:prstGeom>
          <a:noFill/>
        </p:spPr>
        <p:txBody>
          <a:bodyPr wrap="square" rtlCol="0">
            <a:spAutoFit/>
          </a:bodyPr>
          <a:lstStyle/>
          <a:p>
            <a:pPr marL="8929" marR="23102" lvl="0" indent="0" algn="l" defTabSz="642915" rtl="0" eaLnBrk="1" fontAlgn="auto" latinLnBrk="0" hangingPunct="1">
              <a:lnSpc>
                <a:spcPts val="1339"/>
              </a:lnSpc>
              <a:spcBef>
                <a:spcPts val="0"/>
              </a:spcBef>
              <a:spcAft>
                <a:spcPts val="0"/>
              </a:spcAft>
              <a:buClrTx/>
              <a:buSzTx/>
              <a:buFontTx/>
              <a:buNone/>
              <a:tabLst/>
              <a:defRPr/>
            </a:pPr>
            <a:r>
              <a:rPr kumimoji="0" lang="en-US" sz="1266" b="1" i="0" u="none" strike="noStrike" kern="1200" cap="none" spc="-128" normalizeH="0" baseline="0" noProof="0" dirty="0">
                <a:ln>
                  <a:noFill/>
                </a:ln>
                <a:solidFill>
                  <a:srgbClr val="F5821F"/>
                </a:solidFill>
                <a:effectLst/>
                <a:uLnTx/>
                <a:uFillTx/>
                <a:latin typeface="Times New Roman"/>
                <a:ea typeface="+mn-ea"/>
                <a:cs typeface="Times New Roman"/>
              </a:rPr>
              <a:t>PLAN OF CARE</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pic>
        <p:nvPicPr>
          <p:cNvPr id="41" name="Picture 40">
            <a:extLst>
              <a:ext uri="{FF2B5EF4-FFF2-40B4-BE49-F238E27FC236}">
                <a16:creationId xmlns:a16="http://schemas.microsoft.com/office/drawing/2014/main" id="{3D3919E8-E196-466F-BD25-073290416D4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75284" y="2203982"/>
            <a:ext cx="211216" cy="207034"/>
          </a:xfrm>
          <a:prstGeom prst="rect">
            <a:avLst/>
          </a:prstGeom>
        </p:spPr>
      </p:pic>
      <p:sp>
        <p:nvSpPr>
          <p:cNvPr id="37" name="TextBox 36">
            <a:extLst>
              <a:ext uri="{FF2B5EF4-FFF2-40B4-BE49-F238E27FC236}">
                <a16:creationId xmlns:a16="http://schemas.microsoft.com/office/drawing/2014/main" id="{9FBC310D-48BF-4CE8-904F-99E8602AFD07}"/>
              </a:ext>
            </a:extLst>
          </p:cNvPr>
          <p:cNvSpPr txBox="1"/>
          <p:nvPr/>
        </p:nvSpPr>
        <p:spPr>
          <a:xfrm>
            <a:off x="2821964" y="2184472"/>
            <a:ext cx="2867321" cy="676724"/>
          </a:xfrm>
          <a:prstGeom prst="rect">
            <a:avLst/>
          </a:prstGeom>
          <a:noFill/>
        </p:spPr>
        <p:txBody>
          <a:bodyPr wrap="square" rtlCol="0">
            <a:spAutoFit/>
          </a:bodyPr>
          <a:lstStyle/>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srgbClr val="0070C0"/>
                </a:solidFill>
                <a:effectLst/>
                <a:uLnTx/>
                <a:uFillTx/>
                <a:latin typeface="Calibri"/>
                <a:ea typeface="+mn-ea"/>
                <a:cs typeface="+mn-cs"/>
              </a:rPr>
              <a:t>Respiratory Compromise</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Infection Progression</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Fluid/Electrolyte Imbalance</a:t>
            </a:r>
          </a:p>
        </p:txBody>
      </p:sp>
      <p:pic>
        <p:nvPicPr>
          <p:cNvPr id="35" name="Picture 34">
            <a:extLst>
              <a:ext uri="{FF2B5EF4-FFF2-40B4-BE49-F238E27FC236}">
                <a16:creationId xmlns:a16="http://schemas.microsoft.com/office/drawing/2014/main" id="{D3E708D1-28C1-4C73-BB0B-CC08F37EB0E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807018" y="2196703"/>
            <a:ext cx="211216" cy="207034"/>
          </a:xfrm>
          <a:prstGeom prst="rect">
            <a:avLst/>
          </a:prstGeom>
        </p:spPr>
      </p:pic>
      <p:sp>
        <p:nvSpPr>
          <p:cNvPr id="6" name="Rectangle 5">
            <a:extLst>
              <a:ext uri="{FF2B5EF4-FFF2-40B4-BE49-F238E27FC236}">
                <a16:creationId xmlns:a16="http://schemas.microsoft.com/office/drawing/2014/main" id="{8D77C203-91DD-460F-B22D-EF3F89623F60}"/>
              </a:ext>
            </a:extLst>
          </p:cNvPr>
          <p:cNvSpPr/>
          <p:nvPr/>
        </p:nvSpPr>
        <p:spPr>
          <a:xfrm>
            <a:off x="2734992" y="5105400"/>
            <a:ext cx="2933816" cy="1646092"/>
          </a:xfrm>
          <a:prstGeom prst="rect">
            <a:avLst/>
          </a:prstGeom>
        </p:spPr>
        <p:txBody>
          <a:bodyPr wrap="none">
            <a:spAutoFit/>
          </a:bodyPr>
          <a:lstStyle/>
          <a:p>
            <a:pPr marL="0" marR="0" lvl="0" indent="0" algn="l" defTabSz="642915" rtl="0" eaLnBrk="1" fontAlgn="auto" latinLnBrk="0" hangingPunct="1">
              <a:lnSpc>
                <a:spcPct val="115000"/>
              </a:lnSpc>
              <a:spcBef>
                <a:spcPts val="0"/>
              </a:spcBef>
              <a:spcAft>
                <a:spcPts val="703"/>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Problem Intervention:</a:t>
            </a:r>
          </a:p>
          <a:p>
            <a:pPr marL="0" marR="0" lvl="0" indent="0" algn="l" defTabSz="642915" rtl="0" eaLnBrk="1" fontAlgn="auto" latinLnBrk="0" hangingPunct="1">
              <a:lnSpc>
                <a:spcPct val="115000"/>
              </a:lnSpc>
              <a:spcBef>
                <a:spcPts val="0"/>
              </a:spcBef>
              <a:spcAft>
                <a:spcPts val="703"/>
              </a:spcAft>
              <a:buClrTx/>
              <a:buSzTx/>
              <a:buFontTx/>
              <a:buNone/>
              <a:tabLst/>
              <a:defRPr/>
            </a:pPr>
            <a:r>
              <a:rPr kumimoji="0" lang="en-US" sz="1266" b="1" i="0" u="none" strike="noStrike" kern="1200" cap="none" spc="0" normalizeH="0" baseline="0" noProof="0" dirty="0">
                <a:ln>
                  <a:noFill/>
                </a:ln>
                <a:solidFill>
                  <a:srgbClr val="0D0D0D"/>
                </a:solidFill>
                <a:effectLst/>
                <a:uLnTx/>
                <a:uFillTx/>
                <a:latin typeface="Arial Narrow" panose="020B0606020202030204" pitchFamily="34" charset="0"/>
                <a:ea typeface="Arial Narrow" panose="020B0606020202030204" pitchFamily="34" charset="0"/>
                <a:cs typeface="Arial Narrow" panose="020B0606020202030204" pitchFamily="34" charset="0"/>
              </a:rPr>
              <a:t>       Optimize Oxygenation &amp; Ventilation</a:t>
            </a:r>
          </a:p>
          <a:p>
            <a:pPr marL="742950" marR="0" lvl="1" indent="-285750" algn="l" defTabSz="642915" rtl="0" eaLnBrk="1" fontAlgn="auto" latinLnBrk="0" hangingPunct="1">
              <a:lnSpc>
                <a:spcPct val="115000"/>
              </a:lnSpc>
              <a:spcBef>
                <a:spcPts val="0"/>
              </a:spcBef>
              <a:spcAft>
                <a:spcPts val="703"/>
              </a:spcAft>
              <a:buClrTx/>
              <a:buSzTx/>
              <a:buFont typeface="Wingdings" panose="05000000000000000000" pitchFamily="2" charset="2"/>
              <a:buChar char="§"/>
              <a:tabLst/>
              <a:defRPr/>
            </a:pPr>
            <a:r>
              <a:rPr kumimoji="0" lang="en-US" sz="1266" b="1" i="0" u="none" strike="noStrike" kern="1200" cap="none" spc="0" normalizeH="0" baseline="0" noProof="0" dirty="0">
                <a:ln>
                  <a:noFill/>
                </a:ln>
                <a:solidFill>
                  <a:srgbClr val="0D0D0D"/>
                </a:solidFill>
                <a:effectLst/>
                <a:uLnTx/>
                <a:uFillTx/>
                <a:latin typeface="Arial Narrow" panose="020B0606020202030204" pitchFamily="34" charset="0"/>
                <a:ea typeface="Arial Narrow" panose="020B0606020202030204" pitchFamily="34" charset="0"/>
                <a:cs typeface="Arial Narrow" panose="020B0606020202030204" pitchFamily="34" charset="0"/>
              </a:rPr>
              <a:t>Airway ventilation management</a:t>
            </a:r>
          </a:p>
          <a:p>
            <a:pPr marL="742950" marR="0" lvl="1" indent="-285750" algn="l" defTabSz="642915" rtl="0" eaLnBrk="1" fontAlgn="auto" latinLnBrk="0" hangingPunct="1">
              <a:lnSpc>
                <a:spcPct val="115000"/>
              </a:lnSpc>
              <a:spcBef>
                <a:spcPts val="0"/>
              </a:spcBef>
              <a:spcAft>
                <a:spcPts val="703"/>
              </a:spcAft>
              <a:buClrTx/>
              <a:buSzTx/>
              <a:buFont typeface="Wingdings" panose="05000000000000000000" pitchFamily="2" charset="2"/>
              <a:buChar char="§"/>
              <a:tabLst/>
              <a:defRPr/>
            </a:pPr>
            <a:r>
              <a:rPr kumimoji="0" lang="en-US" sz="1266" b="1" i="0" u="none" strike="noStrike" kern="1200" cap="none" spc="0" normalizeH="0" baseline="0" noProof="0" dirty="0">
                <a:ln>
                  <a:noFill/>
                </a:ln>
                <a:solidFill>
                  <a:srgbClr val="0D0D0D"/>
                </a:solidFill>
                <a:effectLst/>
                <a:uLnTx/>
                <a:uFillTx/>
                <a:latin typeface="Arial Narrow" panose="020B0606020202030204" pitchFamily="34" charset="0"/>
                <a:ea typeface="Arial Narrow" panose="020B0606020202030204" pitchFamily="34" charset="0"/>
                <a:cs typeface="Arial Narrow" panose="020B0606020202030204" pitchFamily="34" charset="0"/>
              </a:rPr>
              <a:t>Head of Bed (HOB) position</a:t>
            </a:r>
          </a:p>
          <a:p>
            <a:pPr marL="0" marR="0" lvl="0" indent="0" algn="l" defTabSz="642915" rtl="0" eaLnBrk="1" fontAlgn="auto" latinLnBrk="0" hangingPunct="1">
              <a:lnSpc>
                <a:spcPct val="115000"/>
              </a:lnSpc>
              <a:spcBef>
                <a:spcPts val="0"/>
              </a:spcBef>
              <a:spcAft>
                <a:spcPts val="703"/>
              </a:spcAft>
              <a:buClrTx/>
              <a:buSzTx/>
              <a:buFontTx/>
              <a:buNone/>
              <a:tabLst/>
              <a:defRPr/>
            </a:pPr>
            <a:r>
              <a:rPr kumimoji="0" lang="en-US" sz="1687" b="1" i="0" u="none" strike="noStrike" kern="1200" cap="none" spc="0" normalizeH="0" baseline="0" noProof="0" dirty="0">
                <a:ln>
                  <a:noFill/>
                </a:ln>
                <a:solidFill>
                  <a:srgbClr val="0D0D0D"/>
                </a:solidFill>
                <a:effectLst/>
                <a:uLnTx/>
                <a:uFillTx/>
                <a:latin typeface="Arial Narrow" panose="020B0606020202030204" pitchFamily="34" charset="0"/>
                <a:ea typeface="Calibri" panose="020F0502020204030204" pitchFamily="34" charset="0"/>
                <a:cs typeface="Times New Roman" panose="02020603050405020304" pitchFamily="18" charset="0"/>
              </a:rPr>
              <a:t>          </a:t>
            </a:r>
            <a:endParaRPr kumimoji="0" lang="en-US" sz="168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9" name="AutoShape 2" descr="Image result for icon for a target">
            <a:extLst>
              <a:ext uri="{FF2B5EF4-FFF2-40B4-BE49-F238E27FC236}">
                <a16:creationId xmlns:a16="http://schemas.microsoft.com/office/drawing/2014/main" id="{A1BF2F91-0388-45A1-9086-7ED73115276C}"/>
              </a:ext>
            </a:extLst>
          </p:cNvPr>
          <p:cNvSpPr>
            <a:spLocks noChangeAspect="1" noChangeArrowheads="1"/>
          </p:cNvSpPr>
          <p:nvPr/>
        </p:nvSpPr>
        <p:spPr bwMode="auto">
          <a:xfrm>
            <a:off x="4464844" y="3321844"/>
            <a:ext cx="214313" cy="2143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4294" tIns="32147" rIns="64294" bIns="32147" numCol="1" anchor="t" anchorCtr="0" compatLnSpc="1">
            <a:prstTxWarp prst="textNoShape">
              <a:avLst/>
            </a:prstTxWarp>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266" b="0" i="0" u="none" strike="noStrike" kern="1200" cap="none" spc="0" normalizeH="0" baseline="0" noProof="0">
              <a:ln>
                <a:noFill/>
              </a:ln>
              <a:solidFill>
                <a:prstClr val="black"/>
              </a:solidFill>
              <a:effectLst/>
              <a:uLnTx/>
              <a:uFillTx/>
              <a:latin typeface="Calibri"/>
              <a:ea typeface="+mn-ea"/>
              <a:cs typeface="+mn-cs"/>
            </a:endParaRPr>
          </a:p>
        </p:txBody>
      </p:sp>
      <p:pic>
        <p:nvPicPr>
          <p:cNvPr id="40" name="Picture 39">
            <a:extLst>
              <a:ext uri="{FF2B5EF4-FFF2-40B4-BE49-F238E27FC236}">
                <a16:creationId xmlns:a16="http://schemas.microsoft.com/office/drawing/2014/main" id="{D82C58CC-D3EC-4521-A30B-91AB8468826B}"/>
              </a:ext>
            </a:extLst>
          </p:cNvPr>
          <p:cNvPicPr>
            <a:picLocks noChangeAspect="1"/>
          </p:cNvPicPr>
          <p:nvPr/>
        </p:nvPicPr>
        <p:blipFill>
          <a:blip r:embed="rId5"/>
          <a:stretch>
            <a:fillRect/>
          </a:stretch>
        </p:blipFill>
        <p:spPr>
          <a:xfrm>
            <a:off x="2895600" y="4095955"/>
            <a:ext cx="396776" cy="323645"/>
          </a:xfrm>
          <a:prstGeom prst="rect">
            <a:avLst/>
          </a:prstGeom>
        </p:spPr>
      </p:pic>
      <p:pic>
        <p:nvPicPr>
          <p:cNvPr id="45" name="Picture 44">
            <a:extLst>
              <a:ext uri="{FF2B5EF4-FFF2-40B4-BE49-F238E27FC236}">
                <a16:creationId xmlns:a16="http://schemas.microsoft.com/office/drawing/2014/main" id="{CD460E5F-F15E-4E5B-824A-64B0975E788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43175" y="5525826"/>
            <a:ext cx="211216" cy="207034"/>
          </a:xfrm>
          <a:prstGeom prst="rect">
            <a:avLst/>
          </a:prstGeom>
        </p:spPr>
      </p:pic>
      <p:sp>
        <p:nvSpPr>
          <p:cNvPr id="43" name="Rectangle 42">
            <a:extLst>
              <a:ext uri="{FF2B5EF4-FFF2-40B4-BE49-F238E27FC236}">
                <a16:creationId xmlns:a16="http://schemas.microsoft.com/office/drawing/2014/main" id="{C7B6EE1B-C23B-4156-B4E3-5EA54E3FE8D3}"/>
              </a:ext>
            </a:extLst>
          </p:cNvPr>
          <p:cNvSpPr/>
          <p:nvPr/>
        </p:nvSpPr>
        <p:spPr>
          <a:xfrm>
            <a:off x="2708738" y="5700635"/>
            <a:ext cx="466794" cy="395365"/>
          </a:xfrm>
          <a:prstGeom prst="rect">
            <a:avLst/>
          </a:prstGeom>
        </p:spPr>
        <p:txBody>
          <a:bodyPr wrap="none">
            <a:sp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r>
              <a:rPr kumimoji="0" lang="en-US" sz="1969" b="1" i="0" u="none" strike="noStrike" kern="1200" cap="none" spc="0" normalizeH="0" baseline="0" noProof="0" dirty="0">
                <a:ln>
                  <a:noFill/>
                </a:ln>
                <a:solidFill>
                  <a:srgbClr val="FF6600"/>
                </a:solidFill>
                <a:effectLst/>
                <a:uLnTx/>
                <a:uFillTx/>
                <a:latin typeface="Arial Narrow" panose="020B0606020202030204" pitchFamily="34" charset="0"/>
                <a:ea typeface="Arial Narrow" panose="020B0606020202030204" pitchFamily="34" charset="0"/>
                <a:cs typeface="Arial Narrow" panose="020B0606020202030204" pitchFamily="34" charset="0"/>
              </a:rPr>
              <a:t> </a:t>
            </a:r>
            <a:r>
              <a:rPr kumimoji="0" lang="en-US" sz="1969" b="1" i="0" u="none" strike="noStrike" kern="1200" cap="none" spc="0" normalizeH="0" baseline="0" noProof="0" dirty="0">
                <a:ln>
                  <a:noFill/>
                </a:ln>
                <a:solidFill>
                  <a:srgbClr val="FF6600"/>
                </a:solidFill>
                <a:effectLst/>
                <a:uLnTx/>
                <a:uFillTx/>
                <a:latin typeface="Arial Narrow" panose="020B0606020202030204" pitchFamily="34" charset="0"/>
                <a:ea typeface="Arial Narrow" panose="020B0606020202030204" pitchFamily="34" charset="0"/>
                <a:cs typeface="Arial Narrow" panose="020B0606020202030204" pitchFamily="34" charset="0"/>
                <a:sym typeface="Wingdings" panose="05000000000000000000" pitchFamily="2" charset="2"/>
              </a:rPr>
              <a:t></a:t>
            </a:r>
            <a:endParaRPr kumimoji="0" lang="en-US" sz="1969"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extBox 4">
            <a:extLst>
              <a:ext uri="{FF2B5EF4-FFF2-40B4-BE49-F238E27FC236}">
                <a16:creationId xmlns:a16="http://schemas.microsoft.com/office/drawing/2014/main" id="{BF9105A7-9A69-43BC-8298-F77109E1B37F}"/>
              </a:ext>
            </a:extLst>
          </p:cNvPr>
          <p:cNvSpPr txBox="1"/>
          <p:nvPr/>
        </p:nvSpPr>
        <p:spPr>
          <a:xfrm>
            <a:off x="6286500" y="4714875"/>
            <a:ext cx="2786063" cy="287130"/>
          </a:xfrm>
          <a:prstGeom prst="rect">
            <a:avLst/>
          </a:prstGeom>
          <a:solidFill>
            <a:srgbClr val="FF6600"/>
          </a:solidFill>
        </p:spPr>
        <p:txBody>
          <a:bodyPr wrap="square" rtlCol="0">
            <a:sp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r>
              <a:rPr kumimoji="0" lang="en-US" sz="1266" b="1" i="0" u="none" strike="noStrike" kern="1200" cap="none" spc="0" normalizeH="0" baseline="0" noProof="0" dirty="0">
                <a:ln>
                  <a:noFill/>
                </a:ln>
                <a:solidFill>
                  <a:prstClr val="black"/>
                </a:solidFill>
                <a:effectLst/>
                <a:uLnTx/>
                <a:uFillTx/>
                <a:latin typeface="Calibri"/>
                <a:ea typeface="+mn-ea"/>
                <a:cs typeface="+mn-cs"/>
              </a:rPr>
              <a:t>Airway Ventilation  Management</a:t>
            </a:r>
          </a:p>
        </p:txBody>
      </p:sp>
    </p:spTree>
    <p:extLst>
      <p:ext uri="{BB962C8B-B14F-4D97-AF65-F5344CB8AC3E}">
        <p14:creationId xmlns:p14="http://schemas.microsoft.com/office/powerpoint/2010/main" val="3598993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3" grpId="0"/>
      <p:bldP spid="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7">
            <a:extLst>
              <a:ext uri="{FF2B5EF4-FFF2-40B4-BE49-F238E27FC236}">
                <a16:creationId xmlns:a16="http://schemas.microsoft.com/office/drawing/2014/main" id="{36D297A0-8F86-444B-8C6D-4BA8650DB4F7}"/>
              </a:ext>
            </a:extLst>
          </p:cNvPr>
          <p:cNvSpPr txBox="1"/>
          <p:nvPr/>
        </p:nvSpPr>
        <p:spPr>
          <a:xfrm>
            <a:off x="3001496" y="3429000"/>
            <a:ext cx="5151904" cy="709592"/>
          </a:xfrm>
          <a:prstGeom prst="rect">
            <a:avLst/>
          </a:prstGeom>
        </p:spPr>
        <p:txBody>
          <a:bodyPr wrap="square" lIns="0" tIns="8505" rIns="0" bIns="0" rtlCol="0">
            <a:no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Goal:</a:t>
            </a:r>
          </a:p>
          <a:p>
            <a:pPr marL="0" marR="0" lvl="0" indent="0" algn="l" defTabSz="642915" rtl="0" eaLnBrk="1" fontAlgn="auto" latinLnBrk="0" hangingPunct="1">
              <a:lnSpc>
                <a:spcPct val="100000"/>
              </a:lnSpc>
              <a:spcBef>
                <a:spcPts val="0"/>
              </a:spcBef>
              <a:spcAft>
                <a:spcPts val="0"/>
              </a:spcAft>
              <a:buClrTx/>
              <a:buSzTx/>
              <a:buFontTx/>
              <a:buNone/>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By transition of care the patient will achieve the following goal:</a:t>
            </a: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266"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42915" rtl="0" eaLnBrk="1" fontAlgn="auto" latinLnBrk="0" hangingPunct="1">
              <a:lnSpc>
                <a:spcPct val="100000"/>
              </a:lnSpc>
              <a:spcBef>
                <a:spcPts val="0"/>
              </a:spcBef>
              <a:spcAft>
                <a:spcPts val="0"/>
              </a:spcAft>
              <a:buClrTx/>
              <a:buSzTx/>
              <a:buFontTx/>
              <a:buNone/>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Effective Oxygenation &amp; Ventilation</a:t>
            </a:r>
          </a:p>
          <a:p>
            <a:pPr marL="8929" marR="23102" lvl="0" indent="0" algn="l" defTabSz="642915" rtl="0" eaLnBrk="1" fontAlgn="auto" latinLnBrk="0" hangingPunct="1">
              <a:lnSpc>
                <a:spcPct val="95825"/>
              </a:lnSpc>
              <a:spcBef>
                <a:spcPts val="70"/>
              </a:spcBef>
              <a:spcAft>
                <a:spcPts val="0"/>
              </a:spcAft>
              <a:buClrTx/>
              <a:buSzTx/>
              <a:buFontTx/>
              <a:buNone/>
              <a:tabLst/>
              <a:defRPr/>
            </a:pP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a:p>
            <a:pPr marL="8929" marR="23102" lvl="0" indent="0" algn="l" defTabSz="642915" rtl="0" eaLnBrk="1" fontAlgn="auto" latinLnBrk="0" hangingPunct="1">
              <a:lnSpc>
                <a:spcPct val="95825"/>
              </a:lnSpc>
              <a:spcBef>
                <a:spcPts val="7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27" name="object 27"/>
          <p:cNvSpPr/>
          <p:nvPr/>
        </p:nvSpPr>
        <p:spPr>
          <a:xfrm>
            <a:off x="7197328" y="273013"/>
            <a:ext cx="202266" cy="219938"/>
          </a:xfrm>
          <a:custGeom>
            <a:avLst/>
            <a:gdLst/>
            <a:ahLst/>
            <a:cxnLst/>
            <a:rect l="l" t="t" r="r" b="b"/>
            <a:pathLst>
              <a:path w="287667" h="312801">
                <a:moveTo>
                  <a:pt x="279527" y="232981"/>
                </a:moveTo>
                <a:lnTo>
                  <a:pt x="276916" y="240546"/>
                </a:lnTo>
                <a:lnTo>
                  <a:pt x="271028" y="253498"/>
                </a:lnTo>
                <a:lnTo>
                  <a:pt x="263732" y="264989"/>
                </a:lnTo>
                <a:lnTo>
                  <a:pt x="255011" y="274826"/>
                </a:lnTo>
                <a:lnTo>
                  <a:pt x="244844" y="282815"/>
                </a:lnTo>
                <a:lnTo>
                  <a:pt x="233214" y="288761"/>
                </a:lnTo>
                <a:lnTo>
                  <a:pt x="220100" y="292471"/>
                </a:lnTo>
                <a:lnTo>
                  <a:pt x="205486" y="293750"/>
                </a:lnTo>
                <a:lnTo>
                  <a:pt x="114566" y="293750"/>
                </a:lnTo>
                <a:lnTo>
                  <a:pt x="107728" y="293248"/>
                </a:lnTo>
                <a:lnTo>
                  <a:pt x="97959" y="288007"/>
                </a:lnTo>
                <a:lnTo>
                  <a:pt x="93852" y="275935"/>
                </a:lnTo>
                <a:lnTo>
                  <a:pt x="93014" y="255638"/>
                </a:lnTo>
                <a:lnTo>
                  <a:pt x="93014" y="157327"/>
                </a:lnTo>
                <a:lnTo>
                  <a:pt x="183959" y="157327"/>
                </a:lnTo>
                <a:lnTo>
                  <a:pt x="196111" y="158269"/>
                </a:lnTo>
                <a:lnTo>
                  <a:pt x="208856" y="162758"/>
                </a:lnTo>
                <a:lnTo>
                  <a:pt x="217578" y="171143"/>
                </a:lnTo>
                <a:lnTo>
                  <a:pt x="222963" y="183638"/>
                </a:lnTo>
                <a:lnTo>
                  <a:pt x="225691" y="200456"/>
                </a:lnTo>
                <a:lnTo>
                  <a:pt x="234276" y="200456"/>
                </a:lnTo>
                <a:lnTo>
                  <a:pt x="234276" y="95199"/>
                </a:lnTo>
                <a:lnTo>
                  <a:pt x="225691" y="95199"/>
                </a:lnTo>
                <a:lnTo>
                  <a:pt x="223826" y="107933"/>
                </a:lnTo>
                <a:lnTo>
                  <a:pt x="219273" y="121643"/>
                </a:lnTo>
                <a:lnTo>
                  <a:pt x="211670" y="131078"/>
                </a:lnTo>
                <a:lnTo>
                  <a:pt x="200178" y="136526"/>
                </a:lnTo>
                <a:lnTo>
                  <a:pt x="183959" y="138277"/>
                </a:lnTo>
                <a:lnTo>
                  <a:pt x="93014" y="138277"/>
                </a:lnTo>
                <a:lnTo>
                  <a:pt x="93014" y="50723"/>
                </a:lnTo>
                <a:lnTo>
                  <a:pt x="93622" y="31657"/>
                </a:lnTo>
                <a:lnTo>
                  <a:pt x="98530" y="21623"/>
                </a:lnTo>
                <a:lnTo>
                  <a:pt x="112407" y="19100"/>
                </a:lnTo>
                <a:lnTo>
                  <a:pt x="195286" y="19103"/>
                </a:lnTo>
                <a:lnTo>
                  <a:pt x="211403" y="20210"/>
                </a:lnTo>
                <a:lnTo>
                  <a:pt x="224822" y="23609"/>
                </a:lnTo>
                <a:lnTo>
                  <a:pt x="235629" y="29719"/>
                </a:lnTo>
                <a:lnTo>
                  <a:pt x="243912" y="38959"/>
                </a:lnTo>
                <a:lnTo>
                  <a:pt x="249756" y="51747"/>
                </a:lnTo>
                <a:lnTo>
                  <a:pt x="253250" y="68503"/>
                </a:lnTo>
                <a:lnTo>
                  <a:pt x="261886" y="68503"/>
                </a:lnTo>
                <a:lnTo>
                  <a:pt x="257987" y="0"/>
                </a:lnTo>
                <a:lnTo>
                  <a:pt x="0" y="0"/>
                </a:lnTo>
                <a:lnTo>
                  <a:pt x="0" y="9016"/>
                </a:lnTo>
                <a:lnTo>
                  <a:pt x="1410" y="9021"/>
                </a:lnTo>
                <a:lnTo>
                  <a:pt x="18919" y="10203"/>
                </a:lnTo>
                <a:lnTo>
                  <a:pt x="31711" y="14202"/>
                </a:lnTo>
                <a:lnTo>
                  <a:pt x="40261" y="22059"/>
                </a:lnTo>
                <a:lnTo>
                  <a:pt x="45044" y="34817"/>
                </a:lnTo>
                <a:lnTo>
                  <a:pt x="46532" y="53517"/>
                </a:lnTo>
                <a:lnTo>
                  <a:pt x="46527" y="260779"/>
                </a:lnTo>
                <a:lnTo>
                  <a:pt x="44838" y="279017"/>
                </a:lnTo>
                <a:lnTo>
                  <a:pt x="39817" y="291402"/>
                </a:lnTo>
                <a:lnTo>
                  <a:pt x="30988" y="298970"/>
                </a:lnTo>
                <a:lnTo>
                  <a:pt x="17874" y="302752"/>
                </a:lnTo>
                <a:lnTo>
                  <a:pt x="0" y="303783"/>
                </a:lnTo>
                <a:lnTo>
                  <a:pt x="0" y="312800"/>
                </a:lnTo>
                <a:lnTo>
                  <a:pt x="264439" y="312800"/>
                </a:lnTo>
                <a:lnTo>
                  <a:pt x="287667"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object 28"/>
          <p:cNvSpPr/>
          <p:nvPr/>
        </p:nvSpPr>
        <p:spPr>
          <a:xfrm>
            <a:off x="7397748" y="273013"/>
            <a:ext cx="192604" cy="219938"/>
          </a:xfrm>
          <a:custGeom>
            <a:avLst/>
            <a:gdLst/>
            <a:ahLst/>
            <a:cxnLst/>
            <a:rect l="l" t="t" r="r" b="b"/>
            <a:pathLst>
              <a:path w="273926" h="312801">
                <a:moveTo>
                  <a:pt x="263626" y="230720"/>
                </a:moveTo>
                <a:lnTo>
                  <a:pt x="254350" y="250108"/>
                </a:lnTo>
                <a:lnTo>
                  <a:pt x="246935" y="261900"/>
                </a:lnTo>
                <a:lnTo>
                  <a:pt x="238716" y="271780"/>
                </a:lnTo>
                <a:lnTo>
                  <a:pt x="229476" y="279784"/>
                </a:lnTo>
                <a:lnTo>
                  <a:pt x="218997" y="285948"/>
                </a:lnTo>
                <a:lnTo>
                  <a:pt x="207064" y="290306"/>
                </a:lnTo>
                <a:lnTo>
                  <a:pt x="193459" y="292895"/>
                </a:lnTo>
                <a:lnTo>
                  <a:pt x="177965" y="293750"/>
                </a:lnTo>
                <a:lnTo>
                  <a:pt x="116319" y="293750"/>
                </a:lnTo>
                <a:lnTo>
                  <a:pt x="103518" y="291860"/>
                </a:lnTo>
                <a:lnTo>
                  <a:pt x="94331" y="284253"/>
                </a:lnTo>
                <a:lnTo>
                  <a:pt x="90713" y="271286"/>
                </a:lnTo>
                <a:lnTo>
                  <a:pt x="90081" y="253466"/>
                </a:lnTo>
                <a:lnTo>
                  <a:pt x="90087" y="52028"/>
                </a:lnTo>
                <a:lnTo>
                  <a:pt x="91780" y="33763"/>
                </a:lnTo>
                <a:lnTo>
                  <a:pt x="96794" y="21372"/>
                </a:lnTo>
                <a:lnTo>
                  <a:pt x="105612" y="13812"/>
                </a:lnTo>
                <a:lnTo>
                  <a:pt x="118716" y="10042"/>
                </a:lnTo>
                <a:lnTo>
                  <a:pt x="136588" y="9016"/>
                </a:lnTo>
                <a:lnTo>
                  <a:pt x="136588" y="0"/>
                </a:lnTo>
                <a:lnTo>
                  <a:pt x="0" y="0"/>
                </a:lnTo>
                <a:lnTo>
                  <a:pt x="0" y="9016"/>
                </a:lnTo>
                <a:lnTo>
                  <a:pt x="14966" y="10511"/>
                </a:lnTo>
                <a:lnTo>
                  <a:pt x="28155" y="14358"/>
                </a:lnTo>
                <a:lnTo>
                  <a:pt x="37006" y="21749"/>
                </a:lnTo>
                <a:lnTo>
                  <a:pt x="41980" y="34041"/>
                </a:lnTo>
                <a:lnTo>
                  <a:pt x="43535" y="52590"/>
                </a:lnTo>
                <a:lnTo>
                  <a:pt x="43535" y="260261"/>
                </a:lnTo>
                <a:lnTo>
                  <a:pt x="42426" y="276421"/>
                </a:lnTo>
                <a:lnTo>
                  <a:pt x="37999" y="289580"/>
                </a:lnTo>
                <a:lnTo>
                  <a:pt x="29760" y="297621"/>
                </a:lnTo>
                <a:lnTo>
                  <a:pt x="17247" y="301903"/>
                </a:lnTo>
                <a:lnTo>
                  <a:pt x="0" y="303783"/>
                </a:lnTo>
                <a:lnTo>
                  <a:pt x="0" y="312800"/>
                </a:lnTo>
                <a:lnTo>
                  <a:pt x="247650" y="312800"/>
                </a:lnTo>
                <a:lnTo>
                  <a:pt x="273926" y="232625"/>
                </a:lnTo>
                <a:lnTo>
                  <a:pt x="263626" y="23072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bject 29"/>
          <p:cNvSpPr/>
          <p:nvPr/>
        </p:nvSpPr>
        <p:spPr>
          <a:xfrm>
            <a:off x="7595780" y="267888"/>
            <a:ext cx="141160" cy="230162"/>
          </a:xfrm>
          <a:custGeom>
            <a:avLst/>
            <a:gdLst/>
            <a:ahLst/>
            <a:cxnLst/>
            <a:rect l="l" t="t" r="r" b="b"/>
            <a:pathLst>
              <a:path w="200761" h="327342">
                <a:moveTo>
                  <a:pt x="10321" y="68942"/>
                </a:moveTo>
                <a:lnTo>
                  <a:pt x="9067" y="84797"/>
                </a:lnTo>
                <a:lnTo>
                  <a:pt x="9094" y="86841"/>
                </a:lnTo>
                <a:lnTo>
                  <a:pt x="10343" y="98306"/>
                </a:lnTo>
                <a:lnTo>
                  <a:pt x="13392" y="108843"/>
                </a:lnTo>
                <a:lnTo>
                  <a:pt x="18155" y="118652"/>
                </a:lnTo>
                <a:lnTo>
                  <a:pt x="24544" y="127932"/>
                </a:lnTo>
                <a:lnTo>
                  <a:pt x="32474" y="136881"/>
                </a:lnTo>
                <a:lnTo>
                  <a:pt x="41858" y="145698"/>
                </a:lnTo>
                <a:lnTo>
                  <a:pt x="52609" y="154583"/>
                </a:lnTo>
                <a:lnTo>
                  <a:pt x="64641" y="163733"/>
                </a:lnTo>
                <a:lnTo>
                  <a:pt x="77867" y="173349"/>
                </a:lnTo>
                <a:lnTo>
                  <a:pt x="92202" y="183629"/>
                </a:lnTo>
                <a:lnTo>
                  <a:pt x="104017" y="192251"/>
                </a:lnTo>
                <a:lnTo>
                  <a:pt x="117107" y="202385"/>
                </a:lnTo>
                <a:lnTo>
                  <a:pt x="128553" y="212154"/>
                </a:lnTo>
                <a:lnTo>
                  <a:pt x="138219" y="221667"/>
                </a:lnTo>
                <a:lnTo>
                  <a:pt x="145972" y="231033"/>
                </a:lnTo>
                <a:lnTo>
                  <a:pt x="151675" y="240363"/>
                </a:lnTo>
                <a:lnTo>
                  <a:pt x="155196" y="249764"/>
                </a:lnTo>
                <a:lnTo>
                  <a:pt x="156400" y="259346"/>
                </a:lnTo>
                <a:lnTo>
                  <a:pt x="154334" y="274067"/>
                </a:lnTo>
                <a:lnTo>
                  <a:pt x="148555" y="286590"/>
                </a:lnTo>
                <a:lnTo>
                  <a:pt x="139643" y="296736"/>
                </a:lnTo>
                <a:lnTo>
                  <a:pt x="128181" y="304271"/>
                </a:lnTo>
                <a:lnTo>
                  <a:pt x="114751" y="308962"/>
                </a:lnTo>
                <a:lnTo>
                  <a:pt x="99936" y="310578"/>
                </a:lnTo>
                <a:lnTo>
                  <a:pt x="89934" y="309904"/>
                </a:lnTo>
                <a:lnTo>
                  <a:pt x="76906" y="306822"/>
                </a:lnTo>
                <a:lnTo>
                  <a:pt x="65028" y="301521"/>
                </a:lnTo>
                <a:lnTo>
                  <a:pt x="54235" y="294302"/>
                </a:lnTo>
                <a:lnTo>
                  <a:pt x="44462" y="285468"/>
                </a:lnTo>
                <a:lnTo>
                  <a:pt x="35645" y="275322"/>
                </a:lnTo>
                <a:lnTo>
                  <a:pt x="27718" y="264166"/>
                </a:lnTo>
                <a:lnTo>
                  <a:pt x="20618" y="252302"/>
                </a:lnTo>
                <a:lnTo>
                  <a:pt x="14278" y="240032"/>
                </a:lnTo>
                <a:lnTo>
                  <a:pt x="8636" y="227660"/>
                </a:lnTo>
                <a:lnTo>
                  <a:pt x="0" y="227660"/>
                </a:lnTo>
                <a:lnTo>
                  <a:pt x="16802" y="324192"/>
                </a:lnTo>
                <a:lnTo>
                  <a:pt x="25463" y="324192"/>
                </a:lnTo>
                <a:lnTo>
                  <a:pt x="26352" y="317449"/>
                </a:lnTo>
                <a:lnTo>
                  <a:pt x="31876" y="314299"/>
                </a:lnTo>
                <a:lnTo>
                  <a:pt x="37096" y="314299"/>
                </a:lnTo>
                <a:lnTo>
                  <a:pt x="41516" y="314915"/>
                </a:lnTo>
                <a:lnTo>
                  <a:pt x="50668" y="317201"/>
                </a:lnTo>
                <a:lnTo>
                  <a:pt x="62825" y="320407"/>
                </a:lnTo>
                <a:lnTo>
                  <a:pt x="77157" y="323713"/>
                </a:lnTo>
                <a:lnTo>
                  <a:pt x="92835" y="326298"/>
                </a:lnTo>
                <a:lnTo>
                  <a:pt x="109029" y="327342"/>
                </a:lnTo>
                <a:lnTo>
                  <a:pt x="109480" y="327341"/>
                </a:lnTo>
                <a:lnTo>
                  <a:pt x="124538" y="326156"/>
                </a:lnTo>
                <a:lnTo>
                  <a:pt x="138729" y="322841"/>
                </a:lnTo>
                <a:lnTo>
                  <a:pt x="151884" y="317559"/>
                </a:lnTo>
                <a:lnTo>
                  <a:pt x="163836" y="310469"/>
                </a:lnTo>
                <a:lnTo>
                  <a:pt x="174413" y="301732"/>
                </a:lnTo>
                <a:lnTo>
                  <a:pt x="183447" y="291509"/>
                </a:lnTo>
                <a:lnTo>
                  <a:pt x="190768" y="279961"/>
                </a:lnTo>
                <a:lnTo>
                  <a:pt x="196207" y="267249"/>
                </a:lnTo>
                <a:lnTo>
                  <a:pt x="199594" y="253534"/>
                </a:lnTo>
                <a:lnTo>
                  <a:pt x="200761" y="238975"/>
                </a:lnTo>
                <a:lnTo>
                  <a:pt x="200208" y="229802"/>
                </a:lnTo>
                <a:lnTo>
                  <a:pt x="197518" y="217185"/>
                </a:lnTo>
                <a:lnTo>
                  <a:pt x="192813" y="205469"/>
                </a:lnTo>
                <a:lnTo>
                  <a:pt x="186339" y="194585"/>
                </a:lnTo>
                <a:lnTo>
                  <a:pt x="178341" y="184463"/>
                </a:lnTo>
                <a:lnTo>
                  <a:pt x="169065" y="175032"/>
                </a:lnTo>
                <a:lnTo>
                  <a:pt x="158755" y="166225"/>
                </a:lnTo>
                <a:lnTo>
                  <a:pt x="147657" y="157969"/>
                </a:lnTo>
                <a:lnTo>
                  <a:pt x="136016" y="150196"/>
                </a:lnTo>
                <a:lnTo>
                  <a:pt x="124079" y="142836"/>
                </a:lnTo>
                <a:lnTo>
                  <a:pt x="114617" y="137112"/>
                </a:lnTo>
                <a:lnTo>
                  <a:pt x="99689" y="127857"/>
                </a:lnTo>
                <a:lnTo>
                  <a:pt x="86381" y="119077"/>
                </a:lnTo>
                <a:lnTo>
                  <a:pt x="74808" y="110584"/>
                </a:lnTo>
                <a:lnTo>
                  <a:pt x="65084" y="102185"/>
                </a:lnTo>
                <a:lnTo>
                  <a:pt x="57322" y="93693"/>
                </a:lnTo>
                <a:lnTo>
                  <a:pt x="51636" y="84916"/>
                </a:lnTo>
                <a:lnTo>
                  <a:pt x="48142" y="75664"/>
                </a:lnTo>
                <a:lnTo>
                  <a:pt x="46951" y="65747"/>
                </a:lnTo>
                <a:lnTo>
                  <a:pt x="47315" y="59506"/>
                </a:lnTo>
                <a:lnTo>
                  <a:pt x="51053" y="45528"/>
                </a:lnTo>
                <a:lnTo>
                  <a:pt x="58334" y="33757"/>
                </a:lnTo>
                <a:lnTo>
                  <a:pt x="68536" y="24710"/>
                </a:lnTo>
                <a:lnTo>
                  <a:pt x="81036" y="18903"/>
                </a:lnTo>
                <a:lnTo>
                  <a:pt x="95211" y="16852"/>
                </a:lnTo>
                <a:lnTo>
                  <a:pt x="95535" y="16853"/>
                </a:lnTo>
                <a:lnTo>
                  <a:pt x="109355" y="18312"/>
                </a:lnTo>
                <a:lnTo>
                  <a:pt x="121957" y="22352"/>
                </a:lnTo>
                <a:lnTo>
                  <a:pt x="133357" y="28658"/>
                </a:lnTo>
                <a:lnTo>
                  <a:pt x="143574" y="36919"/>
                </a:lnTo>
                <a:lnTo>
                  <a:pt x="152623" y="46820"/>
                </a:lnTo>
                <a:lnTo>
                  <a:pt x="160524" y="58051"/>
                </a:lnTo>
                <a:lnTo>
                  <a:pt x="167294" y="70297"/>
                </a:lnTo>
                <a:lnTo>
                  <a:pt x="172949" y="83245"/>
                </a:lnTo>
                <a:lnTo>
                  <a:pt x="177507" y="96583"/>
                </a:lnTo>
                <a:lnTo>
                  <a:pt x="186093" y="96583"/>
                </a:lnTo>
                <a:lnTo>
                  <a:pt x="176225" y="3314"/>
                </a:lnTo>
                <a:lnTo>
                  <a:pt x="167627" y="3314"/>
                </a:lnTo>
                <a:lnTo>
                  <a:pt x="168846" y="10477"/>
                </a:lnTo>
                <a:lnTo>
                  <a:pt x="167627" y="14592"/>
                </a:lnTo>
                <a:lnTo>
                  <a:pt x="158018" y="14521"/>
                </a:lnTo>
                <a:lnTo>
                  <a:pt x="148019" y="12591"/>
                </a:lnTo>
                <a:lnTo>
                  <a:pt x="137982" y="8937"/>
                </a:lnTo>
                <a:lnTo>
                  <a:pt x="126710" y="4796"/>
                </a:lnTo>
                <a:lnTo>
                  <a:pt x="113009" y="1405"/>
                </a:lnTo>
                <a:lnTo>
                  <a:pt x="95681" y="0"/>
                </a:lnTo>
                <a:lnTo>
                  <a:pt x="87648" y="311"/>
                </a:lnTo>
                <a:lnTo>
                  <a:pt x="73426" y="2477"/>
                </a:lnTo>
                <a:lnTo>
                  <a:pt x="60081" y="6636"/>
                </a:lnTo>
                <a:lnTo>
                  <a:pt x="47824" y="12709"/>
                </a:lnTo>
                <a:lnTo>
                  <a:pt x="36869" y="20614"/>
                </a:lnTo>
                <a:lnTo>
                  <a:pt x="27428" y="30271"/>
                </a:lnTo>
                <a:lnTo>
                  <a:pt x="19714" y="41598"/>
                </a:lnTo>
                <a:lnTo>
                  <a:pt x="13941" y="54516"/>
                </a:lnTo>
                <a:lnTo>
                  <a:pt x="10321" y="68942"/>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bject 30"/>
          <p:cNvSpPr/>
          <p:nvPr/>
        </p:nvSpPr>
        <p:spPr>
          <a:xfrm>
            <a:off x="7737814" y="273013"/>
            <a:ext cx="202338" cy="219938"/>
          </a:xfrm>
          <a:custGeom>
            <a:avLst/>
            <a:gdLst/>
            <a:ahLst/>
            <a:cxnLst/>
            <a:rect l="l" t="t" r="r" b="b"/>
            <a:pathLst>
              <a:path w="287769" h="312801">
                <a:moveTo>
                  <a:pt x="279552" y="232981"/>
                </a:moveTo>
                <a:lnTo>
                  <a:pt x="276943" y="240536"/>
                </a:lnTo>
                <a:lnTo>
                  <a:pt x="271058" y="253490"/>
                </a:lnTo>
                <a:lnTo>
                  <a:pt x="263768" y="264984"/>
                </a:lnTo>
                <a:lnTo>
                  <a:pt x="255054" y="274822"/>
                </a:lnTo>
                <a:lnTo>
                  <a:pt x="244894" y="282812"/>
                </a:lnTo>
                <a:lnTo>
                  <a:pt x="233266" y="288760"/>
                </a:lnTo>
                <a:lnTo>
                  <a:pt x="220150" y="292470"/>
                </a:lnTo>
                <a:lnTo>
                  <a:pt x="205524" y="293750"/>
                </a:lnTo>
                <a:lnTo>
                  <a:pt x="114617" y="293750"/>
                </a:lnTo>
                <a:lnTo>
                  <a:pt x="107743" y="293243"/>
                </a:lnTo>
                <a:lnTo>
                  <a:pt x="97971" y="287995"/>
                </a:lnTo>
                <a:lnTo>
                  <a:pt x="93848" y="275924"/>
                </a:lnTo>
                <a:lnTo>
                  <a:pt x="93002" y="255638"/>
                </a:lnTo>
                <a:lnTo>
                  <a:pt x="93002" y="157327"/>
                </a:lnTo>
                <a:lnTo>
                  <a:pt x="183972" y="157327"/>
                </a:lnTo>
                <a:lnTo>
                  <a:pt x="196132" y="158270"/>
                </a:lnTo>
                <a:lnTo>
                  <a:pt x="208870" y="162761"/>
                </a:lnTo>
                <a:lnTo>
                  <a:pt x="217590" y="171146"/>
                </a:lnTo>
                <a:lnTo>
                  <a:pt x="222977" y="183640"/>
                </a:lnTo>
                <a:lnTo>
                  <a:pt x="225717" y="200456"/>
                </a:lnTo>
                <a:lnTo>
                  <a:pt x="234302" y="200456"/>
                </a:lnTo>
                <a:lnTo>
                  <a:pt x="234302" y="95199"/>
                </a:lnTo>
                <a:lnTo>
                  <a:pt x="225717" y="95199"/>
                </a:lnTo>
                <a:lnTo>
                  <a:pt x="223839" y="107942"/>
                </a:lnTo>
                <a:lnTo>
                  <a:pt x="219288" y="121649"/>
                </a:lnTo>
                <a:lnTo>
                  <a:pt x="211694" y="131080"/>
                </a:lnTo>
                <a:lnTo>
                  <a:pt x="200206" y="136526"/>
                </a:lnTo>
                <a:lnTo>
                  <a:pt x="183972" y="138277"/>
                </a:lnTo>
                <a:lnTo>
                  <a:pt x="93002" y="138277"/>
                </a:lnTo>
                <a:lnTo>
                  <a:pt x="93002" y="50723"/>
                </a:lnTo>
                <a:lnTo>
                  <a:pt x="93614" y="31635"/>
                </a:lnTo>
                <a:lnTo>
                  <a:pt x="98538" y="21619"/>
                </a:lnTo>
                <a:lnTo>
                  <a:pt x="112445" y="19100"/>
                </a:lnTo>
                <a:lnTo>
                  <a:pt x="195307" y="19104"/>
                </a:lnTo>
                <a:lnTo>
                  <a:pt x="211444" y="20221"/>
                </a:lnTo>
                <a:lnTo>
                  <a:pt x="224871" y="23628"/>
                </a:lnTo>
                <a:lnTo>
                  <a:pt x="235677" y="29742"/>
                </a:lnTo>
                <a:lnTo>
                  <a:pt x="243952" y="38981"/>
                </a:lnTo>
                <a:lnTo>
                  <a:pt x="249784" y="51762"/>
                </a:lnTo>
                <a:lnTo>
                  <a:pt x="253263" y="68503"/>
                </a:lnTo>
                <a:lnTo>
                  <a:pt x="261861" y="68503"/>
                </a:lnTo>
                <a:lnTo>
                  <a:pt x="258025" y="0"/>
                </a:lnTo>
                <a:lnTo>
                  <a:pt x="0" y="0"/>
                </a:lnTo>
                <a:lnTo>
                  <a:pt x="0" y="9016"/>
                </a:lnTo>
                <a:lnTo>
                  <a:pt x="1382" y="9021"/>
                </a:lnTo>
                <a:lnTo>
                  <a:pt x="18909" y="10200"/>
                </a:lnTo>
                <a:lnTo>
                  <a:pt x="31704" y="14197"/>
                </a:lnTo>
                <a:lnTo>
                  <a:pt x="40248" y="22053"/>
                </a:lnTo>
                <a:lnTo>
                  <a:pt x="45022" y="34812"/>
                </a:lnTo>
                <a:lnTo>
                  <a:pt x="46507" y="53517"/>
                </a:lnTo>
                <a:lnTo>
                  <a:pt x="46501" y="260748"/>
                </a:lnTo>
                <a:lnTo>
                  <a:pt x="44822" y="278999"/>
                </a:lnTo>
                <a:lnTo>
                  <a:pt x="39815" y="291394"/>
                </a:lnTo>
                <a:lnTo>
                  <a:pt x="30996" y="298967"/>
                </a:lnTo>
                <a:lnTo>
                  <a:pt x="17886" y="302752"/>
                </a:lnTo>
                <a:lnTo>
                  <a:pt x="0" y="303783"/>
                </a:lnTo>
                <a:lnTo>
                  <a:pt x="0" y="312800"/>
                </a:lnTo>
                <a:lnTo>
                  <a:pt x="264502" y="312800"/>
                </a:lnTo>
                <a:lnTo>
                  <a:pt x="287769" y="236232"/>
                </a:lnTo>
                <a:lnTo>
                  <a:pt x="279552"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object 31"/>
          <p:cNvSpPr/>
          <p:nvPr/>
        </p:nvSpPr>
        <p:spPr>
          <a:xfrm>
            <a:off x="7923469" y="273014"/>
            <a:ext cx="228341" cy="222528"/>
          </a:xfrm>
          <a:custGeom>
            <a:avLst/>
            <a:gdLst/>
            <a:ahLst/>
            <a:cxnLst/>
            <a:rect l="l" t="t" r="r" b="b"/>
            <a:pathLst>
              <a:path w="324751" h="316484">
                <a:moveTo>
                  <a:pt x="91997" y="24011"/>
                </a:moveTo>
                <a:lnTo>
                  <a:pt x="99871" y="13459"/>
                </a:lnTo>
                <a:lnTo>
                  <a:pt x="114130" y="9572"/>
                </a:lnTo>
                <a:lnTo>
                  <a:pt x="127977" y="9016"/>
                </a:lnTo>
                <a:lnTo>
                  <a:pt x="127977" y="0"/>
                </a:lnTo>
                <a:lnTo>
                  <a:pt x="0" y="0"/>
                </a:lnTo>
                <a:lnTo>
                  <a:pt x="0" y="9016"/>
                </a:lnTo>
                <a:lnTo>
                  <a:pt x="2948" y="9122"/>
                </a:lnTo>
                <a:lnTo>
                  <a:pt x="15857" y="12204"/>
                </a:lnTo>
                <a:lnTo>
                  <a:pt x="26953" y="19165"/>
                </a:lnTo>
                <a:lnTo>
                  <a:pt x="35356" y="29476"/>
                </a:lnTo>
                <a:lnTo>
                  <a:pt x="42551" y="42746"/>
                </a:lnTo>
                <a:lnTo>
                  <a:pt x="48256" y="54127"/>
                </a:lnTo>
                <a:lnTo>
                  <a:pt x="53680" y="65620"/>
                </a:lnTo>
                <a:lnTo>
                  <a:pt x="58887" y="77198"/>
                </a:lnTo>
                <a:lnTo>
                  <a:pt x="63944" y="88835"/>
                </a:lnTo>
                <a:lnTo>
                  <a:pt x="68916" y="100505"/>
                </a:lnTo>
                <a:lnTo>
                  <a:pt x="73868" y="112181"/>
                </a:lnTo>
                <a:lnTo>
                  <a:pt x="78866" y="123837"/>
                </a:lnTo>
                <a:lnTo>
                  <a:pt x="161975" y="316483"/>
                </a:lnTo>
                <a:lnTo>
                  <a:pt x="168401" y="316483"/>
                </a:lnTo>
                <a:lnTo>
                  <a:pt x="268338" y="86550"/>
                </a:lnTo>
                <a:lnTo>
                  <a:pt x="270549" y="81247"/>
                </a:lnTo>
                <a:lnTo>
                  <a:pt x="275260" y="69665"/>
                </a:lnTo>
                <a:lnTo>
                  <a:pt x="280885" y="56348"/>
                </a:lnTo>
                <a:lnTo>
                  <a:pt x="287239" y="42690"/>
                </a:lnTo>
                <a:lnTo>
                  <a:pt x="294141" y="30083"/>
                </a:lnTo>
                <a:lnTo>
                  <a:pt x="301406" y="19918"/>
                </a:lnTo>
                <a:lnTo>
                  <a:pt x="308851" y="13588"/>
                </a:lnTo>
                <a:lnTo>
                  <a:pt x="314007" y="10883"/>
                </a:lnTo>
                <a:lnTo>
                  <a:pt x="319557" y="10020"/>
                </a:lnTo>
                <a:lnTo>
                  <a:pt x="324751" y="9016"/>
                </a:lnTo>
                <a:lnTo>
                  <a:pt x="324751" y="0"/>
                </a:lnTo>
                <a:lnTo>
                  <a:pt x="233476" y="0"/>
                </a:lnTo>
                <a:lnTo>
                  <a:pt x="233476" y="9016"/>
                </a:lnTo>
                <a:lnTo>
                  <a:pt x="250754" y="11440"/>
                </a:lnTo>
                <a:lnTo>
                  <a:pt x="262460" y="16957"/>
                </a:lnTo>
                <a:lnTo>
                  <a:pt x="266280" y="25387"/>
                </a:lnTo>
                <a:lnTo>
                  <a:pt x="266156" y="28939"/>
                </a:lnTo>
                <a:lnTo>
                  <a:pt x="264646" y="38693"/>
                </a:lnTo>
                <a:lnTo>
                  <a:pt x="260974" y="51036"/>
                </a:lnTo>
                <a:lnTo>
                  <a:pt x="254584" y="67132"/>
                </a:lnTo>
                <a:lnTo>
                  <a:pt x="179616" y="241617"/>
                </a:lnTo>
                <a:lnTo>
                  <a:pt x="117182" y="92976"/>
                </a:lnTo>
                <a:lnTo>
                  <a:pt x="113376" y="83986"/>
                </a:lnTo>
                <a:lnTo>
                  <a:pt x="106936" y="68608"/>
                </a:lnTo>
                <a:lnTo>
                  <a:pt x="101056" y="54194"/>
                </a:lnTo>
                <a:lnTo>
                  <a:pt x="96237" y="41751"/>
                </a:lnTo>
                <a:lnTo>
                  <a:pt x="92979" y="32283"/>
                </a:lnTo>
                <a:lnTo>
                  <a:pt x="91782" y="26796"/>
                </a:lnTo>
                <a:lnTo>
                  <a:pt x="91997" y="2401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object 32"/>
          <p:cNvSpPr/>
          <p:nvPr/>
        </p:nvSpPr>
        <p:spPr>
          <a:xfrm>
            <a:off x="8153924" y="273013"/>
            <a:ext cx="98146" cy="219938"/>
          </a:xfrm>
          <a:custGeom>
            <a:avLst/>
            <a:gdLst/>
            <a:ahLst/>
            <a:cxnLst/>
            <a:rect l="l" t="t" r="r" b="b"/>
            <a:pathLst>
              <a:path w="139585" h="312801">
                <a:moveTo>
                  <a:pt x="46570" y="259397"/>
                </a:moveTo>
                <a:lnTo>
                  <a:pt x="44869" y="279043"/>
                </a:lnTo>
                <a:lnTo>
                  <a:pt x="39840" y="291415"/>
                </a:lnTo>
                <a:lnTo>
                  <a:pt x="31003" y="298975"/>
                </a:lnTo>
                <a:lnTo>
                  <a:pt x="17881" y="302753"/>
                </a:lnTo>
                <a:lnTo>
                  <a:pt x="0" y="303783"/>
                </a:lnTo>
                <a:lnTo>
                  <a:pt x="0" y="312800"/>
                </a:lnTo>
                <a:lnTo>
                  <a:pt x="139585" y="312800"/>
                </a:lnTo>
                <a:lnTo>
                  <a:pt x="139585" y="303783"/>
                </a:lnTo>
                <a:lnTo>
                  <a:pt x="138180" y="303779"/>
                </a:lnTo>
                <a:lnTo>
                  <a:pt x="120634" y="302594"/>
                </a:lnTo>
                <a:lnTo>
                  <a:pt x="107812" y="298593"/>
                </a:lnTo>
                <a:lnTo>
                  <a:pt x="99240" y="290746"/>
                </a:lnTo>
                <a:lnTo>
                  <a:pt x="94444" y="278024"/>
                </a:lnTo>
                <a:lnTo>
                  <a:pt x="92951" y="259397"/>
                </a:lnTo>
                <a:lnTo>
                  <a:pt x="92959" y="51875"/>
                </a:lnTo>
                <a:lnTo>
                  <a:pt x="94681" y="33676"/>
                </a:lnTo>
                <a:lnTo>
                  <a:pt x="99733" y="21330"/>
                </a:lnTo>
                <a:lnTo>
                  <a:pt x="108586" y="13797"/>
                </a:lnTo>
                <a:lnTo>
                  <a:pt x="121713" y="10038"/>
                </a:lnTo>
                <a:lnTo>
                  <a:pt x="139585" y="9016"/>
                </a:lnTo>
                <a:lnTo>
                  <a:pt x="139585" y="0"/>
                </a:lnTo>
                <a:lnTo>
                  <a:pt x="0" y="0"/>
                </a:lnTo>
                <a:lnTo>
                  <a:pt x="0" y="9016"/>
                </a:lnTo>
                <a:lnTo>
                  <a:pt x="1454" y="9021"/>
                </a:lnTo>
                <a:lnTo>
                  <a:pt x="18959" y="10207"/>
                </a:lnTo>
                <a:lnTo>
                  <a:pt x="31749" y="14209"/>
                </a:lnTo>
                <a:lnTo>
                  <a:pt x="40299" y="22068"/>
                </a:lnTo>
                <a:lnTo>
                  <a:pt x="45081" y="34823"/>
                </a:lnTo>
                <a:lnTo>
                  <a:pt x="46570" y="53517"/>
                </a:lnTo>
                <a:lnTo>
                  <a:pt x="46570" y="25939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bject 33"/>
          <p:cNvSpPr/>
          <p:nvPr/>
        </p:nvSpPr>
        <p:spPr>
          <a:xfrm>
            <a:off x="8265583" y="273013"/>
            <a:ext cx="202319" cy="219938"/>
          </a:xfrm>
          <a:custGeom>
            <a:avLst/>
            <a:gdLst/>
            <a:ahLst/>
            <a:cxnLst/>
            <a:rect l="l" t="t" r="r" b="b"/>
            <a:pathLst>
              <a:path w="287743" h="312801">
                <a:moveTo>
                  <a:pt x="279527" y="232981"/>
                </a:moveTo>
                <a:lnTo>
                  <a:pt x="276917" y="240565"/>
                </a:lnTo>
                <a:lnTo>
                  <a:pt x="271048" y="253513"/>
                </a:lnTo>
                <a:lnTo>
                  <a:pt x="263772" y="265000"/>
                </a:lnTo>
                <a:lnTo>
                  <a:pt x="255065" y="274833"/>
                </a:lnTo>
                <a:lnTo>
                  <a:pt x="244903" y="282819"/>
                </a:lnTo>
                <a:lnTo>
                  <a:pt x="233264" y="288763"/>
                </a:lnTo>
                <a:lnTo>
                  <a:pt x="220124" y="292471"/>
                </a:lnTo>
                <a:lnTo>
                  <a:pt x="205460" y="293750"/>
                </a:lnTo>
                <a:lnTo>
                  <a:pt x="114579" y="293750"/>
                </a:lnTo>
                <a:lnTo>
                  <a:pt x="107757" y="293250"/>
                </a:lnTo>
                <a:lnTo>
                  <a:pt x="97991" y="288011"/>
                </a:lnTo>
                <a:lnTo>
                  <a:pt x="93888" y="275940"/>
                </a:lnTo>
                <a:lnTo>
                  <a:pt x="93052" y="255638"/>
                </a:lnTo>
                <a:lnTo>
                  <a:pt x="93052" y="157327"/>
                </a:lnTo>
                <a:lnTo>
                  <a:pt x="183908" y="157327"/>
                </a:lnTo>
                <a:lnTo>
                  <a:pt x="196122" y="158276"/>
                </a:lnTo>
                <a:lnTo>
                  <a:pt x="208868" y="162773"/>
                </a:lnTo>
                <a:lnTo>
                  <a:pt x="217594" y="171159"/>
                </a:lnTo>
                <a:lnTo>
                  <a:pt x="222980" y="183649"/>
                </a:lnTo>
                <a:lnTo>
                  <a:pt x="225704" y="200456"/>
                </a:lnTo>
                <a:lnTo>
                  <a:pt x="234340" y="200456"/>
                </a:lnTo>
                <a:lnTo>
                  <a:pt x="234340" y="95199"/>
                </a:lnTo>
                <a:lnTo>
                  <a:pt x="225704" y="95199"/>
                </a:lnTo>
                <a:lnTo>
                  <a:pt x="223860" y="107980"/>
                </a:lnTo>
                <a:lnTo>
                  <a:pt x="219304" y="121669"/>
                </a:lnTo>
                <a:lnTo>
                  <a:pt x="211672" y="131089"/>
                </a:lnTo>
                <a:lnTo>
                  <a:pt x="200145" y="136528"/>
                </a:lnTo>
                <a:lnTo>
                  <a:pt x="183908" y="138277"/>
                </a:lnTo>
                <a:lnTo>
                  <a:pt x="93052" y="138277"/>
                </a:lnTo>
                <a:lnTo>
                  <a:pt x="93052" y="50723"/>
                </a:lnTo>
                <a:lnTo>
                  <a:pt x="93667" y="31624"/>
                </a:lnTo>
                <a:lnTo>
                  <a:pt x="98599" y="21617"/>
                </a:lnTo>
                <a:lnTo>
                  <a:pt x="112522" y="19100"/>
                </a:lnTo>
                <a:lnTo>
                  <a:pt x="195377" y="19104"/>
                </a:lnTo>
                <a:lnTo>
                  <a:pt x="211528" y="20228"/>
                </a:lnTo>
                <a:lnTo>
                  <a:pt x="224950" y="23640"/>
                </a:lnTo>
                <a:lnTo>
                  <a:pt x="235741" y="29756"/>
                </a:lnTo>
                <a:lnTo>
                  <a:pt x="244002" y="38995"/>
                </a:lnTo>
                <a:lnTo>
                  <a:pt x="249831" y="51771"/>
                </a:lnTo>
                <a:lnTo>
                  <a:pt x="253326" y="68503"/>
                </a:lnTo>
                <a:lnTo>
                  <a:pt x="261861" y="68503"/>
                </a:lnTo>
                <a:lnTo>
                  <a:pt x="258025" y="0"/>
                </a:lnTo>
                <a:lnTo>
                  <a:pt x="0" y="0"/>
                </a:lnTo>
                <a:lnTo>
                  <a:pt x="0" y="9016"/>
                </a:lnTo>
                <a:lnTo>
                  <a:pt x="1385" y="9021"/>
                </a:lnTo>
                <a:lnTo>
                  <a:pt x="18934" y="10200"/>
                </a:lnTo>
                <a:lnTo>
                  <a:pt x="31731" y="14197"/>
                </a:lnTo>
                <a:lnTo>
                  <a:pt x="40266" y="22053"/>
                </a:lnTo>
                <a:lnTo>
                  <a:pt x="45028" y="34812"/>
                </a:lnTo>
                <a:lnTo>
                  <a:pt x="46507" y="53517"/>
                </a:lnTo>
                <a:lnTo>
                  <a:pt x="46501" y="260748"/>
                </a:lnTo>
                <a:lnTo>
                  <a:pt x="44829" y="278999"/>
                </a:lnTo>
                <a:lnTo>
                  <a:pt x="39833" y="291394"/>
                </a:lnTo>
                <a:lnTo>
                  <a:pt x="31024" y="298967"/>
                </a:lnTo>
                <a:lnTo>
                  <a:pt x="17910" y="302752"/>
                </a:lnTo>
                <a:lnTo>
                  <a:pt x="0" y="303783"/>
                </a:lnTo>
                <a:lnTo>
                  <a:pt x="0" y="312800"/>
                </a:lnTo>
                <a:lnTo>
                  <a:pt x="264439" y="312800"/>
                </a:lnTo>
                <a:lnTo>
                  <a:pt x="287743" y="236232"/>
                </a:lnTo>
                <a:lnTo>
                  <a:pt x="279527" y="23298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34"/>
          <p:cNvSpPr/>
          <p:nvPr/>
        </p:nvSpPr>
        <p:spPr>
          <a:xfrm>
            <a:off x="8467537" y="273015"/>
            <a:ext cx="221045" cy="219938"/>
          </a:xfrm>
          <a:custGeom>
            <a:avLst/>
            <a:gdLst/>
            <a:ahLst/>
            <a:cxnLst/>
            <a:rect l="l" t="t" r="r" b="b"/>
            <a:pathLst>
              <a:path w="314375" h="312801">
                <a:moveTo>
                  <a:pt x="314375" y="303783"/>
                </a:moveTo>
                <a:lnTo>
                  <a:pt x="300670" y="299079"/>
                </a:lnTo>
                <a:lnTo>
                  <a:pt x="290550" y="293294"/>
                </a:lnTo>
                <a:lnTo>
                  <a:pt x="281779" y="285095"/>
                </a:lnTo>
                <a:lnTo>
                  <a:pt x="276504" y="278803"/>
                </a:lnTo>
                <a:lnTo>
                  <a:pt x="181749" y="161886"/>
                </a:lnTo>
                <a:lnTo>
                  <a:pt x="196480" y="158116"/>
                </a:lnTo>
                <a:lnTo>
                  <a:pt x="210046" y="153248"/>
                </a:lnTo>
                <a:lnTo>
                  <a:pt x="222306" y="147169"/>
                </a:lnTo>
                <a:lnTo>
                  <a:pt x="233118" y="139769"/>
                </a:lnTo>
                <a:lnTo>
                  <a:pt x="242342" y="130933"/>
                </a:lnTo>
                <a:lnTo>
                  <a:pt x="249835" y="120551"/>
                </a:lnTo>
                <a:lnTo>
                  <a:pt x="255456" y="108509"/>
                </a:lnTo>
                <a:lnTo>
                  <a:pt x="259064" y="94696"/>
                </a:lnTo>
                <a:lnTo>
                  <a:pt x="260517" y="78998"/>
                </a:lnTo>
                <a:lnTo>
                  <a:pt x="260540" y="76606"/>
                </a:lnTo>
                <a:lnTo>
                  <a:pt x="259020" y="58622"/>
                </a:lnTo>
                <a:lnTo>
                  <a:pt x="254681" y="43691"/>
                </a:lnTo>
                <a:lnTo>
                  <a:pt x="247856" y="31531"/>
                </a:lnTo>
                <a:lnTo>
                  <a:pt x="238877" y="21857"/>
                </a:lnTo>
                <a:lnTo>
                  <a:pt x="228075" y="14388"/>
                </a:lnTo>
                <a:lnTo>
                  <a:pt x="215784" y="8840"/>
                </a:lnTo>
                <a:lnTo>
                  <a:pt x="202336" y="4930"/>
                </a:lnTo>
                <a:lnTo>
                  <a:pt x="188062" y="2374"/>
                </a:lnTo>
                <a:lnTo>
                  <a:pt x="173296" y="890"/>
                </a:lnTo>
                <a:lnTo>
                  <a:pt x="158369" y="193"/>
                </a:lnTo>
                <a:lnTo>
                  <a:pt x="143614" y="2"/>
                </a:lnTo>
                <a:lnTo>
                  <a:pt x="0" y="0"/>
                </a:lnTo>
                <a:lnTo>
                  <a:pt x="0" y="9016"/>
                </a:lnTo>
                <a:lnTo>
                  <a:pt x="17847" y="10042"/>
                </a:lnTo>
                <a:lnTo>
                  <a:pt x="30948" y="13812"/>
                </a:lnTo>
                <a:lnTo>
                  <a:pt x="39774" y="21372"/>
                </a:lnTo>
                <a:lnTo>
                  <a:pt x="44801" y="33763"/>
                </a:lnTo>
                <a:lnTo>
                  <a:pt x="103533" y="18338"/>
                </a:lnTo>
                <a:lnTo>
                  <a:pt x="121766" y="16832"/>
                </a:lnTo>
                <a:lnTo>
                  <a:pt x="126542" y="16814"/>
                </a:lnTo>
                <a:lnTo>
                  <a:pt x="141816" y="17509"/>
                </a:lnTo>
                <a:lnTo>
                  <a:pt x="156370" y="19742"/>
                </a:lnTo>
                <a:lnTo>
                  <a:pt x="169834" y="23743"/>
                </a:lnTo>
                <a:lnTo>
                  <a:pt x="181839" y="29736"/>
                </a:lnTo>
                <a:lnTo>
                  <a:pt x="192017" y="37950"/>
                </a:lnTo>
                <a:lnTo>
                  <a:pt x="199998" y="48611"/>
                </a:lnTo>
                <a:lnTo>
                  <a:pt x="205414" y="61946"/>
                </a:lnTo>
                <a:lnTo>
                  <a:pt x="207894" y="78182"/>
                </a:lnTo>
                <a:lnTo>
                  <a:pt x="208013" y="83007"/>
                </a:lnTo>
                <a:lnTo>
                  <a:pt x="206455" y="99861"/>
                </a:lnTo>
                <a:lnTo>
                  <a:pt x="202008" y="114037"/>
                </a:lnTo>
                <a:lnTo>
                  <a:pt x="195011" y="125725"/>
                </a:lnTo>
                <a:lnTo>
                  <a:pt x="185804" y="135111"/>
                </a:lnTo>
                <a:lnTo>
                  <a:pt x="174724" y="142386"/>
                </a:lnTo>
                <a:lnTo>
                  <a:pt x="162113" y="147737"/>
                </a:lnTo>
                <a:lnTo>
                  <a:pt x="148307" y="151354"/>
                </a:lnTo>
                <a:lnTo>
                  <a:pt x="133648" y="153423"/>
                </a:lnTo>
                <a:lnTo>
                  <a:pt x="132219" y="173189"/>
                </a:lnTo>
                <a:lnTo>
                  <a:pt x="244652" y="312800"/>
                </a:lnTo>
                <a:lnTo>
                  <a:pt x="314375" y="312800"/>
                </a:lnTo>
                <a:lnTo>
                  <a:pt x="314375" y="303783"/>
                </a:lnTo>
                <a:close/>
              </a:path>
              <a:path w="314375" h="312801">
                <a:moveTo>
                  <a:pt x="139547" y="312800"/>
                </a:moveTo>
                <a:lnTo>
                  <a:pt x="139547" y="303783"/>
                </a:lnTo>
                <a:lnTo>
                  <a:pt x="121667" y="302754"/>
                </a:lnTo>
                <a:lnTo>
                  <a:pt x="108541" y="298978"/>
                </a:lnTo>
                <a:lnTo>
                  <a:pt x="99696" y="291423"/>
                </a:lnTo>
                <a:lnTo>
                  <a:pt x="94659" y="279060"/>
                </a:lnTo>
                <a:lnTo>
                  <a:pt x="92957" y="260855"/>
                </a:lnTo>
                <a:lnTo>
                  <a:pt x="92951" y="173189"/>
                </a:lnTo>
                <a:lnTo>
                  <a:pt x="132219" y="173189"/>
                </a:lnTo>
                <a:lnTo>
                  <a:pt x="133648" y="153423"/>
                </a:lnTo>
                <a:lnTo>
                  <a:pt x="118474" y="154135"/>
                </a:lnTo>
                <a:lnTo>
                  <a:pt x="92951" y="154139"/>
                </a:lnTo>
                <a:lnTo>
                  <a:pt x="92951" y="39408"/>
                </a:lnTo>
                <a:lnTo>
                  <a:pt x="95040" y="24720"/>
                </a:lnTo>
                <a:lnTo>
                  <a:pt x="103533" y="18338"/>
                </a:lnTo>
                <a:lnTo>
                  <a:pt x="44801" y="33763"/>
                </a:lnTo>
                <a:lnTo>
                  <a:pt x="46500" y="52028"/>
                </a:lnTo>
                <a:lnTo>
                  <a:pt x="46507" y="259397"/>
                </a:lnTo>
                <a:lnTo>
                  <a:pt x="45014" y="278046"/>
                </a:lnTo>
                <a:lnTo>
                  <a:pt x="40217" y="290775"/>
                </a:lnTo>
                <a:lnTo>
                  <a:pt x="31643" y="298617"/>
                </a:lnTo>
                <a:lnTo>
                  <a:pt x="18814" y="302607"/>
                </a:lnTo>
                <a:lnTo>
                  <a:pt x="1257" y="303780"/>
                </a:lnTo>
                <a:lnTo>
                  <a:pt x="0" y="303783"/>
                </a:lnTo>
                <a:lnTo>
                  <a:pt x="0" y="312800"/>
                </a:lnTo>
                <a:lnTo>
                  <a:pt x="139547" y="3128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5"/>
          <p:cNvSpPr/>
          <p:nvPr/>
        </p:nvSpPr>
        <p:spPr>
          <a:xfrm>
            <a:off x="473271" y="314717"/>
            <a:ext cx="137392" cy="172914"/>
          </a:xfrm>
          <a:custGeom>
            <a:avLst/>
            <a:gdLst/>
            <a:ahLst/>
            <a:cxnLst/>
            <a:rect l="l" t="t" r="r" b="b"/>
            <a:pathLst>
              <a:path w="195402" h="245922">
                <a:moveTo>
                  <a:pt x="35286" y="117306"/>
                </a:moveTo>
                <a:lnTo>
                  <a:pt x="36531" y="103026"/>
                </a:lnTo>
                <a:lnTo>
                  <a:pt x="39488" y="89346"/>
                </a:lnTo>
                <a:lnTo>
                  <a:pt x="44162" y="76478"/>
                </a:lnTo>
                <a:lnTo>
                  <a:pt x="50557" y="64635"/>
                </a:lnTo>
                <a:lnTo>
                  <a:pt x="58677" y="54030"/>
                </a:lnTo>
                <a:lnTo>
                  <a:pt x="68527" y="44876"/>
                </a:lnTo>
                <a:lnTo>
                  <a:pt x="80111" y="37385"/>
                </a:lnTo>
                <a:lnTo>
                  <a:pt x="93434" y="31772"/>
                </a:lnTo>
                <a:lnTo>
                  <a:pt x="108499" y="28247"/>
                </a:lnTo>
                <a:lnTo>
                  <a:pt x="125310" y="27025"/>
                </a:lnTo>
                <a:lnTo>
                  <a:pt x="131111" y="27142"/>
                </a:lnTo>
                <a:lnTo>
                  <a:pt x="143066" y="28077"/>
                </a:lnTo>
                <a:lnTo>
                  <a:pt x="155696" y="30052"/>
                </a:lnTo>
                <a:lnTo>
                  <a:pt x="168583" y="33191"/>
                </a:lnTo>
                <a:lnTo>
                  <a:pt x="181306" y="37623"/>
                </a:lnTo>
                <a:lnTo>
                  <a:pt x="193446" y="43472"/>
                </a:lnTo>
                <a:lnTo>
                  <a:pt x="195402" y="13715"/>
                </a:lnTo>
                <a:lnTo>
                  <a:pt x="184701" y="9126"/>
                </a:lnTo>
                <a:lnTo>
                  <a:pt x="173914" y="5608"/>
                </a:lnTo>
                <a:lnTo>
                  <a:pt x="161366" y="2704"/>
                </a:lnTo>
                <a:lnTo>
                  <a:pt x="147006" y="728"/>
                </a:lnTo>
                <a:lnTo>
                  <a:pt x="130784" y="0"/>
                </a:lnTo>
                <a:lnTo>
                  <a:pt x="126835" y="40"/>
                </a:lnTo>
                <a:lnTo>
                  <a:pt x="109616" y="1232"/>
                </a:lnTo>
                <a:lnTo>
                  <a:pt x="93617" y="4001"/>
                </a:lnTo>
                <a:lnTo>
                  <a:pt x="78846" y="8249"/>
                </a:lnTo>
                <a:lnTo>
                  <a:pt x="65312" y="13877"/>
                </a:lnTo>
                <a:lnTo>
                  <a:pt x="53024" y="20789"/>
                </a:lnTo>
                <a:lnTo>
                  <a:pt x="41992" y="28885"/>
                </a:lnTo>
                <a:lnTo>
                  <a:pt x="32223" y="38067"/>
                </a:lnTo>
                <a:lnTo>
                  <a:pt x="23728" y="48238"/>
                </a:lnTo>
                <a:lnTo>
                  <a:pt x="16515" y="59300"/>
                </a:lnTo>
                <a:lnTo>
                  <a:pt x="10594" y="71155"/>
                </a:lnTo>
                <a:lnTo>
                  <a:pt x="5972" y="83703"/>
                </a:lnTo>
                <a:lnTo>
                  <a:pt x="2660" y="96848"/>
                </a:lnTo>
                <a:lnTo>
                  <a:pt x="666" y="110492"/>
                </a:lnTo>
                <a:lnTo>
                  <a:pt x="0" y="124536"/>
                </a:lnTo>
                <a:lnTo>
                  <a:pt x="630" y="138065"/>
                </a:lnTo>
                <a:lnTo>
                  <a:pt x="3013" y="153464"/>
                </a:lnTo>
                <a:lnTo>
                  <a:pt x="7057" y="167764"/>
                </a:lnTo>
                <a:lnTo>
                  <a:pt x="12644" y="180943"/>
                </a:lnTo>
                <a:lnTo>
                  <a:pt x="19651" y="192976"/>
                </a:lnTo>
                <a:lnTo>
                  <a:pt x="27960" y="203841"/>
                </a:lnTo>
                <a:lnTo>
                  <a:pt x="37450" y="213514"/>
                </a:lnTo>
                <a:lnTo>
                  <a:pt x="48001" y="221973"/>
                </a:lnTo>
                <a:lnTo>
                  <a:pt x="59494" y="229194"/>
                </a:lnTo>
                <a:lnTo>
                  <a:pt x="71808" y="235155"/>
                </a:lnTo>
                <a:lnTo>
                  <a:pt x="84822" y="239831"/>
                </a:lnTo>
                <a:lnTo>
                  <a:pt x="98418" y="243199"/>
                </a:lnTo>
                <a:lnTo>
                  <a:pt x="112475" y="245238"/>
                </a:lnTo>
                <a:lnTo>
                  <a:pt x="126872" y="245922"/>
                </a:lnTo>
                <a:lnTo>
                  <a:pt x="132177" y="245840"/>
                </a:lnTo>
                <a:lnTo>
                  <a:pt x="144006" y="245133"/>
                </a:lnTo>
                <a:lnTo>
                  <a:pt x="156948" y="243572"/>
                </a:lnTo>
                <a:lnTo>
                  <a:pt x="170298" y="241002"/>
                </a:lnTo>
                <a:lnTo>
                  <a:pt x="183352" y="237269"/>
                </a:lnTo>
                <a:lnTo>
                  <a:pt x="195402" y="232219"/>
                </a:lnTo>
                <a:lnTo>
                  <a:pt x="193446" y="202056"/>
                </a:lnTo>
                <a:lnTo>
                  <a:pt x="188941" y="204345"/>
                </a:lnTo>
                <a:lnTo>
                  <a:pt x="175560" y="209939"/>
                </a:lnTo>
                <a:lnTo>
                  <a:pt x="162324" y="213968"/>
                </a:lnTo>
                <a:lnTo>
                  <a:pt x="149651" y="216618"/>
                </a:lnTo>
                <a:lnTo>
                  <a:pt x="137958" y="218072"/>
                </a:lnTo>
                <a:lnTo>
                  <a:pt x="127660" y="218516"/>
                </a:lnTo>
                <a:lnTo>
                  <a:pt x="118573" y="218118"/>
                </a:lnTo>
                <a:lnTo>
                  <a:pt x="104205" y="215746"/>
                </a:lnTo>
                <a:lnTo>
                  <a:pt x="90889" y="211362"/>
                </a:lnTo>
                <a:lnTo>
                  <a:pt x="78733" y="205105"/>
                </a:lnTo>
                <a:lnTo>
                  <a:pt x="67845" y="197115"/>
                </a:lnTo>
                <a:lnTo>
                  <a:pt x="58335" y="187532"/>
                </a:lnTo>
                <a:lnTo>
                  <a:pt x="50311" y="176496"/>
                </a:lnTo>
                <a:lnTo>
                  <a:pt x="43881" y="164147"/>
                </a:lnTo>
                <a:lnTo>
                  <a:pt x="39154" y="150626"/>
                </a:lnTo>
                <a:lnTo>
                  <a:pt x="36238" y="136071"/>
                </a:lnTo>
                <a:lnTo>
                  <a:pt x="35242" y="120624"/>
                </a:lnTo>
                <a:lnTo>
                  <a:pt x="35286" y="11730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object 26"/>
          <p:cNvSpPr/>
          <p:nvPr/>
        </p:nvSpPr>
        <p:spPr>
          <a:xfrm>
            <a:off x="629089"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1"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5" y="-88506"/>
                </a:lnTo>
                <a:lnTo>
                  <a:pt x="136270"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601" y="-65859"/>
                </a:lnTo>
                <a:lnTo>
                  <a:pt x="85750" y="-67360"/>
                </a:lnTo>
                <a:lnTo>
                  <a:pt x="93254" y="-66844"/>
                </a:lnTo>
                <a:lnTo>
                  <a:pt x="105137" y="-63160"/>
                </a:lnTo>
                <a:lnTo>
                  <a:pt x="114522" y="-55803"/>
                </a:lnTo>
                <a:lnTo>
                  <a:pt x="121328" y="-44622"/>
                </a:lnTo>
                <a:lnTo>
                  <a:pt x="125473" y="-29466"/>
                </a:lnTo>
                <a:lnTo>
                  <a:pt x="126872" y="-10185"/>
                </a:lnTo>
                <a:lnTo>
                  <a:pt x="126872"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3"/>
          <p:cNvSpPr/>
          <p:nvPr/>
        </p:nvSpPr>
        <p:spPr>
          <a:xfrm>
            <a:off x="775818" y="356571"/>
            <a:ext cx="75992" cy="127756"/>
          </a:xfrm>
          <a:custGeom>
            <a:avLst/>
            <a:gdLst/>
            <a:ahLst/>
            <a:cxnLst/>
            <a:rect l="l" t="t" r="r" b="b"/>
            <a:pathLst>
              <a:path w="108077" h="181698">
                <a:moveTo>
                  <a:pt x="83400" y="39560"/>
                </a:moveTo>
                <a:lnTo>
                  <a:pt x="108077" y="32499"/>
                </a:lnTo>
                <a:lnTo>
                  <a:pt x="107683" y="28587"/>
                </a:lnTo>
                <a:lnTo>
                  <a:pt x="107289" y="25844"/>
                </a:lnTo>
                <a:lnTo>
                  <a:pt x="106000" y="20626"/>
                </a:lnTo>
                <a:lnTo>
                  <a:pt x="99644" y="9293"/>
                </a:lnTo>
                <a:lnTo>
                  <a:pt x="88841" y="2355"/>
                </a:lnTo>
                <a:lnTo>
                  <a:pt x="73228" y="0"/>
                </a:lnTo>
                <a:lnTo>
                  <a:pt x="72122" y="19"/>
                </a:lnTo>
                <a:lnTo>
                  <a:pt x="58986" y="3260"/>
                </a:lnTo>
                <a:lnTo>
                  <a:pt x="47814" y="10886"/>
                </a:lnTo>
                <a:lnTo>
                  <a:pt x="38989" y="21199"/>
                </a:lnTo>
                <a:lnTo>
                  <a:pt x="32893" y="32499"/>
                </a:lnTo>
                <a:lnTo>
                  <a:pt x="27800" y="4305"/>
                </a:lnTo>
                <a:lnTo>
                  <a:pt x="0" y="4305"/>
                </a:lnTo>
                <a:lnTo>
                  <a:pt x="1562" y="18414"/>
                </a:lnTo>
                <a:lnTo>
                  <a:pt x="2339" y="26086"/>
                </a:lnTo>
                <a:lnTo>
                  <a:pt x="2957" y="38564"/>
                </a:lnTo>
                <a:lnTo>
                  <a:pt x="3136" y="52870"/>
                </a:lnTo>
                <a:lnTo>
                  <a:pt x="3136" y="181698"/>
                </a:lnTo>
                <a:lnTo>
                  <a:pt x="33286" y="181698"/>
                </a:lnTo>
                <a:lnTo>
                  <a:pt x="33286" y="68922"/>
                </a:lnTo>
                <a:lnTo>
                  <a:pt x="35886" y="62885"/>
                </a:lnTo>
                <a:lnTo>
                  <a:pt x="42221" y="50341"/>
                </a:lnTo>
                <a:lnTo>
                  <a:pt x="50365" y="38075"/>
                </a:lnTo>
                <a:lnTo>
                  <a:pt x="60017" y="28756"/>
                </a:lnTo>
                <a:lnTo>
                  <a:pt x="70878" y="25057"/>
                </a:lnTo>
                <a:lnTo>
                  <a:pt x="82232" y="25057"/>
                </a:lnTo>
                <a:lnTo>
                  <a:pt x="83400" y="36804"/>
                </a:lnTo>
                <a:lnTo>
                  <a:pt x="83400" y="3956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4"/>
          <p:cNvSpPr/>
          <p:nvPr/>
        </p:nvSpPr>
        <p:spPr>
          <a:xfrm>
            <a:off x="861154" y="356297"/>
            <a:ext cx="105728" cy="131337"/>
          </a:xfrm>
          <a:custGeom>
            <a:avLst/>
            <a:gdLst/>
            <a:ahLst/>
            <a:cxnLst/>
            <a:rect l="l" t="t" r="r" b="b"/>
            <a:pathLst>
              <a:path w="150368" h="186791">
                <a:moveTo>
                  <a:pt x="35010" y="62876"/>
                </a:moveTo>
                <a:lnTo>
                  <a:pt x="41098" y="46175"/>
                </a:lnTo>
                <a:lnTo>
                  <a:pt x="48702" y="35750"/>
                </a:lnTo>
                <a:lnTo>
                  <a:pt x="53657" y="30937"/>
                </a:lnTo>
                <a:lnTo>
                  <a:pt x="55600" y="28968"/>
                </a:lnTo>
                <a:lnTo>
                  <a:pt x="68922" y="25450"/>
                </a:lnTo>
                <a:lnTo>
                  <a:pt x="77139" y="25450"/>
                </a:lnTo>
                <a:lnTo>
                  <a:pt x="90999" y="26113"/>
                </a:lnTo>
                <a:lnTo>
                  <a:pt x="104434" y="29335"/>
                </a:lnTo>
                <a:lnTo>
                  <a:pt x="114238" y="36308"/>
                </a:lnTo>
                <a:lnTo>
                  <a:pt x="120413" y="48200"/>
                </a:lnTo>
                <a:lnTo>
                  <a:pt x="122961" y="66179"/>
                </a:lnTo>
                <a:lnTo>
                  <a:pt x="34455" y="66179"/>
                </a:lnTo>
                <a:lnTo>
                  <a:pt x="31330" y="89674"/>
                </a:lnTo>
                <a:lnTo>
                  <a:pt x="150367" y="89674"/>
                </a:lnTo>
                <a:lnTo>
                  <a:pt x="150367" y="89275"/>
                </a:lnTo>
                <a:lnTo>
                  <a:pt x="149692" y="70094"/>
                </a:lnTo>
                <a:lnTo>
                  <a:pt x="147602" y="53325"/>
                </a:lnTo>
                <a:lnTo>
                  <a:pt x="143927" y="38928"/>
                </a:lnTo>
                <a:lnTo>
                  <a:pt x="138497" y="26860"/>
                </a:lnTo>
                <a:lnTo>
                  <a:pt x="131144" y="17079"/>
                </a:lnTo>
                <a:lnTo>
                  <a:pt x="121697" y="9544"/>
                </a:lnTo>
                <a:lnTo>
                  <a:pt x="109986" y="4214"/>
                </a:lnTo>
                <a:lnTo>
                  <a:pt x="95842" y="1046"/>
                </a:lnTo>
                <a:lnTo>
                  <a:pt x="79095" y="0"/>
                </a:lnTo>
                <a:lnTo>
                  <a:pt x="69735" y="474"/>
                </a:lnTo>
                <a:lnTo>
                  <a:pt x="56568" y="2924"/>
                </a:lnTo>
                <a:lnTo>
                  <a:pt x="44434" y="7432"/>
                </a:lnTo>
                <a:lnTo>
                  <a:pt x="35010" y="62876"/>
                </a:lnTo>
                <a:close/>
              </a:path>
              <a:path w="150368" h="186791">
                <a:moveTo>
                  <a:pt x="0" y="93980"/>
                </a:moveTo>
                <a:lnTo>
                  <a:pt x="461" y="105315"/>
                </a:lnTo>
                <a:lnTo>
                  <a:pt x="2938" y="121659"/>
                </a:lnTo>
                <a:lnTo>
                  <a:pt x="7407" y="136345"/>
                </a:lnTo>
                <a:lnTo>
                  <a:pt x="13692" y="149304"/>
                </a:lnTo>
                <a:lnTo>
                  <a:pt x="21622" y="160463"/>
                </a:lnTo>
                <a:lnTo>
                  <a:pt x="31023" y="169752"/>
                </a:lnTo>
                <a:lnTo>
                  <a:pt x="41723" y="177100"/>
                </a:lnTo>
                <a:lnTo>
                  <a:pt x="53548" y="182437"/>
                </a:lnTo>
                <a:lnTo>
                  <a:pt x="66325" y="185691"/>
                </a:lnTo>
                <a:lnTo>
                  <a:pt x="79882" y="186791"/>
                </a:lnTo>
                <a:lnTo>
                  <a:pt x="88087" y="186632"/>
                </a:lnTo>
                <a:lnTo>
                  <a:pt x="103693" y="185288"/>
                </a:lnTo>
                <a:lnTo>
                  <a:pt x="116964" y="182744"/>
                </a:lnTo>
                <a:lnTo>
                  <a:pt x="128347" y="179203"/>
                </a:lnTo>
                <a:lnTo>
                  <a:pt x="138287" y="174867"/>
                </a:lnTo>
                <a:lnTo>
                  <a:pt x="147231" y="169938"/>
                </a:lnTo>
                <a:lnTo>
                  <a:pt x="144894" y="142544"/>
                </a:lnTo>
                <a:lnTo>
                  <a:pt x="139995" y="146247"/>
                </a:lnTo>
                <a:lnTo>
                  <a:pt x="129511" y="151889"/>
                </a:lnTo>
                <a:lnTo>
                  <a:pt x="116861" y="156570"/>
                </a:lnTo>
                <a:lnTo>
                  <a:pt x="103100" y="159765"/>
                </a:lnTo>
                <a:lnTo>
                  <a:pt x="89280" y="160947"/>
                </a:lnTo>
                <a:lnTo>
                  <a:pt x="75824" y="159821"/>
                </a:lnTo>
                <a:lnTo>
                  <a:pt x="62559" y="155850"/>
                </a:lnTo>
                <a:lnTo>
                  <a:pt x="51528" y="149086"/>
                </a:lnTo>
                <a:lnTo>
                  <a:pt x="42811" y="139602"/>
                </a:lnTo>
                <a:lnTo>
                  <a:pt x="36486" y="127470"/>
                </a:lnTo>
                <a:lnTo>
                  <a:pt x="32632" y="112763"/>
                </a:lnTo>
                <a:lnTo>
                  <a:pt x="31330" y="95554"/>
                </a:lnTo>
                <a:lnTo>
                  <a:pt x="31330" y="89674"/>
                </a:lnTo>
                <a:lnTo>
                  <a:pt x="34455" y="66179"/>
                </a:lnTo>
                <a:lnTo>
                  <a:pt x="35010" y="62876"/>
                </a:lnTo>
                <a:lnTo>
                  <a:pt x="44434" y="7432"/>
                </a:lnTo>
                <a:lnTo>
                  <a:pt x="33472" y="13966"/>
                </a:lnTo>
                <a:lnTo>
                  <a:pt x="23818" y="22495"/>
                </a:lnTo>
                <a:lnTo>
                  <a:pt x="15610" y="32988"/>
                </a:lnTo>
                <a:lnTo>
                  <a:pt x="8987" y="45415"/>
                </a:lnTo>
                <a:lnTo>
                  <a:pt x="4086" y="59743"/>
                </a:lnTo>
                <a:lnTo>
                  <a:pt x="1044" y="75941"/>
                </a:lnTo>
                <a:lnTo>
                  <a:pt x="0" y="9398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22"/>
          <p:cNvSpPr/>
          <p:nvPr/>
        </p:nvSpPr>
        <p:spPr>
          <a:xfrm>
            <a:off x="1050010" y="318031"/>
            <a:ext cx="110406" cy="166298"/>
          </a:xfrm>
          <a:custGeom>
            <a:avLst/>
            <a:gdLst/>
            <a:ahLst/>
            <a:cxnLst/>
            <a:rect l="l" t="t" r="r" b="b"/>
            <a:pathLst>
              <a:path w="157022" h="236512">
                <a:moveTo>
                  <a:pt x="71455" y="126006"/>
                </a:moveTo>
                <a:lnTo>
                  <a:pt x="55994" y="126873"/>
                </a:lnTo>
                <a:lnTo>
                  <a:pt x="45034" y="126873"/>
                </a:lnTo>
                <a:lnTo>
                  <a:pt x="30937" y="125298"/>
                </a:lnTo>
                <a:lnTo>
                  <a:pt x="30937" y="25057"/>
                </a:lnTo>
                <a:lnTo>
                  <a:pt x="0" y="0"/>
                </a:lnTo>
                <a:lnTo>
                  <a:pt x="0" y="236512"/>
                </a:lnTo>
                <a:lnTo>
                  <a:pt x="30937" y="236512"/>
                </a:lnTo>
                <a:lnTo>
                  <a:pt x="30937" y="150749"/>
                </a:lnTo>
                <a:lnTo>
                  <a:pt x="43178" y="151895"/>
                </a:lnTo>
                <a:lnTo>
                  <a:pt x="56058" y="152535"/>
                </a:lnTo>
                <a:lnTo>
                  <a:pt x="71455" y="126006"/>
                </a:lnTo>
                <a:close/>
              </a:path>
              <a:path w="157022" h="236512">
                <a:moveTo>
                  <a:pt x="30937" y="25057"/>
                </a:moveTo>
                <a:lnTo>
                  <a:pt x="66179" y="25057"/>
                </a:lnTo>
                <a:lnTo>
                  <a:pt x="81534" y="26150"/>
                </a:lnTo>
                <a:lnTo>
                  <a:pt x="96054" y="30091"/>
                </a:lnTo>
                <a:lnTo>
                  <a:pt x="107326" y="36913"/>
                </a:lnTo>
                <a:lnTo>
                  <a:pt x="115364" y="46630"/>
                </a:lnTo>
                <a:lnTo>
                  <a:pt x="120178" y="59251"/>
                </a:lnTo>
                <a:lnTo>
                  <a:pt x="121780" y="74790"/>
                </a:lnTo>
                <a:lnTo>
                  <a:pt x="121018" y="85191"/>
                </a:lnTo>
                <a:lnTo>
                  <a:pt x="116679" y="99384"/>
                </a:lnTo>
                <a:lnTo>
                  <a:pt x="108991" y="110212"/>
                </a:lnTo>
                <a:lnTo>
                  <a:pt x="98516" y="118025"/>
                </a:lnTo>
                <a:lnTo>
                  <a:pt x="85817" y="123173"/>
                </a:lnTo>
                <a:lnTo>
                  <a:pt x="71455" y="126006"/>
                </a:lnTo>
                <a:lnTo>
                  <a:pt x="56058" y="152535"/>
                </a:lnTo>
                <a:lnTo>
                  <a:pt x="67741" y="152704"/>
                </a:lnTo>
                <a:lnTo>
                  <a:pt x="72445" y="152586"/>
                </a:lnTo>
                <a:lnTo>
                  <a:pt x="86585" y="150820"/>
                </a:lnTo>
                <a:lnTo>
                  <a:pt x="100330" y="147037"/>
                </a:lnTo>
                <a:lnTo>
                  <a:pt x="113340" y="141366"/>
                </a:lnTo>
                <a:lnTo>
                  <a:pt x="125277" y="133933"/>
                </a:lnTo>
                <a:lnTo>
                  <a:pt x="135803" y="124865"/>
                </a:lnTo>
                <a:lnTo>
                  <a:pt x="144579" y="114289"/>
                </a:lnTo>
                <a:lnTo>
                  <a:pt x="151266" y="102333"/>
                </a:lnTo>
                <a:lnTo>
                  <a:pt x="155527" y="89125"/>
                </a:lnTo>
                <a:lnTo>
                  <a:pt x="157022" y="74790"/>
                </a:lnTo>
                <a:lnTo>
                  <a:pt x="156430" y="64454"/>
                </a:lnTo>
                <a:lnTo>
                  <a:pt x="153253" y="49732"/>
                </a:lnTo>
                <a:lnTo>
                  <a:pt x="147577" y="36821"/>
                </a:lnTo>
                <a:lnTo>
                  <a:pt x="139683" y="25766"/>
                </a:lnTo>
                <a:lnTo>
                  <a:pt x="129850" y="16616"/>
                </a:lnTo>
                <a:lnTo>
                  <a:pt x="118359" y="9417"/>
                </a:lnTo>
                <a:lnTo>
                  <a:pt x="105492" y="4217"/>
                </a:lnTo>
                <a:lnTo>
                  <a:pt x="91527" y="1062"/>
                </a:lnTo>
                <a:lnTo>
                  <a:pt x="76746" y="0"/>
                </a:lnTo>
                <a:lnTo>
                  <a:pt x="0" y="0"/>
                </a:lnTo>
                <a:lnTo>
                  <a:pt x="30937" y="2505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21"/>
          <p:cNvSpPr/>
          <p:nvPr/>
        </p:nvSpPr>
        <p:spPr>
          <a:xfrm>
            <a:off x="1196328" y="304538"/>
            <a:ext cx="0" cy="179790"/>
          </a:xfrm>
          <a:custGeom>
            <a:avLst/>
            <a:gdLst/>
            <a:ahLst/>
            <a:cxnLst/>
            <a:rect l="l" t="t" r="r" b="b"/>
            <a:pathLst>
              <a:path h="255701">
                <a:moveTo>
                  <a:pt x="0" y="0"/>
                </a:moveTo>
                <a:lnTo>
                  <a:pt x="0" y="255701"/>
                </a:lnTo>
              </a:path>
            </a:pathLst>
          </a:custGeom>
          <a:ln w="31419">
            <a:solidFill>
              <a:srgbClr val="F5821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20"/>
          <p:cNvSpPr/>
          <p:nvPr/>
        </p:nvSpPr>
        <p:spPr>
          <a:xfrm>
            <a:off x="1235550" y="421829"/>
            <a:ext cx="35047" cy="128488"/>
          </a:xfrm>
          <a:custGeom>
            <a:avLst/>
            <a:gdLst/>
            <a:ahLst/>
            <a:cxnLst/>
            <a:rect l="l" t="t" r="r" b="b"/>
            <a:pathLst>
              <a:path w="49845" h="182739">
                <a:moveTo>
                  <a:pt x="38227" y="84069"/>
                </a:moveTo>
                <a:lnTo>
                  <a:pt x="49845" y="89534"/>
                </a:lnTo>
                <a:lnTo>
                  <a:pt x="38382" y="37510"/>
                </a:lnTo>
                <a:lnTo>
                  <a:pt x="34046" y="20910"/>
                </a:lnTo>
                <a:lnTo>
                  <a:pt x="32499" y="0"/>
                </a:lnTo>
                <a:lnTo>
                  <a:pt x="27810" y="76505"/>
                </a:lnTo>
                <a:lnTo>
                  <a:pt x="38227" y="84069"/>
                </a:lnTo>
                <a:close/>
              </a:path>
              <a:path w="49845" h="182739">
                <a:moveTo>
                  <a:pt x="75958" y="93967"/>
                </a:moveTo>
                <a:lnTo>
                  <a:pt x="87476" y="93216"/>
                </a:lnTo>
                <a:lnTo>
                  <a:pt x="99682" y="90282"/>
                </a:lnTo>
                <a:lnTo>
                  <a:pt x="110849" y="84783"/>
                </a:lnTo>
                <a:lnTo>
                  <a:pt x="121059" y="76350"/>
                </a:lnTo>
                <a:lnTo>
                  <a:pt x="130390" y="64617"/>
                </a:lnTo>
                <a:lnTo>
                  <a:pt x="131572" y="72047"/>
                </a:lnTo>
                <a:lnTo>
                  <a:pt x="132359" y="77139"/>
                </a:lnTo>
                <a:lnTo>
                  <a:pt x="133921" y="83007"/>
                </a:lnTo>
                <a:lnTo>
                  <a:pt x="135877" y="88887"/>
                </a:lnTo>
                <a:lnTo>
                  <a:pt x="165252" y="88887"/>
                </a:lnTo>
                <a:lnTo>
                  <a:pt x="164600" y="86879"/>
                </a:lnTo>
                <a:lnTo>
                  <a:pt x="161707" y="75136"/>
                </a:lnTo>
                <a:lnTo>
                  <a:pt x="159292" y="61236"/>
                </a:lnTo>
                <a:lnTo>
                  <a:pt x="157637" y="47442"/>
                </a:lnTo>
                <a:lnTo>
                  <a:pt x="157022" y="36017"/>
                </a:lnTo>
                <a:lnTo>
                  <a:pt x="157022" y="-63436"/>
                </a:lnTo>
                <a:lnTo>
                  <a:pt x="159766" y="-88506"/>
                </a:lnTo>
                <a:lnTo>
                  <a:pt x="136271" y="-88506"/>
                </a:lnTo>
                <a:lnTo>
                  <a:pt x="129616" y="-74396"/>
                </a:lnTo>
                <a:lnTo>
                  <a:pt x="121916" y="-82036"/>
                </a:lnTo>
                <a:lnTo>
                  <a:pt x="110487" y="-88495"/>
                </a:lnTo>
                <a:lnTo>
                  <a:pt x="97835" y="-92091"/>
                </a:lnTo>
                <a:lnTo>
                  <a:pt x="84975" y="-93205"/>
                </a:lnTo>
                <a:lnTo>
                  <a:pt x="82001" y="-93169"/>
                </a:lnTo>
                <a:lnTo>
                  <a:pt x="66750" y="-91760"/>
                </a:lnTo>
                <a:lnTo>
                  <a:pt x="53001" y="-88337"/>
                </a:lnTo>
                <a:lnTo>
                  <a:pt x="40778" y="-82961"/>
                </a:lnTo>
                <a:lnTo>
                  <a:pt x="30105" y="-75692"/>
                </a:lnTo>
                <a:lnTo>
                  <a:pt x="21008" y="-66591"/>
                </a:lnTo>
                <a:lnTo>
                  <a:pt x="13510" y="-55716"/>
                </a:lnTo>
                <a:lnTo>
                  <a:pt x="7636" y="-43130"/>
                </a:lnTo>
                <a:lnTo>
                  <a:pt x="3410" y="-28890"/>
                </a:lnTo>
                <a:lnTo>
                  <a:pt x="856" y="-13058"/>
                </a:lnTo>
                <a:lnTo>
                  <a:pt x="0" y="4305"/>
                </a:lnTo>
                <a:lnTo>
                  <a:pt x="74" y="8967"/>
                </a:lnTo>
                <a:lnTo>
                  <a:pt x="1771" y="26269"/>
                </a:lnTo>
                <a:lnTo>
                  <a:pt x="5574" y="41724"/>
                </a:lnTo>
                <a:lnTo>
                  <a:pt x="11303" y="55282"/>
                </a:lnTo>
                <a:lnTo>
                  <a:pt x="18775" y="66892"/>
                </a:lnTo>
                <a:lnTo>
                  <a:pt x="27810" y="76505"/>
                </a:lnTo>
                <a:lnTo>
                  <a:pt x="32499" y="0"/>
                </a:lnTo>
                <a:lnTo>
                  <a:pt x="32509" y="-1632"/>
                </a:lnTo>
                <a:lnTo>
                  <a:pt x="34479" y="-21924"/>
                </a:lnTo>
                <a:lnTo>
                  <a:pt x="38951" y="-37508"/>
                </a:lnTo>
                <a:lnTo>
                  <a:pt x="44590" y="-48852"/>
                </a:lnTo>
                <a:lnTo>
                  <a:pt x="50064" y="-56424"/>
                </a:lnTo>
                <a:lnTo>
                  <a:pt x="54038" y="-60693"/>
                </a:lnTo>
                <a:lnTo>
                  <a:pt x="69595" y="-65859"/>
                </a:lnTo>
                <a:lnTo>
                  <a:pt x="85750" y="-67360"/>
                </a:lnTo>
                <a:lnTo>
                  <a:pt x="93254" y="-66844"/>
                </a:lnTo>
                <a:lnTo>
                  <a:pt x="105137" y="-63160"/>
                </a:lnTo>
                <a:lnTo>
                  <a:pt x="114522" y="-55803"/>
                </a:lnTo>
                <a:lnTo>
                  <a:pt x="121328" y="-44622"/>
                </a:lnTo>
                <a:lnTo>
                  <a:pt x="125473" y="-29466"/>
                </a:lnTo>
                <a:lnTo>
                  <a:pt x="126873" y="-10185"/>
                </a:lnTo>
                <a:lnTo>
                  <a:pt x="126873" y="27012"/>
                </a:lnTo>
                <a:lnTo>
                  <a:pt x="120555" y="40141"/>
                </a:lnTo>
                <a:lnTo>
                  <a:pt x="112179" y="52389"/>
                </a:lnTo>
                <a:lnTo>
                  <a:pt x="102803" y="61137"/>
                </a:lnTo>
                <a:lnTo>
                  <a:pt x="92426" y="66386"/>
                </a:lnTo>
                <a:lnTo>
                  <a:pt x="81051" y="68135"/>
                </a:lnTo>
                <a:lnTo>
                  <a:pt x="74397" y="67712"/>
                </a:lnTo>
                <a:lnTo>
                  <a:pt x="63513" y="64902"/>
                </a:lnTo>
                <a:lnTo>
                  <a:pt x="53575" y="59161"/>
                </a:lnTo>
                <a:lnTo>
                  <a:pt x="45045" y="50146"/>
                </a:lnTo>
                <a:lnTo>
                  <a:pt x="38382" y="37510"/>
                </a:lnTo>
                <a:lnTo>
                  <a:pt x="49845" y="89534"/>
                </a:lnTo>
                <a:lnTo>
                  <a:pt x="62482" y="92850"/>
                </a:lnTo>
                <a:lnTo>
                  <a:pt x="75958" y="93967"/>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19"/>
          <p:cNvSpPr/>
          <p:nvPr/>
        </p:nvSpPr>
        <p:spPr>
          <a:xfrm>
            <a:off x="1382277" y="356293"/>
            <a:ext cx="103790" cy="128033"/>
          </a:xfrm>
          <a:custGeom>
            <a:avLst/>
            <a:gdLst/>
            <a:ahLst/>
            <a:cxnLst/>
            <a:rect l="l" t="t" r="r" b="b"/>
            <a:pathLst>
              <a:path w="147613" h="182092">
                <a:moveTo>
                  <a:pt x="62649" y="31724"/>
                </a:moveTo>
                <a:lnTo>
                  <a:pt x="65392" y="30162"/>
                </a:lnTo>
                <a:lnTo>
                  <a:pt x="77927" y="27025"/>
                </a:lnTo>
                <a:lnTo>
                  <a:pt x="87325" y="27025"/>
                </a:lnTo>
                <a:lnTo>
                  <a:pt x="103229" y="29547"/>
                </a:lnTo>
                <a:lnTo>
                  <a:pt x="112206" y="37199"/>
                </a:lnTo>
                <a:lnTo>
                  <a:pt x="116226" y="49942"/>
                </a:lnTo>
                <a:lnTo>
                  <a:pt x="117475" y="67741"/>
                </a:lnTo>
                <a:lnTo>
                  <a:pt x="117747" y="78307"/>
                </a:lnTo>
                <a:lnTo>
                  <a:pt x="117877" y="106135"/>
                </a:lnTo>
                <a:lnTo>
                  <a:pt x="118031" y="121023"/>
                </a:lnTo>
                <a:lnTo>
                  <a:pt x="118013" y="141871"/>
                </a:lnTo>
                <a:lnTo>
                  <a:pt x="117776" y="152000"/>
                </a:lnTo>
                <a:lnTo>
                  <a:pt x="117345" y="164712"/>
                </a:lnTo>
                <a:lnTo>
                  <a:pt x="116687" y="182092"/>
                </a:lnTo>
                <a:lnTo>
                  <a:pt x="146837" y="182092"/>
                </a:lnTo>
                <a:lnTo>
                  <a:pt x="146944" y="174487"/>
                </a:lnTo>
                <a:lnTo>
                  <a:pt x="147097" y="162795"/>
                </a:lnTo>
                <a:lnTo>
                  <a:pt x="147276" y="147767"/>
                </a:lnTo>
                <a:lnTo>
                  <a:pt x="147447" y="131083"/>
                </a:lnTo>
                <a:lnTo>
                  <a:pt x="147574" y="114423"/>
                </a:lnTo>
                <a:lnTo>
                  <a:pt x="147613" y="71983"/>
                </a:lnTo>
                <a:lnTo>
                  <a:pt x="147275" y="59290"/>
                </a:lnTo>
                <a:lnTo>
                  <a:pt x="146456" y="46596"/>
                </a:lnTo>
                <a:lnTo>
                  <a:pt x="144273" y="33519"/>
                </a:lnTo>
                <a:lnTo>
                  <a:pt x="138664" y="20109"/>
                </a:lnTo>
                <a:lnTo>
                  <a:pt x="130182" y="10555"/>
                </a:lnTo>
                <a:lnTo>
                  <a:pt x="119084" y="4355"/>
                </a:lnTo>
                <a:lnTo>
                  <a:pt x="105627" y="1005"/>
                </a:lnTo>
                <a:lnTo>
                  <a:pt x="90068" y="0"/>
                </a:lnTo>
                <a:lnTo>
                  <a:pt x="87824" y="32"/>
                </a:lnTo>
                <a:lnTo>
                  <a:pt x="73699" y="1882"/>
                </a:lnTo>
                <a:lnTo>
                  <a:pt x="61466" y="6295"/>
                </a:lnTo>
                <a:lnTo>
                  <a:pt x="50763" y="12874"/>
                </a:lnTo>
                <a:lnTo>
                  <a:pt x="41228" y="21220"/>
                </a:lnTo>
                <a:lnTo>
                  <a:pt x="32499" y="30937"/>
                </a:lnTo>
                <a:lnTo>
                  <a:pt x="27800" y="4698"/>
                </a:lnTo>
                <a:lnTo>
                  <a:pt x="0" y="4698"/>
                </a:lnTo>
                <a:lnTo>
                  <a:pt x="1562" y="18808"/>
                </a:lnTo>
                <a:lnTo>
                  <a:pt x="2377" y="27075"/>
                </a:lnTo>
                <a:lnTo>
                  <a:pt x="2965" y="39633"/>
                </a:lnTo>
                <a:lnTo>
                  <a:pt x="3136" y="54038"/>
                </a:lnTo>
                <a:lnTo>
                  <a:pt x="3136" y="182092"/>
                </a:lnTo>
                <a:lnTo>
                  <a:pt x="33286" y="182092"/>
                </a:lnTo>
                <a:lnTo>
                  <a:pt x="33286" y="63055"/>
                </a:lnTo>
                <a:lnTo>
                  <a:pt x="36379" y="58995"/>
                </a:lnTo>
                <a:lnTo>
                  <a:pt x="46352" y="47354"/>
                </a:lnTo>
                <a:lnTo>
                  <a:pt x="56262" y="37087"/>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8"/>
          <p:cNvSpPr/>
          <p:nvPr/>
        </p:nvSpPr>
        <p:spPr>
          <a:xfrm>
            <a:off x="1521577" y="356293"/>
            <a:ext cx="103787" cy="128033"/>
          </a:xfrm>
          <a:custGeom>
            <a:avLst/>
            <a:gdLst/>
            <a:ahLst/>
            <a:cxnLst/>
            <a:rect l="l" t="t" r="r" b="b"/>
            <a:pathLst>
              <a:path w="147608" h="182092">
                <a:moveTo>
                  <a:pt x="62649" y="31724"/>
                </a:moveTo>
                <a:lnTo>
                  <a:pt x="65392" y="30162"/>
                </a:lnTo>
                <a:lnTo>
                  <a:pt x="77927" y="27025"/>
                </a:lnTo>
                <a:lnTo>
                  <a:pt x="87312" y="27025"/>
                </a:lnTo>
                <a:lnTo>
                  <a:pt x="103218" y="29547"/>
                </a:lnTo>
                <a:lnTo>
                  <a:pt x="112198" y="37199"/>
                </a:lnTo>
                <a:lnTo>
                  <a:pt x="116218" y="49942"/>
                </a:lnTo>
                <a:lnTo>
                  <a:pt x="117462" y="67741"/>
                </a:lnTo>
                <a:lnTo>
                  <a:pt x="117734" y="78307"/>
                </a:lnTo>
                <a:lnTo>
                  <a:pt x="117864" y="106135"/>
                </a:lnTo>
                <a:lnTo>
                  <a:pt x="118018" y="121023"/>
                </a:lnTo>
                <a:lnTo>
                  <a:pt x="118001" y="141871"/>
                </a:lnTo>
                <a:lnTo>
                  <a:pt x="117767" y="152000"/>
                </a:lnTo>
                <a:lnTo>
                  <a:pt x="117339" y="164712"/>
                </a:lnTo>
                <a:lnTo>
                  <a:pt x="116687" y="182092"/>
                </a:lnTo>
                <a:lnTo>
                  <a:pt x="146837" y="182092"/>
                </a:lnTo>
                <a:lnTo>
                  <a:pt x="146944" y="174487"/>
                </a:lnTo>
                <a:lnTo>
                  <a:pt x="147097" y="162795"/>
                </a:lnTo>
                <a:lnTo>
                  <a:pt x="147276" y="147767"/>
                </a:lnTo>
                <a:lnTo>
                  <a:pt x="147447" y="131083"/>
                </a:lnTo>
                <a:lnTo>
                  <a:pt x="147574" y="114423"/>
                </a:lnTo>
                <a:lnTo>
                  <a:pt x="147608" y="71984"/>
                </a:lnTo>
                <a:lnTo>
                  <a:pt x="147270" y="59290"/>
                </a:lnTo>
                <a:lnTo>
                  <a:pt x="146456" y="46596"/>
                </a:lnTo>
                <a:lnTo>
                  <a:pt x="144270" y="33508"/>
                </a:lnTo>
                <a:lnTo>
                  <a:pt x="138658" y="20103"/>
                </a:lnTo>
                <a:lnTo>
                  <a:pt x="130172" y="10552"/>
                </a:lnTo>
                <a:lnTo>
                  <a:pt x="119071" y="4354"/>
                </a:lnTo>
                <a:lnTo>
                  <a:pt x="105613" y="1004"/>
                </a:lnTo>
                <a:lnTo>
                  <a:pt x="90055" y="0"/>
                </a:lnTo>
                <a:lnTo>
                  <a:pt x="87812" y="32"/>
                </a:lnTo>
                <a:lnTo>
                  <a:pt x="73688" y="1882"/>
                </a:lnTo>
                <a:lnTo>
                  <a:pt x="61457" y="6295"/>
                </a:lnTo>
                <a:lnTo>
                  <a:pt x="50756" y="12874"/>
                </a:lnTo>
                <a:lnTo>
                  <a:pt x="41220" y="21220"/>
                </a:lnTo>
                <a:lnTo>
                  <a:pt x="32486" y="30937"/>
                </a:lnTo>
                <a:lnTo>
                  <a:pt x="27800" y="4698"/>
                </a:lnTo>
                <a:lnTo>
                  <a:pt x="0" y="4698"/>
                </a:lnTo>
                <a:lnTo>
                  <a:pt x="1549" y="18808"/>
                </a:lnTo>
                <a:lnTo>
                  <a:pt x="2372" y="27075"/>
                </a:lnTo>
                <a:lnTo>
                  <a:pt x="2964" y="39633"/>
                </a:lnTo>
                <a:lnTo>
                  <a:pt x="3136" y="54038"/>
                </a:lnTo>
                <a:lnTo>
                  <a:pt x="3136" y="182092"/>
                </a:lnTo>
                <a:lnTo>
                  <a:pt x="33274" y="182092"/>
                </a:lnTo>
                <a:lnTo>
                  <a:pt x="33274" y="63055"/>
                </a:lnTo>
                <a:lnTo>
                  <a:pt x="36372" y="58988"/>
                </a:lnTo>
                <a:lnTo>
                  <a:pt x="46348" y="47349"/>
                </a:lnTo>
                <a:lnTo>
                  <a:pt x="56261" y="37086"/>
                </a:lnTo>
                <a:lnTo>
                  <a:pt x="62649"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7"/>
          <p:cNvSpPr/>
          <p:nvPr/>
        </p:nvSpPr>
        <p:spPr>
          <a:xfrm>
            <a:off x="1659762" y="307292"/>
            <a:ext cx="27816" cy="177040"/>
          </a:xfrm>
          <a:custGeom>
            <a:avLst/>
            <a:gdLst/>
            <a:ahLst/>
            <a:cxnLst/>
            <a:rect l="l" t="t" r="r" b="b"/>
            <a:pathLst>
              <a:path w="39560" h="251790">
                <a:moveTo>
                  <a:pt x="0" y="21526"/>
                </a:moveTo>
                <a:lnTo>
                  <a:pt x="482" y="25980"/>
                </a:lnTo>
                <a:lnTo>
                  <a:pt x="7360" y="38207"/>
                </a:lnTo>
                <a:lnTo>
                  <a:pt x="19583" y="43459"/>
                </a:lnTo>
                <a:lnTo>
                  <a:pt x="24294" y="42714"/>
                </a:lnTo>
                <a:lnTo>
                  <a:pt x="35117" y="34404"/>
                </a:lnTo>
                <a:lnTo>
                  <a:pt x="39560" y="21145"/>
                </a:lnTo>
                <a:lnTo>
                  <a:pt x="39123" y="17027"/>
                </a:lnTo>
                <a:lnTo>
                  <a:pt x="32080" y="5036"/>
                </a:lnTo>
                <a:lnTo>
                  <a:pt x="19583" y="0"/>
                </a:lnTo>
                <a:lnTo>
                  <a:pt x="15527" y="508"/>
                </a:lnTo>
                <a:lnTo>
                  <a:pt x="4404" y="8411"/>
                </a:lnTo>
                <a:lnTo>
                  <a:pt x="0" y="21526"/>
                </a:lnTo>
                <a:close/>
              </a:path>
              <a:path w="39560" h="251790">
                <a:moveTo>
                  <a:pt x="4711" y="74396"/>
                </a:moveTo>
                <a:lnTo>
                  <a:pt x="4711" y="251790"/>
                </a:lnTo>
                <a:lnTo>
                  <a:pt x="34861" y="251790"/>
                </a:lnTo>
                <a:lnTo>
                  <a:pt x="34861" y="74396"/>
                </a:lnTo>
                <a:lnTo>
                  <a:pt x="4711" y="74396"/>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5"/>
          <p:cNvSpPr/>
          <p:nvPr/>
        </p:nvSpPr>
        <p:spPr>
          <a:xfrm>
            <a:off x="1720600" y="356293"/>
            <a:ext cx="103798" cy="128033"/>
          </a:xfrm>
          <a:custGeom>
            <a:avLst/>
            <a:gdLst/>
            <a:ahLst/>
            <a:cxnLst/>
            <a:rect l="l" t="t" r="r" b="b"/>
            <a:pathLst>
              <a:path w="147624" h="182092">
                <a:moveTo>
                  <a:pt x="62661" y="31724"/>
                </a:moveTo>
                <a:lnTo>
                  <a:pt x="65392" y="30162"/>
                </a:lnTo>
                <a:lnTo>
                  <a:pt x="77927" y="27025"/>
                </a:lnTo>
                <a:lnTo>
                  <a:pt x="87325" y="27025"/>
                </a:lnTo>
                <a:lnTo>
                  <a:pt x="103236" y="29549"/>
                </a:lnTo>
                <a:lnTo>
                  <a:pt x="112214" y="37202"/>
                </a:lnTo>
                <a:lnTo>
                  <a:pt x="116237" y="49945"/>
                </a:lnTo>
                <a:lnTo>
                  <a:pt x="117487" y="67741"/>
                </a:lnTo>
                <a:lnTo>
                  <a:pt x="117760" y="78307"/>
                </a:lnTo>
                <a:lnTo>
                  <a:pt x="117889" y="106135"/>
                </a:lnTo>
                <a:lnTo>
                  <a:pt x="118038" y="121023"/>
                </a:lnTo>
                <a:lnTo>
                  <a:pt x="118016" y="141871"/>
                </a:lnTo>
                <a:lnTo>
                  <a:pt x="117780" y="152000"/>
                </a:lnTo>
                <a:lnTo>
                  <a:pt x="117352" y="164712"/>
                </a:lnTo>
                <a:lnTo>
                  <a:pt x="116700" y="182092"/>
                </a:lnTo>
                <a:lnTo>
                  <a:pt x="146850" y="182092"/>
                </a:lnTo>
                <a:lnTo>
                  <a:pt x="146957" y="174487"/>
                </a:lnTo>
                <a:lnTo>
                  <a:pt x="147110" y="162795"/>
                </a:lnTo>
                <a:lnTo>
                  <a:pt x="147289" y="147767"/>
                </a:lnTo>
                <a:lnTo>
                  <a:pt x="147460" y="131083"/>
                </a:lnTo>
                <a:lnTo>
                  <a:pt x="147587" y="114423"/>
                </a:lnTo>
                <a:lnTo>
                  <a:pt x="147624" y="71983"/>
                </a:lnTo>
                <a:lnTo>
                  <a:pt x="147282" y="59290"/>
                </a:lnTo>
                <a:lnTo>
                  <a:pt x="146456" y="46596"/>
                </a:lnTo>
                <a:lnTo>
                  <a:pt x="144280" y="33529"/>
                </a:lnTo>
                <a:lnTo>
                  <a:pt x="138674" y="20115"/>
                </a:lnTo>
                <a:lnTo>
                  <a:pt x="130192" y="10559"/>
                </a:lnTo>
                <a:lnTo>
                  <a:pt x="119094" y="4357"/>
                </a:lnTo>
                <a:lnTo>
                  <a:pt x="105637" y="1005"/>
                </a:lnTo>
                <a:lnTo>
                  <a:pt x="90081" y="0"/>
                </a:lnTo>
                <a:lnTo>
                  <a:pt x="87837" y="32"/>
                </a:lnTo>
                <a:lnTo>
                  <a:pt x="73712" y="1882"/>
                </a:lnTo>
                <a:lnTo>
                  <a:pt x="61479" y="6295"/>
                </a:lnTo>
                <a:lnTo>
                  <a:pt x="50776" y="12874"/>
                </a:lnTo>
                <a:lnTo>
                  <a:pt x="41241" y="21220"/>
                </a:lnTo>
                <a:lnTo>
                  <a:pt x="32511" y="30937"/>
                </a:lnTo>
                <a:lnTo>
                  <a:pt x="27812" y="4698"/>
                </a:lnTo>
                <a:lnTo>
                  <a:pt x="0" y="4698"/>
                </a:lnTo>
                <a:lnTo>
                  <a:pt x="1574" y="18808"/>
                </a:lnTo>
                <a:lnTo>
                  <a:pt x="2389" y="27075"/>
                </a:lnTo>
                <a:lnTo>
                  <a:pt x="2978" y="39633"/>
                </a:lnTo>
                <a:lnTo>
                  <a:pt x="3149" y="54038"/>
                </a:lnTo>
                <a:lnTo>
                  <a:pt x="3149" y="182092"/>
                </a:lnTo>
                <a:lnTo>
                  <a:pt x="33286" y="182092"/>
                </a:lnTo>
                <a:lnTo>
                  <a:pt x="33286" y="63055"/>
                </a:lnTo>
                <a:lnTo>
                  <a:pt x="36385" y="58988"/>
                </a:lnTo>
                <a:lnTo>
                  <a:pt x="46360" y="47349"/>
                </a:lnTo>
                <a:lnTo>
                  <a:pt x="56274" y="37086"/>
                </a:lnTo>
                <a:lnTo>
                  <a:pt x="62661" y="31724"/>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6"/>
          <p:cNvSpPr/>
          <p:nvPr/>
        </p:nvSpPr>
        <p:spPr>
          <a:xfrm>
            <a:off x="1852187" y="422106"/>
            <a:ext cx="34227" cy="124376"/>
          </a:xfrm>
          <a:custGeom>
            <a:avLst/>
            <a:gdLst/>
            <a:ahLst/>
            <a:cxnLst/>
            <a:rect l="l" t="t" r="r" b="b"/>
            <a:pathLst>
              <a:path w="48678" h="176891">
                <a:moveTo>
                  <a:pt x="36766" y="77831"/>
                </a:moveTo>
                <a:lnTo>
                  <a:pt x="48678" y="83292"/>
                </a:lnTo>
                <a:lnTo>
                  <a:pt x="38801" y="37607"/>
                </a:lnTo>
                <a:lnTo>
                  <a:pt x="34161" y="21483"/>
                </a:lnTo>
                <a:lnTo>
                  <a:pt x="32511" y="0"/>
                </a:lnTo>
                <a:lnTo>
                  <a:pt x="26161" y="70248"/>
                </a:lnTo>
                <a:lnTo>
                  <a:pt x="36766" y="77831"/>
                </a:lnTo>
                <a:close/>
              </a:path>
              <a:path w="48678" h="176891">
                <a:moveTo>
                  <a:pt x="968" y="19440"/>
                </a:moveTo>
                <a:lnTo>
                  <a:pt x="4267" y="35140"/>
                </a:lnTo>
                <a:lnTo>
                  <a:pt x="9704" y="48866"/>
                </a:lnTo>
                <a:lnTo>
                  <a:pt x="17071" y="60581"/>
                </a:lnTo>
                <a:lnTo>
                  <a:pt x="26161" y="70248"/>
                </a:lnTo>
                <a:lnTo>
                  <a:pt x="32511" y="0"/>
                </a:lnTo>
                <a:lnTo>
                  <a:pt x="32531" y="-2276"/>
                </a:lnTo>
                <a:lnTo>
                  <a:pt x="34572" y="-22375"/>
                </a:lnTo>
                <a:lnTo>
                  <a:pt x="39057" y="-37880"/>
                </a:lnTo>
                <a:lnTo>
                  <a:pt x="44671" y="-49218"/>
                </a:lnTo>
                <a:lnTo>
                  <a:pt x="50103" y="-56812"/>
                </a:lnTo>
                <a:lnTo>
                  <a:pt x="54038" y="-61086"/>
                </a:lnTo>
                <a:lnTo>
                  <a:pt x="69618" y="-66254"/>
                </a:lnTo>
                <a:lnTo>
                  <a:pt x="85763" y="-67754"/>
                </a:lnTo>
                <a:lnTo>
                  <a:pt x="93260" y="-67239"/>
                </a:lnTo>
                <a:lnTo>
                  <a:pt x="105142" y="-63556"/>
                </a:lnTo>
                <a:lnTo>
                  <a:pt x="114527" y="-56199"/>
                </a:lnTo>
                <a:lnTo>
                  <a:pt x="121331" y="-45018"/>
                </a:lnTo>
                <a:lnTo>
                  <a:pt x="125473" y="-29862"/>
                </a:lnTo>
                <a:lnTo>
                  <a:pt x="126872" y="-10579"/>
                </a:lnTo>
                <a:lnTo>
                  <a:pt x="126872" y="28575"/>
                </a:lnTo>
                <a:lnTo>
                  <a:pt x="123171" y="35166"/>
                </a:lnTo>
                <a:lnTo>
                  <a:pt x="114746" y="45769"/>
                </a:lnTo>
                <a:lnTo>
                  <a:pt x="104376" y="54231"/>
                </a:lnTo>
                <a:lnTo>
                  <a:pt x="92485" y="59834"/>
                </a:lnTo>
                <a:lnTo>
                  <a:pt x="79501" y="61861"/>
                </a:lnTo>
                <a:lnTo>
                  <a:pt x="78046" y="61848"/>
                </a:lnTo>
                <a:lnTo>
                  <a:pt x="66054" y="60492"/>
                </a:lnTo>
                <a:lnTo>
                  <a:pt x="55208" y="56444"/>
                </a:lnTo>
                <a:lnTo>
                  <a:pt x="45970" y="49038"/>
                </a:lnTo>
                <a:lnTo>
                  <a:pt x="38801" y="37607"/>
                </a:lnTo>
                <a:lnTo>
                  <a:pt x="48678" y="83292"/>
                </a:lnTo>
                <a:lnTo>
                  <a:pt x="61688" y="86596"/>
                </a:lnTo>
                <a:lnTo>
                  <a:pt x="75590" y="87706"/>
                </a:lnTo>
                <a:lnTo>
                  <a:pt x="82543" y="87459"/>
                </a:lnTo>
                <a:lnTo>
                  <a:pt x="96032" y="85208"/>
                </a:lnTo>
                <a:lnTo>
                  <a:pt x="107612" y="80630"/>
                </a:lnTo>
                <a:lnTo>
                  <a:pt x="117838" y="73753"/>
                </a:lnTo>
                <a:lnTo>
                  <a:pt x="127266" y="64604"/>
                </a:lnTo>
                <a:lnTo>
                  <a:pt x="127439" y="78176"/>
                </a:lnTo>
                <a:lnTo>
                  <a:pt x="127833" y="91163"/>
                </a:lnTo>
                <a:lnTo>
                  <a:pt x="128054" y="101015"/>
                </a:lnTo>
                <a:lnTo>
                  <a:pt x="127331" y="111049"/>
                </a:lnTo>
                <a:lnTo>
                  <a:pt x="122971" y="124692"/>
                </a:lnTo>
                <a:lnTo>
                  <a:pt x="114979" y="134530"/>
                </a:lnTo>
                <a:lnTo>
                  <a:pt x="103718" y="141007"/>
                </a:lnTo>
                <a:lnTo>
                  <a:pt x="89549" y="144568"/>
                </a:lnTo>
                <a:lnTo>
                  <a:pt x="72834" y="145656"/>
                </a:lnTo>
                <a:lnTo>
                  <a:pt x="70290" y="145636"/>
                </a:lnTo>
                <a:lnTo>
                  <a:pt x="53477" y="143803"/>
                </a:lnTo>
                <a:lnTo>
                  <a:pt x="42129" y="138170"/>
                </a:lnTo>
                <a:lnTo>
                  <a:pt x="35713" y="127562"/>
                </a:lnTo>
                <a:lnTo>
                  <a:pt x="33693" y="110807"/>
                </a:lnTo>
                <a:lnTo>
                  <a:pt x="2755" y="116687"/>
                </a:lnTo>
                <a:lnTo>
                  <a:pt x="4929" y="134144"/>
                </a:lnTo>
                <a:lnTo>
                  <a:pt x="10500" y="146856"/>
                </a:lnTo>
                <a:lnTo>
                  <a:pt x="19040" y="156561"/>
                </a:lnTo>
                <a:lnTo>
                  <a:pt x="30104" y="163568"/>
                </a:lnTo>
                <a:lnTo>
                  <a:pt x="43250" y="168189"/>
                </a:lnTo>
                <a:lnTo>
                  <a:pt x="58035" y="170734"/>
                </a:lnTo>
                <a:lnTo>
                  <a:pt x="74015" y="171513"/>
                </a:lnTo>
                <a:lnTo>
                  <a:pt x="81572" y="171343"/>
                </a:lnTo>
                <a:lnTo>
                  <a:pt x="98864" y="169483"/>
                </a:lnTo>
                <a:lnTo>
                  <a:pt x="114042" y="165632"/>
                </a:lnTo>
                <a:lnTo>
                  <a:pt x="127048" y="159865"/>
                </a:lnTo>
                <a:lnTo>
                  <a:pt x="137822" y="152258"/>
                </a:lnTo>
                <a:lnTo>
                  <a:pt x="146306" y="142885"/>
                </a:lnTo>
                <a:lnTo>
                  <a:pt x="152438" y="131822"/>
                </a:lnTo>
                <a:lnTo>
                  <a:pt x="156162" y="119144"/>
                </a:lnTo>
                <a:lnTo>
                  <a:pt x="157416" y="104927"/>
                </a:lnTo>
                <a:lnTo>
                  <a:pt x="157325" y="96305"/>
                </a:lnTo>
                <a:lnTo>
                  <a:pt x="157145" y="82259"/>
                </a:lnTo>
                <a:lnTo>
                  <a:pt x="157048" y="-63830"/>
                </a:lnTo>
                <a:lnTo>
                  <a:pt x="159778" y="-88899"/>
                </a:lnTo>
                <a:lnTo>
                  <a:pt x="136283" y="-88899"/>
                </a:lnTo>
                <a:lnTo>
                  <a:pt x="129628" y="-74790"/>
                </a:lnTo>
                <a:lnTo>
                  <a:pt x="121632" y="-82771"/>
                </a:lnTo>
                <a:lnTo>
                  <a:pt x="110116" y="-89118"/>
                </a:lnTo>
                <a:lnTo>
                  <a:pt x="97409" y="-92561"/>
                </a:lnTo>
                <a:lnTo>
                  <a:pt x="84581" y="-93598"/>
                </a:lnTo>
                <a:lnTo>
                  <a:pt x="81930" y="-93570"/>
                </a:lnTo>
                <a:lnTo>
                  <a:pt x="66639" y="-92197"/>
                </a:lnTo>
                <a:lnTo>
                  <a:pt x="52871" y="-88801"/>
                </a:lnTo>
                <a:lnTo>
                  <a:pt x="40647" y="-83443"/>
                </a:lnTo>
                <a:lnTo>
                  <a:pt x="29986" y="-76184"/>
                </a:lnTo>
                <a:lnTo>
                  <a:pt x="20908" y="-67084"/>
                </a:lnTo>
                <a:lnTo>
                  <a:pt x="13436" y="-56204"/>
                </a:lnTo>
                <a:lnTo>
                  <a:pt x="7588" y="-43604"/>
                </a:lnTo>
                <a:lnTo>
                  <a:pt x="3386" y="-29344"/>
                </a:lnTo>
                <a:lnTo>
                  <a:pt x="849" y="-13485"/>
                </a:lnTo>
                <a:lnTo>
                  <a:pt x="0" y="3911"/>
                </a:lnTo>
                <a:lnTo>
                  <a:pt x="968" y="1944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bject 14"/>
          <p:cNvSpPr/>
          <p:nvPr/>
        </p:nvSpPr>
        <p:spPr>
          <a:xfrm>
            <a:off x="0" y="732235"/>
            <a:ext cx="9144000" cy="667878"/>
          </a:xfrm>
          <a:custGeom>
            <a:avLst/>
            <a:gdLst/>
            <a:ahLst/>
            <a:cxnLst/>
            <a:rect l="l" t="t" r="r" b="b"/>
            <a:pathLst>
              <a:path w="13004800" h="949871">
                <a:moveTo>
                  <a:pt x="0" y="949871"/>
                </a:moveTo>
                <a:lnTo>
                  <a:pt x="13004800" y="949871"/>
                </a:lnTo>
                <a:lnTo>
                  <a:pt x="13004800" y="0"/>
                </a:lnTo>
                <a:lnTo>
                  <a:pt x="0" y="0"/>
                </a:lnTo>
                <a:lnTo>
                  <a:pt x="0" y="949871"/>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bject 10"/>
          <p:cNvSpPr txBox="1"/>
          <p:nvPr/>
        </p:nvSpPr>
        <p:spPr>
          <a:xfrm>
            <a:off x="422710" y="935020"/>
            <a:ext cx="78636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231" normalizeH="0" baseline="0" noProof="0" dirty="0">
                <a:ln>
                  <a:noFill/>
                </a:ln>
                <a:solidFill>
                  <a:srgbClr val="FFFFFF"/>
                </a:solidFill>
                <a:effectLst/>
                <a:uLnTx/>
                <a:uFillTx/>
                <a:latin typeface="Times New Roman"/>
                <a:ea typeface="+mn-ea"/>
                <a:cs typeface="Times New Roman"/>
              </a:rPr>
              <a:t>PLAN</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 name="object 9"/>
          <p:cNvSpPr txBox="1"/>
          <p:nvPr/>
        </p:nvSpPr>
        <p:spPr>
          <a:xfrm>
            <a:off x="1222163" y="935020"/>
            <a:ext cx="453952"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0" normalizeH="0" baseline="0" noProof="0" dirty="0">
                <a:ln>
                  <a:noFill/>
                </a:ln>
                <a:solidFill>
                  <a:srgbClr val="FFFFFF"/>
                </a:solidFill>
                <a:effectLst/>
                <a:uLnTx/>
                <a:uFillTx/>
                <a:latin typeface="Times New Roman"/>
                <a:ea typeface="+mn-ea"/>
                <a:cs typeface="Times New Roman"/>
              </a:rPr>
              <a:t>OF</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8" name="object 8"/>
          <p:cNvSpPr txBox="1"/>
          <p:nvPr/>
        </p:nvSpPr>
        <p:spPr>
          <a:xfrm>
            <a:off x="1689207" y="935020"/>
            <a:ext cx="773981" cy="327364"/>
          </a:xfrm>
          <a:prstGeom prst="rect">
            <a:avLst/>
          </a:prstGeom>
        </p:spPr>
        <p:txBody>
          <a:bodyPr wrap="square" lIns="0" tIns="15135" rIns="0" bIns="0" rtlCol="0">
            <a:noAutofit/>
          </a:bodyPr>
          <a:lstStyle/>
          <a:p>
            <a:pPr marL="8929" marR="0" lvl="0" indent="0" algn="l" defTabSz="642915" rtl="0" eaLnBrk="1" fontAlgn="auto" latinLnBrk="0" hangingPunct="1">
              <a:lnSpc>
                <a:spcPts val="2384"/>
              </a:lnSpc>
              <a:spcBef>
                <a:spcPts val="0"/>
              </a:spcBef>
              <a:spcAft>
                <a:spcPts val="0"/>
              </a:spcAft>
              <a:buClrTx/>
              <a:buSzTx/>
              <a:buFontTx/>
              <a:buNone/>
              <a:tabLst/>
              <a:defRPr/>
            </a:pPr>
            <a:r>
              <a:rPr kumimoji="0" sz="2426" b="1" i="0" u="none" strike="noStrike" kern="1200" cap="none" spc="-326" normalizeH="0" baseline="0" noProof="0" dirty="0">
                <a:ln>
                  <a:noFill/>
                </a:ln>
                <a:solidFill>
                  <a:srgbClr val="FFFFFF"/>
                </a:solidFill>
                <a:effectLst/>
                <a:uLnTx/>
                <a:uFillTx/>
                <a:latin typeface="Times New Roman"/>
                <a:ea typeface="+mn-ea"/>
                <a:cs typeface="Times New Roman"/>
              </a:rPr>
              <a:t>CARE</a:t>
            </a:r>
            <a:endParaRPr kumimoji="0" sz="242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7" name="object 7"/>
          <p:cNvSpPr txBox="1"/>
          <p:nvPr/>
        </p:nvSpPr>
        <p:spPr>
          <a:xfrm>
            <a:off x="2800115" y="1899944"/>
            <a:ext cx="2265955" cy="709592"/>
          </a:xfrm>
          <a:prstGeom prst="rect">
            <a:avLst/>
          </a:prstGeom>
        </p:spPr>
        <p:txBody>
          <a:bodyPr wrap="square" lIns="0" tIns="8505" rIns="0" bIns="0" rtlCol="0">
            <a:no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Potential Problems:</a:t>
            </a:r>
            <a:endParaRPr kumimoji="0"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3" name="TextBox 2">
            <a:extLst>
              <a:ext uri="{FF2B5EF4-FFF2-40B4-BE49-F238E27FC236}">
                <a16:creationId xmlns:a16="http://schemas.microsoft.com/office/drawing/2014/main" id="{180FBEAA-5020-4CF2-ABD9-9D69068EEEFF}"/>
              </a:ext>
            </a:extLst>
          </p:cNvPr>
          <p:cNvSpPr txBox="1"/>
          <p:nvPr/>
        </p:nvSpPr>
        <p:spPr>
          <a:xfrm>
            <a:off x="6085786" y="1822840"/>
            <a:ext cx="3009131" cy="1036822"/>
          </a:xfrm>
          <a:prstGeom prst="rect">
            <a:avLst/>
          </a:prstGeom>
          <a:noFill/>
        </p:spPr>
        <p:txBody>
          <a:bodyPr wrap="square" rtlCol="0">
            <a:spAutoFit/>
          </a:bodyPr>
          <a:lstStyle/>
          <a:p>
            <a:pPr marL="8929" marR="23102" lvl="0" indent="0" algn="l" defTabSz="642915" rtl="0" eaLnBrk="1" fontAlgn="auto" latinLnBrk="0" hangingPunct="1">
              <a:lnSpc>
                <a:spcPct val="95825"/>
              </a:lnSpc>
              <a:spcBef>
                <a:spcPts val="70"/>
              </a:spcBef>
              <a:spcAft>
                <a:spcPts val="0"/>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Care Plans:</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125"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black"/>
                </a:solidFill>
                <a:effectLst/>
                <a:uLnTx/>
                <a:uFillTx/>
                <a:latin typeface="Calibri"/>
                <a:ea typeface="+mn-ea"/>
                <a:cs typeface="+mn-cs"/>
              </a:rPr>
              <a:t>Pneumonia</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white">
                    <a:lumMod val="65000"/>
                  </a:prstClr>
                </a:solidFill>
                <a:effectLst/>
                <a:uLnTx/>
                <a:uFillTx/>
                <a:latin typeface="Calibri"/>
                <a:ea typeface="+mn-ea"/>
                <a:cs typeface="Times New Roman" panose="02020603050405020304" pitchFamily="18" charset="0"/>
              </a:rPr>
              <a:t>Fall Injury Risk</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prstClr val="white">
                    <a:lumMod val="65000"/>
                  </a:prstClr>
                </a:solidFill>
                <a:effectLst/>
                <a:uLnTx/>
                <a:uFillTx/>
                <a:latin typeface="Calibri"/>
                <a:ea typeface="+mn-ea"/>
                <a:cs typeface="Times New Roman" panose="02020603050405020304" pitchFamily="18" charset="0"/>
              </a:rPr>
              <a:t>Skin Injury Risk</a:t>
            </a:r>
          </a:p>
        </p:txBody>
      </p:sp>
      <p:sp>
        <p:nvSpPr>
          <p:cNvPr id="36" name="TextBox 35">
            <a:extLst>
              <a:ext uri="{FF2B5EF4-FFF2-40B4-BE49-F238E27FC236}">
                <a16:creationId xmlns:a16="http://schemas.microsoft.com/office/drawing/2014/main" id="{7BFA69F7-AE79-4E82-AD43-629EDD7CE8EB}"/>
              </a:ext>
            </a:extLst>
          </p:cNvPr>
          <p:cNvSpPr txBox="1"/>
          <p:nvPr/>
        </p:nvSpPr>
        <p:spPr>
          <a:xfrm>
            <a:off x="2742328" y="1586598"/>
            <a:ext cx="2125984" cy="259045"/>
          </a:xfrm>
          <a:prstGeom prst="rect">
            <a:avLst/>
          </a:prstGeom>
          <a:noFill/>
        </p:spPr>
        <p:txBody>
          <a:bodyPr wrap="square" rtlCol="0">
            <a:spAutoFit/>
          </a:bodyPr>
          <a:lstStyle/>
          <a:p>
            <a:pPr marL="8929" marR="23102" lvl="0" indent="0" algn="l" defTabSz="642915" rtl="0" eaLnBrk="1" fontAlgn="auto" latinLnBrk="0" hangingPunct="1">
              <a:lnSpc>
                <a:spcPts val="1339"/>
              </a:lnSpc>
              <a:spcBef>
                <a:spcPts val="0"/>
              </a:spcBef>
              <a:spcAft>
                <a:spcPts val="0"/>
              </a:spcAft>
              <a:buClrTx/>
              <a:buSzTx/>
              <a:buFontTx/>
              <a:buNone/>
              <a:tabLst/>
              <a:defRPr/>
            </a:pPr>
            <a:r>
              <a:rPr kumimoji="0" lang="en-US" sz="1266" b="1" i="0" u="none" strike="noStrike" kern="1200" cap="none" spc="-128" normalizeH="0" baseline="0" noProof="0" dirty="0">
                <a:ln>
                  <a:noFill/>
                </a:ln>
                <a:solidFill>
                  <a:srgbClr val="F5821F"/>
                </a:solidFill>
                <a:effectLst/>
                <a:uLnTx/>
                <a:uFillTx/>
                <a:latin typeface="Times New Roman"/>
                <a:ea typeface="+mn-ea"/>
                <a:cs typeface="Times New Roman"/>
              </a:rPr>
              <a:t>PLAN OF CARE</a:t>
            </a:r>
            <a:endParaRPr kumimoji="0" lang="en-US" sz="1266"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37" name="TextBox 36">
            <a:extLst>
              <a:ext uri="{FF2B5EF4-FFF2-40B4-BE49-F238E27FC236}">
                <a16:creationId xmlns:a16="http://schemas.microsoft.com/office/drawing/2014/main" id="{9FBC310D-48BF-4CE8-904F-99E8602AFD07}"/>
              </a:ext>
            </a:extLst>
          </p:cNvPr>
          <p:cNvSpPr txBox="1"/>
          <p:nvPr/>
        </p:nvSpPr>
        <p:spPr>
          <a:xfrm>
            <a:off x="2821964" y="2676076"/>
            <a:ext cx="2867321" cy="676724"/>
          </a:xfrm>
          <a:prstGeom prst="rect">
            <a:avLst/>
          </a:prstGeom>
          <a:noFill/>
        </p:spPr>
        <p:txBody>
          <a:bodyPr wrap="square" rtlCol="0">
            <a:spAutoFit/>
          </a:bodyPr>
          <a:lstStyle/>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1" i="0" u="none" strike="noStrike" kern="1200" cap="none" spc="0" normalizeH="0" baseline="0" noProof="0" dirty="0">
                <a:ln>
                  <a:noFill/>
                </a:ln>
                <a:solidFill>
                  <a:srgbClr val="0070C0"/>
                </a:solidFill>
                <a:effectLst/>
                <a:uLnTx/>
                <a:uFillTx/>
                <a:latin typeface="Calibri"/>
                <a:ea typeface="+mn-ea"/>
                <a:cs typeface="+mn-cs"/>
              </a:rPr>
              <a:t>Respiratory Compromise</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Infection Progression</a:t>
            </a:r>
          </a:p>
          <a:p>
            <a:pPr marL="200911" marR="0" lvl="0" indent="-200911" algn="l" defTabSz="64291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Fluid/Electrolyte Imbalance</a:t>
            </a:r>
          </a:p>
        </p:txBody>
      </p:sp>
      <p:sp>
        <p:nvSpPr>
          <p:cNvPr id="6" name="Rectangle 5">
            <a:extLst>
              <a:ext uri="{FF2B5EF4-FFF2-40B4-BE49-F238E27FC236}">
                <a16:creationId xmlns:a16="http://schemas.microsoft.com/office/drawing/2014/main" id="{8D77C203-91DD-460F-B22D-EF3F89623F60}"/>
              </a:ext>
            </a:extLst>
          </p:cNvPr>
          <p:cNvSpPr/>
          <p:nvPr/>
        </p:nvSpPr>
        <p:spPr>
          <a:xfrm>
            <a:off x="2933584" y="4800600"/>
            <a:ext cx="2933816" cy="1959896"/>
          </a:xfrm>
          <a:prstGeom prst="rect">
            <a:avLst/>
          </a:prstGeom>
        </p:spPr>
        <p:txBody>
          <a:bodyPr wrap="none">
            <a:spAutoFit/>
          </a:bodyPr>
          <a:lstStyle/>
          <a:p>
            <a:pPr marL="0" marR="0" lvl="0" indent="0" algn="l" defTabSz="642915" rtl="0" eaLnBrk="1" fontAlgn="auto" latinLnBrk="0" hangingPunct="1">
              <a:lnSpc>
                <a:spcPct val="115000"/>
              </a:lnSpc>
              <a:spcBef>
                <a:spcPts val="0"/>
              </a:spcBef>
              <a:spcAft>
                <a:spcPts val="703"/>
              </a:spcAft>
              <a:buClrTx/>
              <a:buSzTx/>
              <a:buFontTx/>
              <a:buNone/>
              <a:tabLst/>
              <a:defRPr/>
            </a:pPr>
            <a:r>
              <a:rPr kumimoji="0" lang="en-US" sz="1266" b="1" i="0" u="none" strike="noStrike" kern="1200" cap="none" spc="-95" normalizeH="0" baseline="0" noProof="0" dirty="0">
                <a:ln>
                  <a:noFill/>
                </a:ln>
                <a:solidFill>
                  <a:srgbClr val="F5821F"/>
                </a:solidFill>
                <a:effectLst/>
                <a:uLnTx/>
                <a:uFillTx/>
                <a:latin typeface="Times New Roman"/>
                <a:ea typeface="+mn-ea"/>
                <a:cs typeface="Times New Roman"/>
              </a:rPr>
              <a:t>Problem Intervention:</a:t>
            </a:r>
          </a:p>
          <a:p>
            <a:pPr marL="0" marR="0" lvl="0" indent="0" algn="l" defTabSz="642915" rtl="0" eaLnBrk="1" fontAlgn="auto" latinLnBrk="0" hangingPunct="1">
              <a:lnSpc>
                <a:spcPct val="115000"/>
              </a:lnSpc>
              <a:spcBef>
                <a:spcPts val="0"/>
              </a:spcBef>
              <a:spcAft>
                <a:spcPts val="703"/>
              </a:spcAft>
              <a:buClrTx/>
              <a:buSzTx/>
              <a:buFontTx/>
              <a:buNone/>
              <a:tabLst/>
              <a:defRPr/>
            </a:pPr>
            <a:r>
              <a:rPr kumimoji="0" lang="en-US" sz="1266" b="1" i="0" u="none" strike="noStrike" kern="1200" cap="none" spc="0" normalizeH="0" baseline="0" noProof="0" dirty="0">
                <a:ln>
                  <a:noFill/>
                </a:ln>
                <a:solidFill>
                  <a:srgbClr val="0D0D0D"/>
                </a:solidFill>
                <a:effectLst/>
                <a:uLnTx/>
                <a:uFillTx/>
                <a:latin typeface="Arial Narrow" panose="020B0606020202030204" pitchFamily="34" charset="0"/>
                <a:ea typeface="Arial Narrow" panose="020B0606020202030204" pitchFamily="34" charset="0"/>
                <a:cs typeface="Arial Narrow" panose="020B0606020202030204" pitchFamily="34" charset="0"/>
              </a:rPr>
              <a:t>       Optimize Oxygenation &amp; Ventilation</a:t>
            </a:r>
          </a:p>
          <a:p>
            <a:pPr marL="0" marR="0" lvl="0" indent="0" algn="l" defTabSz="642915" rtl="0" eaLnBrk="1" fontAlgn="auto" latinLnBrk="0" hangingPunct="1">
              <a:lnSpc>
                <a:spcPct val="115000"/>
              </a:lnSpc>
              <a:spcBef>
                <a:spcPts val="0"/>
              </a:spcBef>
              <a:spcAft>
                <a:spcPts val="703"/>
              </a:spcAft>
              <a:buClrTx/>
              <a:buSzTx/>
              <a:buFontTx/>
              <a:buNone/>
              <a:tabLst/>
              <a:defRPr/>
            </a:pPr>
            <a:endParaRPr kumimoji="0" lang="en-US" sz="1266" b="1" i="0" u="none" strike="noStrike" kern="1200" cap="none" spc="0" normalizeH="0" baseline="0" noProof="0" dirty="0">
              <a:ln>
                <a:noFill/>
              </a:ln>
              <a:solidFill>
                <a:srgbClr val="0D0D0D"/>
              </a:solidFill>
              <a:effectLst/>
              <a:uLnTx/>
              <a:uFillTx/>
              <a:latin typeface="Arial Narrow" panose="020B0606020202030204" pitchFamily="34" charset="0"/>
              <a:ea typeface="Arial Narrow" panose="020B0606020202030204" pitchFamily="34" charset="0"/>
              <a:cs typeface="Arial Narrow" panose="020B0606020202030204" pitchFamily="34" charset="0"/>
            </a:endParaRPr>
          </a:p>
          <a:p>
            <a:pPr marL="742950" marR="0" lvl="1" indent="-285750" algn="l" defTabSz="642915" rtl="0" eaLnBrk="1" fontAlgn="auto" latinLnBrk="0" hangingPunct="1">
              <a:lnSpc>
                <a:spcPct val="115000"/>
              </a:lnSpc>
              <a:spcBef>
                <a:spcPts val="0"/>
              </a:spcBef>
              <a:spcAft>
                <a:spcPts val="703"/>
              </a:spcAft>
              <a:buClrTx/>
              <a:buSzTx/>
              <a:buFont typeface="Wingdings" panose="05000000000000000000" pitchFamily="2" charset="2"/>
              <a:buChar char="§"/>
              <a:tabLst/>
              <a:defRPr/>
            </a:pPr>
            <a:r>
              <a:rPr kumimoji="0" lang="en-US" sz="1266" b="1" i="0" u="none" strike="noStrike" kern="1200" cap="none" spc="0" normalizeH="0" baseline="0" noProof="0" dirty="0">
                <a:ln>
                  <a:noFill/>
                </a:ln>
                <a:solidFill>
                  <a:srgbClr val="0D0D0D"/>
                </a:solidFill>
                <a:effectLst/>
                <a:uLnTx/>
                <a:uFillTx/>
                <a:latin typeface="Arial Narrow" panose="020B0606020202030204" pitchFamily="34" charset="0"/>
                <a:ea typeface="Arial Narrow" panose="020B0606020202030204" pitchFamily="34" charset="0"/>
                <a:cs typeface="Arial Narrow" panose="020B0606020202030204" pitchFamily="34" charset="0"/>
              </a:rPr>
              <a:t>Airway ventilation management</a:t>
            </a:r>
          </a:p>
          <a:p>
            <a:pPr marL="742950" marR="0" lvl="1" indent="-285750" algn="l" defTabSz="642915" rtl="0" eaLnBrk="1" fontAlgn="auto" latinLnBrk="0" hangingPunct="1">
              <a:lnSpc>
                <a:spcPct val="115000"/>
              </a:lnSpc>
              <a:spcBef>
                <a:spcPts val="0"/>
              </a:spcBef>
              <a:spcAft>
                <a:spcPts val="703"/>
              </a:spcAft>
              <a:buClrTx/>
              <a:buSzTx/>
              <a:buFont typeface="Wingdings" panose="05000000000000000000" pitchFamily="2" charset="2"/>
              <a:buChar char="§"/>
              <a:tabLst/>
              <a:defRPr/>
            </a:pPr>
            <a:r>
              <a:rPr kumimoji="0" lang="en-US" sz="1266" b="1" i="0" u="none" strike="noStrike" kern="1200" cap="none" spc="0" normalizeH="0" baseline="0" noProof="0" dirty="0">
                <a:ln>
                  <a:noFill/>
                </a:ln>
                <a:solidFill>
                  <a:srgbClr val="0D0D0D"/>
                </a:solidFill>
                <a:effectLst/>
                <a:uLnTx/>
                <a:uFillTx/>
                <a:latin typeface="Arial Narrow" panose="020B0606020202030204" pitchFamily="34" charset="0"/>
                <a:ea typeface="Arial Narrow" panose="020B0606020202030204" pitchFamily="34" charset="0"/>
                <a:cs typeface="Arial Narrow" panose="020B0606020202030204" pitchFamily="34" charset="0"/>
              </a:rPr>
              <a:t>Head of Bed (HOB) position</a:t>
            </a:r>
          </a:p>
          <a:p>
            <a:pPr marL="0" marR="0" lvl="0" indent="0" algn="l" defTabSz="642915" rtl="0" eaLnBrk="1" fontAlgn="auto" latinLnBrk="0" hangingPunct="1">
              <a:lnSpc>
                <a:spcPct val="115000"/>
              </a:lnSpc>
              <a:spcBef>
                <a:spcPts val="0"/>
              </a:spcBef>
              <a:spcAft>
                <a:spcPts val="703"/>
              </a:spcAft>
              <a:buClrTx/>
              <a:buSzTx/>
              <a:buFontTx/>
              <a:buNone/>
              <a:tabLst/>
              <a:defRPr/>
            </a:pPr>
            <a:r>
              <a:rPr kumimoji="0" lang="en-US" sz="1687" b="1" i="0" u="none" strike="noStrike" kern="1200" cap="none" spc="0" normalizeH="0" baseline="0" noProof="0" dirty="0">
                <a:ln>
                  <a:noFill/>
                </a:ln>
                <a:solidFill>
                  <a:srgbClr val="0D0D0D"/>
                </a:solidFill>
                <a:effectLst/>
                <a:uLnTx/>
                <a:uFillTx/>
                <a:latin typeface="Arial Narrow" panose="020B0606020202030204" pitchFamily="34" charset="0"/>
                <a:ea typeface="Calibri" panose="020F0502020204030204" pitchFamily="34" charset="0"/>
                <a:cs typeface="Times New Roman" panose="02020603050405020304" pitchFamily="18" charset="0"/>
              </a:rPr>
              <a:t>          </a:t>
            </a:r>
            <a:endParaRPr kumimoji="0" lang="en-US" sz="168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9" name="AutoShape 2" descr="Image result for icon for a target">
            <a:extLst>
              <a:ext uri="{FF2B5EF4-FFF2-40B4-BE49-F238E27FC236}">
                <a16:creationId xmlns:a16="http://schemas.microsoft.com/office/drawing/2014/main" id="{A1BF2F91-0388-45A1-9086-7ED73115276C}"/>
              </a:ext>
            </a:extLst>
          </p:cNvPr>
          <p:cNvSpPr>
            <a:spLocks noChangeAspect="1" noChangeArrowheads="1"/>
          </p:cNvSpPr>
          <p:nvPr/>
        </p:nvSpPr>
        <p:spPr bwMode="auto">
          <a:xfrm>
            <a:off x="4464844" y="3321844"/>
            <a:ext cx="214313" cy="2143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4294" tIns="32147" rIns="64294" bIns="32147" numCol="1" anchor="t" anchorCtr="0" compatLnSpc="1">
            <a:prstTxWarp prst="textNoShape">
              <a:avLst/>
            </a:prstTxWarp>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lang="en-US" sz="1266" b="0" i="0" u="none" strike="noStrike" kern="1200" cap="none" spc="0" normalizeH="0" baseline="0" noProof="0">
              <a:ln>
                <a:noFill/>
              </a:ln>
              <a:solidFill>
                <a:prstClr val="black"/>
              </a:solidFill>
              <a:effectLst/>
              <a:uLnTx/>
              <a:uFillTx/>
              <a:latin typeface="Calibri"/>
              <a:ea typeface="+mn-ea"/>
              <a:cs typeface="+mn-cs"/>
            </a:endParaRPr>
          </a:p>
        </p:txBody>
      </p:sp>
      <p:pic>
        <p:nvPicPr>
          <p:cNvPr id="40" name="Picture 39">
            <a:extLst>
              <a:ext uri="{FF2B5EF4-FFF2-40B4-BE49-F238E27FC236}">
                <a16:creationId xmlns:a16="http://schemas.microsoft.com/office/drawing/2014/main" id="{D82C58CC-D3EC-4521-A30B-91AB8468826B}"/>
              </a:ext>
            </a:extLst>
          </p:cNvPr>
          <p:cNvPicPr>
            <a:picLocks noChangeAspect="1"/>
          </p:cNvPicPr>
          <p:nvPr/>
        </p:nvPicPr>
        <p:blipFill>
          <a:blip r:embed="rId3"/>
          <a:stretch>
            <a:fillRect/>
          </a:stretch>
        </p:blipFill>
        <p:spPr>
          <a:xfrm>
            <a:off x="3167371" y="3945147"/>
            <a:ext cx="396776" cy="323645"/>
          </a:xfrm>
          <a:prstGeom prst="rect">
            <a:avLst/>
          </a:prstGeom>
        </p:spPr>
      </p:pic>
      <p:sp>
        <p:nvSpPr>
          <p:cNvPr id="46" name="Rectángulo 46">
            <a:extLst>
              <a:ext uri="{FF2B5EF4-FFF2-40B4-BE49-F238E27FC236}">
                <a16:creationId xmlns:a16="http://schemas.microsoft.com/office/drawing/2014/main" id="{E649BF69-C6FE-499E-A0E6-A1AA941E89AE}"/>
              </a:ext>
            </a:extLst>
          </p:cNvPr>
          <p:cNvSpPr/>
          <p:nvPr/>
        </p:nvSpPr>
        <p:spPr>
          <a:xfrm>
            <a:off x="-25712" y="1447800"/>
            <a:ext cx="2692712" cy="5147506"/>
          </a:xfrm>
          <a:prstGeom prst="rect">
            <a:avLst/>
          </a:prstGeom>
          <a:solidFill>
            <a:schemeClr val="bg1">
              <a:alpha val="8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Rectángulo 54">
            <a:extLst>
              <a:ext uri="{FF2B5EF4-FFF2-40B4-BE49-F238E27FC236}">
                <a16:creationId xmlns:a16="http://schemas.microsoft.com/office/drawing/2014/main" id="{A7113534-6A0B-4DF0-BFE0-F3F157084B70}"/>
              </a:ext>
            </a:extLst>
          </p:cNvPr>
          <p:cNvSpPr/>
          <p:nvPr/>
        </p:nvSpPr>
        <p:spPr>
          <a:xfrm>
            <a:off x="161278" y="6496058"/>
            <a:ext cx="2641116" cy="209542"/>
          </a:xfrm>
          <a:prstGeom prst="rect">
            <a:avLst/>
          </a:prstGeom>
          <a:solidFill>
            <a:schemeClr val="bg1">
              <a:alpha val="8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95" normalizeH="0" baseline="0" noProof="0" dirty="0">
                <a:ln>
                  <a:noFill/>
                </a:ln>
                <a:solidFill>
                  <a:srgbClr val="F5821F"/>
                </a:solidFill>
                <a:effectLst/>
                <a:uLnTx/>
                <a:uFillTx/>
                <a:latin typeface="Times New Roman"/>
                <a:ea typeface="+mn-ea"/>
                <a:cs typeface="Times New Roman"/>
              </a:rPr>
              <a:t>Intervention</a:t>
            </a:r>
            <a:endParaRPr kumimoji="0" lang="es-E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Rectángulo 59">
            <a:extLst>
              <a:ext uri="{FF2B5EF4-FFF2-40B4-BE49-F238E27FC236}">
                <a16:creationId xmlns:a16="http://schemas.microsoft.com/office/drawing/2014/main" id="{8E1C7874-0E3A-487B-8D5E-25AA4843DD9C}"/>
              </a:ext>
            </a:extLst>
          </p:cNvPr>
          <p:cNvSpPr/>
          <p:nvPr/>
        </p:nvSpPr>
        <p:spPr>
          <a:xfrm>
            <a:off x="146362" y="5734058"/>
            <a:ext cx="2641116" cy="209542"/>
          </a:xfrm>
          <a:prstGeom prst="rect">
            <a:avLst/>
          </a:prstGeom>
          <a:solidFill>
            <a:schemeClr val="bg1">
              <a:alpha val="8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95" normalizeH="0" baseline="0" noProof="0" dirty="0">
                <a:ln>
                  <a:noFill/>
                </a:ln>
                <a:solidFill>
                  <a:srgbClr val="F5821F"/>
                </a:solidFill>
                <a:effectLst/>
                <a:uLnTx/>
                <a:uFillTx/>
                <a:latin typeface="Times New Roman"/>
                <a:ea typeface="+mn-ea"/>
                <a:cs typeface="Times New Roman"/>
              </a:rPr>
              <a:t>Interventions</a:t>
            </a:r>
            <a:endParaRPr kumimoji="0" lang="es-E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Rectángulo 60">
            <a:extLst>
              <a:ext uri="{FF2B5EF4-FFF2-40B4-BE49-F238E27FC236}">
                <a16:creationId xmlns:a16="http://schemas.microsoft.com/office/drawing/2014/main" id="{E0905150-EE08-46E9-BCEA-7BE9C71A7F9C}"/>
              </a:ext>
            </a:extLst>
          </p:cNvPr>
          <p:cNvSpPr/>
          <p:nvPr/>
        </p:nvSpPr>
        <p:spPr>
          <a:xfrm>
            <a:off x="158915" y="5048258"/>
            <a:ext cx="2641116" cy="209542"/>
          </a:xfrm>
          <a:prstGeom prst="rect">
            <a:avLst/>
          </a:prstGeom>
          <a:solidFill>
            <a:schemeClr val="bg1">
              <a:alpha val="8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95" normalizeH="0" baseline="0" noProof="0" dirty="0">
                <a:ln>
                  <a:noFill/>
                </a:ln>
                <a:solidFill>
                  <a:srgbClr val="F5821F"/>
                </a:solidFill>
                <a:effectLst/>
                <a:uLnTx/>
                <a:uFillTx/>
                <a:latin typeface="Times New Roman"/>
                <a:ea typeface="+mn-ea"/>
                <a:cs typeface="Times New Roman"/>
              </a:rPr>
              <a:t>Problem Intervention</a:t>
            </a:r>
            <a:endParaRPr kumimoji="0" lang="es-E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Rectángulo 62">
            <a:extLst>
              <a:ext uri="{FF2B5EF4-FFF2-40B4-BE49-F238E27FC236}">
                <a16:creationId xmlns:a16="http://schemas.microsoft.com/office/drawing/2014/main" id="{FC56C556-850D-44D7-B9BF-20F652C58C7A}"/>
              </a:ext>
            </a:extLst>
          </p:cNvPr>
          <p:cNvSpPr/>
          <p:nvPr/>
        </p:nvSpPr>
        <p:spPr>
          <a:xfrm>
            <a:off x="139031" y="3986884"/>
            <a:ext cx="2641116" cy="209542"/>
          </a:xfrm>
          <a:prstGeom prst="rect">
            <a:avLst/>
          </a:prstGeom>
          <a:solidFill>
            <a:schemeClr val="bg1">
              <a:alpha val="8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95" normalizeH="0" baseline="0" noProof="0" dirty="0">
                <a:ln>
                  <a:noFill/>
                </a:ln>
                <a:solidFill>
                  <a:srgbClr val="F5821F"/>
                </a:solidFill>
                <a:effectLst/>
                <a:uLnTx/>
                <a:uFillTx/>
                <a:latin typeface="Times New Roman"/>
                <a:ea typeface="+mn-ea"/>
                <a:cs typeface="Times New Roman"/>
              </a:rPr>
              <a:t>Goal</a:t>
            </a:r>
            <a:endParaRPr kumimoji="0" lang="es-E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1" name="Rectángulo 65">
            <a:extLst>
              <a:ext uri="{FF2B5EF4-FFF2-40B4-BE49-F238E27FC236}">
                <a16:creationId xmlns:a16="http://schemas.microsoft.com/office/drawing/2014/main" id="{9F52664E-EB2A-4F4A-AEA0-5D9C49368804}"/>
              </a:ext>
            </a:extLst>
          </p:cNvPr>
          <p:cNvSpPr/>
          <p:nvPr/>
        </p:nvSpPr>
        <p:spPr>
          <a:xfrm>
            <a:off x="157177" y="2675253"/>
            <a:ext cx="2641116" cy="209542"/>
          </a:xfrm>
          <a:prstGeom prst="rect">
            <a:avLst/>
          </a:prstGeom>
          <a:solidFill>
            <a:schemeClr val="bg1">
              <a:alpha val="8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95" normalizeH="0" baseline="0" noProof="0" dirty="0">
                <a:ln>
                  <a:noFill/>
                </a:ln>
                <a:solidFill>
                  <a:srgbClr val="F5821F"/>
                </a:solidFill>
                <a:effectLst/>
                <a:uLnTx/>
                <a:uFillTx/>
                <a:latin typeface="Times New Roman"/>
                <a:ea typeface="+mn-ea"/>
                <a:cs typeface="Times New Roman"/>
              </a:rPr>
              <a:t>Problem</a:t>
            </a:r>
            <a:endParaRPr kumimoji="0" lang="es-E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Rectángulo 66">
            <a:extLst>
              <a:ext uri="{FF2B5EF4-FFF2-40B4-BE49-F238E27FC236}">
                <a16:creationId xmlns:a16="http://schemas.microsoft.com/office/drawing/2014/main" id="{0BC2D723-91A9-4251-ACC1-935E5FFACDEE}"/>
              </a:ext>
            </a:extLst>
          </p:cNvPr>
          <p:cNvSpPr/>
          <p:nvPr/>
        </p:nvSpPr>
        <p:spPr>
          <a:xfrm>
            <a:off x="128590" y="2212879"/>
            <a:ext cx="2641116" cy="209542"/>
          </a:xfrm>
          <a:prstGeom prst="rect">
            <a:avLst/>
          </a:prstGeom>
          <a:solidFill>
            <a:schemeClr val="bg1">
              <a:alpha val="8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95" normalizeH="0" baseline="0" noProof="0" dirty="0">
                <a:ln>
                  <a:noFill/>
                </a:ln>
                <a:solidFill>
                  <a:srgbClr val="F5821F"/>
                </a:solidFill>
                <a:effectLst/>
                <a:uLnTx/>
                <a:uFillTx/>
                <a:latin typeface="Times New Roman"/>
                <a:ea typeface="+mn-ea"/>
                <a:cs typeface="Times New Roman"/>
              </a:rPr>
              <a:t>Plan of Care</a:t>
            </a:r>
            <a:endParaRPr kumimoji="0" lang="es-E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lecha: a la derecha 3">
            <a:extLst>
              <a:ext uri="{FF2B5EF4-FFF2-40B4-BE49-F238E27FC236}">
                <a16:creationId xmlns:a16="http://schemas.microsoft.com/office/drawing/2014/main" id="{EBE2D53E-B88B-4DFD-A2B8-27AF157AADC7}"/>
              </a:ext>
            </a:extLst>
          </p:cNvPr>
          <p:cNvSpPr/>
          <p:nvPr/>
        </p:nvSpPr>
        <p:spPr>
          <a:xfrm rot="16200000">
            <a:off x="1303434" y="6164932"/>
            <a:ext cx="304034" cy="32010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Flecha: a la derecha 68">
            <a:extLst>
              <a:ext uri="{FF2B5EF4-FFF2-40B4-BE49-F238E27FC236}">
                <a16:creationId xmlns:a16="http://schemas.microsoft.com/office/drawing/2014/main" id="{4923CBD4-3054-4F33-91BA-0C07A4C8E4DF}"/>
              </a:ext>
            </a:extLst>
          </p:cNvPr>
          <p:cNvSpPr/>
          <p:nvPr/>
        </p:nvSpPr>
        <p:spPr>
          <a:xfrm rot="16200000">
            <a:off x="1297686" y="5270137"/>
            <a:ext cx="283799" cy="32010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55" name="Flecha: a la derecha 69">
            <a:extLst>
              <a:ext uri="{FF2B5EF4-FFF2-40B4-BE49-F238E27FC236}">
                <a16:creationId xmlns:a16="http://schemas.microsoft.com/office/drawing/2014/main" id="{6AE5163B-C50B-49BA-B7AC-6585C727C9A6}"/>
              </a:ext>
            </a:extLst>
          </p:cNvPr>
          <p:cNvSpPr/>
          <p:nvPr/>
        </p:nvSpPr>
        <p:spPr>
          <a:xfrm rot="16200000">
            <a:off x="1155881" y="4342475"/>
            <a:ext cx="535679" cy="3257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56" name="Flecha: a la derecha 70">
            <a:extLst>
              <a:ext uri="{FF2B5EF4-FFF2-40B4-BE49-F238E27FC236}">
                <a16:creationId xmlns:a16="http://schemas.microsoft.com/office/drawing/2014/main" id="{2B97D01C-E075-4D43-9F57-C388E8984D98}"/>
              </a:ext>
            </a:extLst>
          </p:cNvPr>
          <p:cNvSpPr/>
          <p:nvPr/>
        </p:nvSpPr>
        <p:spPr>
          <a:xfrm rot="16200000">
            <a:off x="920003" y="3269861"/>
            <a:ext cx="1013067" cy="32010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57" name="Flecha: a la derecha 71">
            <a:extLst>
              <a:ext uri="{FF2B5EF4-FFF2-40B4-BE49-F238E27FC236}">
                <a16:creationId xmlns:a16="http://schemas.microsoft.com/office/drawing/2014/main" id="{9FF55DAF-5126-47AB-88BA-63AD45923377}"/>
              </a:ext>
            </a:extLst>
          </p:cNvPr>
          <p:cNvSpPr/>
          <p:nvPr/>
        </p:nvSpPr>
        <p:spPr>
          <a:xfrm rot="16200000">
            <a:off x="1288248" y="2405245"/>
            <a:ext cx="259037" cy="32010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58" name="Conector recto de flecha 5">
            <a:extLst>
              <a:ext uri="{FF2B5EF4-FFF2-40B4-BE49-F238E27FC236}">
                <a16:creationId xmlns:a16="http://schemas.microsoft.com/office/drawing/2014/main" id="{9294796A-8643-46C5-B03A-CB1DA91B7674}"/>
              </a:ext>
            </a:extLst>
          </p:cNvPr>
          <p:cNvCxnSpPr>
            <a:cxnSpLocks/>
          </p:cNvCxnSpPr>
          <p:nvPr/>
        </p:nvCxnSpPr>
        <p:spPr>
          <a:xfrm>
            <a:off x="2490651" y="6596418"/>
            <a:ext cx="297865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Conector recto de flecha 72">
            <a:extLst>
              <a:ext uri="{FF2B5EF4-FFF2-40B4-BE49-F238E27FC236}">
                <a16:creationId xmlns:a16="http://schemas.microsoft.com/office/drawing/2014/main" id="{4BF7673C-F295-480A-8042-0F50CF39F221}"/>
              </a:ext>
            </a:extLst>
          </p:cNvPr>
          <p:cNvCxnSpPr>
            <a:cxnSpLocks/>
          </p:cNvCxnSpPr>
          <p:nvPr/>
        </p:nvCxnSpPr>
        <p:spPr>
          <a:xfrm flipV="1">
            <a:off x="2472361" y="5858579"/>
            <a:ext cx="655043" cy="882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Conector recto de flecha 73">
            <a:extLst>
              <a:ext uri="{FF2B5EF4-FFF2-40B4-BE49-F238E27FC236}">
                <a16:creationId xmlns:a16="http://schemas.microsoft.com/office/drawing/2014/main" id="{E0B315F7-86E6-411F-80EB-4B6970202A14}"/>
              </a:ext>
            </a:extLst>
          </p:cNvPr>
          <p:cNvCxnSpPr>
            <a:cxnSpLocks/>
          </p:cNvCxnSpPr>
          <p:nvPr/>
        </p:nvCxnSpPr>
        <p:spPr>
          <a:xfrm>
            <a:off x="2463787" y="5289314"/>
            <a:ext cx="38977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Conector recto de flecha 74">
            <a:extLst>
              <a:ext uri="{FF2B5EF4-FFF2-40B4-BE49-F238E27FC236}">
                <a16:creationId xmlns:a16="http://schemas.microsoft.com/office/drawing/2014/main" id="{753CB016-B866-4D4A-A966-6C129A6FB47A}"/>
              </a:ext>
            </a:extLst>
          </p:cNvPr>
          <p:cNvCxnSpPr>
            <a:cxnSpLocks/>
          </p:cNvCxnSpPr>
          <p:nvPr/>
        </p:nvCxnSpPr>
        <p:spPr>
          <a:xfrm>
            <a:off x="2429449" y="4106791"/>
            <a:ext cx="72897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Conector recto de flecha 75">
            <a:extLst>
              <a:ext uri="{FF2B5EF4-FFF2-40B4-BE49-F238E27FC236}">
                <a16:creationId xmlns:a16="http://schemas.microsoft.com/office/drawing/2014/main" id="{C9D00CD8-4540-4AE2-A656-9AD46BBDFDDB}"/>
              </a:ext>
            </a:extLst>
          </p:cNvPr>
          <p:cNvCxnSpPr>
            <a:cxnSpLocks/>
          </p:cNvCxnSpPr>
          <p:nvPr/>
        </p:nvCxnSpPr>
        <p:spPr>
          <a:xfrm>
            <a:off x="2437907" y="2805892"/>
            <a:ext cx="52610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Conector recto de flecha 78">
            <a:extLst>
              <a:ext uri="{FF2B5EF4-FFF2-40B4-BE49-F238E27FC236}">
                <a16:creationId xmlns:a16="http://schemas.microsoft.com/office/drawing/2014/main" id="{64FDC21F-2C8B-4FA0-A2AD-5126D346FA18}"/>
              </a:ext>
            </a:extLst>
          </p:cNvPr>
          <p:cNvCxnSpPr>
            <a:cxnSpLocks/>
          </p:cNvCxnSpPr>
          <p:nvPr/>
        </p:nvCxnSpPr>
        <p:spPr>
          <a:xfrm flipV="1">
            <a:off x="2437907" y="2307499"/>
            <a:ext cx="3720507" cy="2690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EDCB007B-00A8-481B-B69C-E52D230B9C2F}"/>
              </a:ext>
            </a:extLst>
          </p:cNvPr>
          <p:cNvSpPr txBox="1"/>
          <p:nvPr/>
        </p:nvSpPr>
        <p:spPr>
          <a:xfrm>
            <a:off x="6281736" y="5910279"/>
            <a:ext cx="2786063" cy="871521"/>
          </a:xfrm>
          <a:prstGeom prst="rect">
            <a:avLst/>
          </a:prstGeom>
          <a:solidFill>
            <a:schemeClr val="bg1"/>
          </a:solidFill>
        </p:spPr>
        <p:txBody>
          <a:bodyPr wrap="square" rtlCol="0">
            <a:spAutoFit/>
          </a:bodyPr>
          <a:lstStyle/>
          <a:p>
            <a:pPr marL="65168" marR="0" lvl="0" indent="-200911" algn="l" defTabSz="642915"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airway patency maintained   </a:t>
            </a:r>
          </a:p>
          <a:p>
            <a:pPr marL="65168" marR="0" lvl="0" indent="-200911" algn="l" defTabSz="642915"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calming measures promoted   </a:t>
            </a:r>
          </a:p>
          <a:p>
            <a:pPr marL="65168" marR="0" lvl="0" indent="-200911" algn="l" defTabSz="642915"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humidification applied   </a:t>
            </a:r>
          </a:p>
          <a:p>
            <a:pPr marL="65168" marR="0" lvl="0" indent="-200911" algn="l" defTabSz="642915"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266" b="0" i="0" u="none" strike="noStrike" kern="1200" cap="none" spc="0" normalizeH="0" baseline="0" noProof="0" dirty="0">
                <a:ln>
                  <a:noFill/>
                </a:ln>
                <a:solidFill>
                  <a:prstClr val="black"/>
                </a:solidFill>
                <a:effectLst/>
                <a:uLnTx/>
                <a:uFillTx/>
                <a:latin typeface="Calibri"/>
                <a:ea typeface="+mn-ea"/>
                <a:cs typeface="+mn-cs"/>
              </a:rPr>
              <a:t> pulmonary hygiene promoted </a:t>
            </a:r>
          </a:p>
        </p:txBody>
      </p:sp>
      <p:sp>
        <p:nvSpPr>
          <p:cNvPr id="65" name="TextBox 64">
            <a:extLst>
              <a:ext uri="{FF2B5EF4-FFF2-40B4-BE49-F238E27FC236}">
                <a16:creationId xmlns:a16="http://schemas.microsoft.com/office/drawing/2014/main" id="{7E41C6CE-B7F2-43F7-B9AD-8DBF91DF3AB8}"/>
              </a:ext>
            </a:extLst>
          </p:cNvPr>
          <p:cNvSpPr txBox="1"/>
          <p:nvPr/>
        </p:nvSpPr>
        <p:spPr>
          <a:xfrm>
            <a:off x="6281737" y="5692115"/>
            <a:ext cx="2786063" cy="287130"/>
          </a:xfrm>
          <a:prstGeom prst="rect">
            <a:avLst/>
          </a:prstGeom>
          <a:solidFill>
            <a:srgbClr val="FF6600"/>
          </a:solidFill>
        </p:spPr>
        <p:txBody>
          <a:bodyPr wrap="square" rtlCol="0">
            <a:sp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r>
              <a:rPr kumimoji="0" lang="en-US" sz="1266" b="1" i="0" u="none" strike="noStrike" kern="1200" cap="none" spc="0" normalizeH="0" baseline="0" noProof="0" dirty="0">
                <a:ln>
                  <a:noFill/>
                </a:ln>
                <a:solidFill>
                  <a:prstClr val="black"/>
                </a:solidFill>
                <a:effectLst/>
                <a:uLnTx/>
                <a:uFillTx/>
                <a:latin typeface="Calibri"/>
                <a:ea typeface="+mn-ea"/>
                <a:cs typeface="+mn-cs"/>
              </a:rPr>
              <a:t>Airway Ventilation  Management</a:t>
            </a:r>
          </a:p>
        </p:txBody>
      </p:sp>
    </p:spTree>
    <p:extLst>
      <p:ext uri="{BB962C8B-B14F-4D97-AF65-F5344CB8AC3E}">
        <p14:creationId xmlns:p14="http://schemas.microsoft.com/office/powerpoint/2010/main" val="1700120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wipe(left)">
                                      <p:cBhvr>
                                        <p:cTn id="11" dur="500"/>
                                        <p:tgtEl>
                                          <p:spTgt spid="58"/>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grpId="0" nodeType="click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wipe(down)">
                                      <p:cBhvr>
                                        <p:cTn id="16" dur="500"/>
                                        <p:tgtEl>
                                          <p:spTgt spid="5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fade">
                                      <p:cBhvr>
                                        <p:cTn id="20" dur="500"/>
                                        <p:tgtEl>
                                          <p:spTgt spid="48"/>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wipe(left)">
                                      <p:cBhvr>
                                        <p:cTn id="24" dur="500"/>
                                        <p:tgtEl>
                                          <p:spTgt spid="59"/>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54"/>
                                        </p:tgtEl>
                                        <p:attrNameLst>
                                          <p:attrName>style.visibility</p:attrName>
                                        </p:attrNameLst>
                                      </p:cBhvr>
                                      <p:to>
                                        <p:strVal val="visible"/>
                                      </p:to>
                                    </p:set>
                                    <p:animEffect transition="in" filter="wipe(down)">
                                      <p:cBhvr>
                                        <p:cTn id="29" dur="500"/>
                                        <p:tgtEl>
                                          <p:spTgt spid="54"/>
                                        </p:tgtEl>
                                      </p:cBhvr>
                                    </p:animEffect>
                                  </p:childTnLst>
                                </p:cTn>
                              </p:par>
                            </p:childTnLst>
                          </p:cTn>
                        </p:par>
                        <p:par>
                          <p:cTn id="30" fill="hold">
                            <p:stCondLst>
                              <p:cond delay="500"/>
                            </p:stCondLst>
                            <p:childTnLst>
                              <p:par>
                                <p:cTn id="31" presetID="10" presetClass="entr" presetSubtype="0" fill="hold" grpId="0" nodeType="after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wipe(left)">
                                      <p:cBhvr>
                                        <p:cTn id="37" dur="500"/>
                                        <p:tgtEl>
                                          <p:spTgt spid="6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55"/>
                                        </p:tgtEl>
                                        <p:attrNameLst>
                                          <p:attrName>style.visibility</p:attrName>
                                        </p:attrNameLst>
                                      </p:cBhvr>
                                      <p:to>
                                        <p:strVal val="visible"/>
                                      </p:to>
                                    </p:set>
                                    <p:animEffect transition="in" filter="wipe(down)">
                                      <p:cBhvr>
                                        <p:cTn id="42" dur="500"/>
                                        <p:tgtEl>
                                          <p:spTgt spid="55"/>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childTnLst>
                          </p:cTn>
                        </p:par>
                        <p:par>
                          <p:cTn id="47" fill="hold">
                            <p:stCondLst>
                              <p:cond delay="1000"/>
                            </p:stCondLst>
                            <p:childTnLst>
                              <p:par>
                                <p:cTn id="48" presetID="22" presetClass="entr" presetSubtype="8" fill="hold" nodeType="after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wipe(left)">
                                      <p:cBhvr>
                                        <p:cTn id="50" dur="500"/>
                                        <p:tgtEl>
                                          <p:spTgt spid="61"/>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4" fill="hold" grpId="0" nodeType="click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wipe(down)">
                                      <p:cBhvr>
                                        <p:cTn id="55" dur="500"/>
                                        <p:tgtEl>
                                          <p:spTgt spid="56"/>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51"/>
                                        </p:tgtEl>
                                        <p:attrNameLst>
                                          <p:attrName>style.visibility</p:attrName>
                                        </p:attrNameLst>
                                      </p:cBhvr>
                                      <p:to>
                                        <p:strVal val="visible"/>
                                      </p:to>
                                    </p:set>
                                    <p:animEffect transition="in" filter="fade">
                                      <p:cBhvr>
                                        <p:cTn id="59" dur="500"/>
                                        <p:tgtEl>
                                          <p:spTgt spid="51"/>
                                        </p:tgtEl>
                                      </p:cBhvr>
                                    </p:animEffect>
                                  </p:childTnLst>
                                </p:cTn>
                              </p:par>
                            </p:childTnLst>
                          </p:cTn>
                        </p:par>
                        <p:par>
                          <p:cTn id="60" fill="hold">
                            <p:stCondLst>
                              <p:cond delay="1000"/>
                            </p:stCondLst>
                            <p:childTnLst>
                              <p:par>
                                <p:cTn id="61" presetID="22" presetClass="entr" presetSubtype="8" fill="hold" nodeType="afterEffect">
                                  <p:stCondLst>
                                    <p:cond delay="0"/>
                                  </p:stCondLst>
                                  <p:childTnLst>
                                    <p:set>
                                      <p:cBhvr>
                                        <p:cTn id="62" dur="1" fill="hold">
                                          <p:stCondLst>
                                            <p:cond delay="0"/>
                                          </p:stCondLst>
                                        </p:cTn>
                                        <p:tgtEl>
                                          <p:spTgt spid="62"/>
                                        </p:tgtEl>
                                        <p:attrNameLst>
                                          <p:attrName>style.visibility</p:attrName>
                                        </p:attrNameLst>
                                      </p:cBhvr>
                                      <p:to>
                                        <p:strVal val="visible"/>
                                      </p:to>
                                    </p:set>
                                    <p:animEffect transition="in" filter="wipe(left)">
                                      <p:cBhvr>
                                        <p:cTn id="63" dur="500"/>
                                        <p:tgtEl>
                                          <p:spTgt spid="62"/>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4" fill="hold" grpId="0" nodeType="clickEffect">
                                  <p:stCondLst>
                                    <p:cond delay="0"/>
                                  </p:stCondLst>
                                  <p:childTnLst>
                                    <p:set>
                                      <p:cBhvr>
                                        <p:cTn id="67" dur="1" fill="hold">
                                          <p:stCondLst>
                                            <p:cond delay="0"/>
                                          </p:stCondLst>
                                        </p:cTn>
                                        <p:tgtEl>
                                          <p:spTgt spid="57"/>
                                        </p:tgtEl>
                                        <p:attrNameLst>
                                          <p:attrName>style.visibility</p:attrName>
                                        </p:attrNameLst>
                                      </p:cBhvr>
                                      <p:to>
                                        <p:strVal val="visible"/>
                                      </p:to>
                                    </p:set>
                                    <p:animEffect transition="in" filter="wipe(down)">
                                      <p:cBhvr>
                                        <p:cTn id="68" dur="500"/>
                                        <p:tgtEl>
                                          <p:spTgt spid="57"/>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52"/>
                                        </p:tgtEl>
                                        <p:attrNameLst>
                                          <p:attrName>style.visibility</p:attrName>
                                        </p:attrNameLst>
                                      </p:cBhvr>
                                      <p:to>
                                        <p:strVal val="visible"/>
                                      </p:to>
                                    </p:set>
                                    <p:animEffect transition="in" filter="fade">
                                      <p:cBhvr>
                                        <p:cTn id="72" dur="500"/>
                                        <p:tgtEl>
                                          <p:spTgt spid="52"/>
                                        </p:tgtEl>
                                      </p:cBhvr>
                                    </p:animEffect>
                                  </p:childTnLst>
                                </p:cTn>
                              </p:par>
                            </p:childTnLst>
                          </p:cTn>
                        </p:par>
                        <p:par>
                          <p:cTn id="73" fill="hold">
                            <p:stCondLst>
                              <p:cond delay="1000"/>
                            </p:stCondLst>
                            <p:childTnLst>
                              <p:par>
                                <p:cTn id="74" presetID="22" presetClass="entr" presetSubtype="8" fill="hold" nodeType="afterEffect">
                                  <p:stCondLst>
                                    <p:cond delay="0"/>
                                  </p:stCondLst>
                                  <p:childTnLst>
                                    <p:set>
                                      <p:cBhvr>
                                        <p:cTn id="75" dur="1" fill="hold">
                                          <p:stCondLst>
                                            <p:cond delay="0"/>
                                          </p:stCondLst>
                                        </p:cTn>
                                        <p:tgtEl>
                                          <p:spTgt spid="63"/>
                                        </p:tgtEl>
                                        <p:attrNameLst>
                                          <p:attrName>style.visibility</p:attrName>
                                        </p:attrNameLst>
                                      </p:cBhvr>
                                      <p:to>
                                        <p:strVal val="visible"/>
                                      </p:to>
                                    </p:set>
                                    <p:animEffect transition="in" filter="wipe(left)">
                                      <p:cBhvr>
                                        <p:cTn id="76"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E0231E-ACEF-4201-8EAC-0AA9FD2BCCD3}"/>
              </a:ext>
            </a:extLst>
          </p:cNvPr>
          <p:cNvSpPr>
            <a:spLocks noGrp="1"/>
          </p:cNvSpPr>
          <p:nvPr>
            <p:ph sz="half" idx="1"/>
          </p:nvPr>
        </p:nvSpPr>
        <p:spPr/>
        <p:txBody>
          <a:bodyPr>
            <a:normAutofit lnSpcReduction="10000"/>
          </a:bodyPr>
          <a:lstStyle/>
          <a:p>
            <a:r>
              <a:rPr lang="en-US" dirty="0"/>
              <a:t>Nursing informatics (NI) is the specialty that integrates nursing science with multiple information management and analytical sciences to identify, define, manage, and communicate data, information, knowledge, and wisdom in nursing practice. </a:t>
            </a:r>
          </a:p>
          <a:p>
            <a:pPr marL="86868" indent="0">
              <a:buNone/>
            </a:pPr>
            <a:endParaRPr lang="en-US" dirty="0"/>
          </a:p>
          <a:p>
            <a:r>
              <a:rPr lang="en-US" dirty="0"/>
              <a:t>NI supports nurses, consumers, patients, the </a:t>
            </a:r>
            <a:r>
              <a:rPr lang="en-US" dirty="0" err="1"/>
              <a:t>interprofessional</a:t>
            </a:r>
            <a:r>
              <a:rPr lang="en-US" dirty="0"/>
              <a:t> healthcare team, and other stakeholders in their decision-making in all roles and settings to achieve desired outcomes. </a:t>
            </a:r>
          </a:p>
          <a:p>
            <a:pPr marL="86868" indent="0">
              <a:buNone/>
            </a:pPr>
            <a:endParaRPr lang="en-US" dirty="0"/>
          </a:p>
          <a:p>
            <a:r>
              <a:rPr lang="en-US" dirty="0"/>
              <a:t>This support is accomplished through the use of:</a:t>
            </a:r>
          </a:p>
          <a:p>
            <a:pPr lvl="1"/>
            <a:r>
              <a:rPr lang="en-US" dirty="0"/>
              <a:t>information structures</a:t>
            </a:r>
          </a:p>
          <a:p>
            <a:pPr lvl="1"/>
            <a:r>
              <a:rPr lang="en-US" dirty="0"/>
              <a:t>information processes</a:t>
            </a:r>
          </a:p>
          <a:p>
            <a:pPr lvl="1"/>
            <a:r>
              <a:rPr lang="en-US" dirty="0"/>
              <a:t>information technology</a:t>
            </a:r>
          </a:p>
          <a:p>
            <a:pPr marL="457200" lvl="1" indent="0">
              <a:buNone/>
            </a:pPr>
            <a:endParaRPr lang="en-US" dirty="0"/>
          </a:p>
          <a:p>
            <a:r>
              <a:rPr lang="es-ES" dirty="0" err="1"/>
              <a:t>One</a:t>
            </a:r>
            <a:r>
              <a:rPr lang="es-ES" dirty="0"/>
              <a:t> </a:t>
            </a:r>
            <a:r>
              <a:rPr lang="es-ES" dirty="0" err="1"/>
              <a:t>of</a:t>
            </a:r>
            <a:r>
              <a:rPr lang="es-ES" dirty="0"/>
              <a:t> </a:t>
            </a:r>
            <a:r>
              <a:rPr lang="es-ES" dirty="0" err="1"/>
              <a:t>the</a:t>
            </a:r>
            <a:r>
              <a:rPr lang="es-ES" dirty="0"/>
              <a:t> </a:t>
            </a:r>
            <a:r>
              <a:rPr lang="es-ES" dirty="0" err="1"/>
              <a:t>most</a:t>
            </a:r>
            <a:r>
              <a:rPr lang="es-ES" dirty="0"/>
              <a:t> </a:t>
            </a:r>
            <a:r>
              <a:rPr lang="es-ES" dirty="0" err="1"/>
              <a:t>recognized</a:t>
            </a:r>
            <a:r>
              <a:rPr lang="es-ES" dirty="0"/>
              <a:t> </a:t>
            </a:r>
            <a:r>
              <a:rPr lang="es-ES" dirty="0" err="1"/>
              <a:t>applications</a:t>
            </a:r>
            <a:r>
              <a:rPr lang="es-ES" dirty="0"/>
              <a:t> </a:t>
            </a:r>
            <a:r>
              <a:rPr lang="es-ES" dirty="0" err="1"/>
              <a:t>for</a:t>
            </a:r>
            <a:r>
              <a:rPr lang="es-ES" dirty="0"/>
              <a:t> </a:t>
            </a:r>
            <a:r>
              <a:rPr lang="es-ES" dirty="0" err="1"/>
              <a:t>clinical</a:t>
            </a:r>
            <a:r>
              <a:rPr lang="es-ES" dirty="0"/>
              <a:t> </a:t>
            </a:r>
            <a:r>
              <a:rPr lang="es-ES" dirty="0" err="1"/>
              <a:t>informatics</a:t>
            </a:r>
            <a:r>
              <a:rPr lang="es-ES" dirty="0"/>
              <a:t> </a:t>
            </a:r>
            <a:r>
              <a:rPr lang="es-ES" dirty="0" err="1"/>
              <a:t>is</a:t>
            </a:r>
            <a:r>
              <a:rPr lang="es-ES" dirty="0"/>
              <a:t> </a:t>
            </a:r>
            <a:r>
              <a:rPr lang="es-ES" dirty="0" err="1"/>
              <a:t>the</a:t>
            </a:r>
            <a:r>
              <a:rPr lang="es-ES" dirty="0"/>
              <a:t> Electronic Health </a:t>
            </a:r>
            <a:r>
              <a:rPr lang="es-ES" dirty="0" err="1"/>
              <a:t>Record</a:t>
            </a:r>
            <a:r>
              <a:rPr lang="es-ES" dirty="0"/>
              <a:t> (EHR)</a:t>
            </a:r>
          </a:p>
          <a:p>
            <a:endParaRPr lang="en-US" dirty="0"/>
          </a:p>
        </p:txBody>
      </p:sp>
      <p:sp>
        <p:nvSpPr>
          <p:cNvPr id="3" name="Title 2">
            <a:extLst>
              <a:ext uri="{FF2B5EF4-FFF2-40B4-BE49-F238E27FC236}">
                <a16:creationId xmlns:a16="http://schemas.microsoft.com/office/drawing/2014/main" id="{8FA65948-3582-4818-A8BF-8DFAF463356A}"/>
              </a:ext>
            </a:extLst>
          </p:cNvPr>
          <p:cNvSpPr>
            <a:spLocks noGrp="1"/>
          </p:cNvSpPr>
          <p:nvPr>
            <p:ph type="title"/>
          </p:nvPr>
        </p:nvSpPr>
        <p:spPr/>
        <p:txBody>
          <a:bodyPr/>
          <a:lstStyle/>
          <a:p>
            <a:r>
              <a:rPr lang="es-ES" dirty="0" err="1"/>
              <a:t>Nursing</a:t>
            </a:r>
            <a:r>
              <a:rPr lang="es-ES" dirty="0"/>
              <a:t> </a:t>
            </a:r>
            <a:r>
              <a:rPr lang="es-ES" dirty="0" err="1"/>
              <a:t>Informatics</a:t>
            </a:r>
            <a:endParaRPr lang="en-US" dirty="0"/>
          </a:p>
        </p:txBody>
      </p:sp>
    </p:spTree>
    <p:extLst>
      <p:ext uri="{BB962C8B-B14F-4D97-AF65-F5344CB8AC3E}">
        <p14:creationId xmlns:p14="http://schemas.microsoft.com/office/powerpoint/2010/main" val="9904135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normAutofit/>
          </a:bodyPr>
          <a:lstStyle/>
          <a:p>
            <a:pPr marL="457200" lvl="1" indent="0" fontAlgn="base">
              <a:buNone/>
            </a:pPr>
            <a:r>
              <a:rPr lang="en-US" dirty="0"/>
              <a:t>.</a:t>
            </a:r>
          </a:p>
          <a:p>
            <a:pPr marL="457200" lvl="1" indent="0" fontAlgn="base">
              <a:buNone/>
            </a:pPr>
            <a:r>
              <a:rPr lang="en-US" sz="2800" dirty="0"/>
              <a:t>“the adoption by the clinical care team of one appropriate specific management plan will, by virtue of standardization alone, yield results superior to those achieved by random application of several individually equivalent approaches.” </a:t>
            </a:r>
          </a:p>
        </p:txBody>
      </p:sp>
      <p:sp>
        <p:nvSpPr>
          <p:cNvPr id="4" name="Rectangle 3"/>
          <p:cNvSpPr/>
          <p:nvPr/>
        </p:nvSpPr>
        <p:spPr>
          <a:xfrm>
            <a:off x="228600" y="6535579"/>
            <a:ext cx="8763000" cy="246221"/>
          </a:xfrm>
          <a:prstGeom prst="rect">
            <a:avLst/>
          </a:prstGeom>
        </p:spPr>
        <p:txBody>
          <a:bodyPr wrap="square">
            <a:spAutoFit/>
          </a:bodyPr>
          <a:lstStyle/>
          <a:p>
            <a:pPr marL="0" marR="0" lvl="0" indent="0" algn="r" defTabSz="457200" rtl="0" eaLnBrk="1" fontAlgn="base"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8200"/>
                </a:solidFill>
                <a:effectLst/>
                <a:uLnTx/>
                <a:uFillTx/>
                <a:latin typeface="Arial"/>
                <a:ea typeface="+mn-ea"/>
                <a:cs typeface="+mn-cs"/>
              </a:rPr>
              <a:t>Number 629, April 2015,   Committee on Patient Safety and Quality Improvement Committee on Professional Liability</a:t>
            </a:r>
          </a:p>
        </p:txBody>
      </p:sp>
    </p:spTree>
    <p:extLst>
      <p:ext uri="{BB962C8B-B14F-4D97-AF65-F5344CB8AC3E}">
        <p14:creationId xmlns:p14="http://schemas.microsoft.com/office/powerpoint/2010/main" val="12314481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600882" y="1119110"/>
            <a:ext cx="8009718" cy="862090"/>
          </a:xfrm>
        </p:spPr>
        <p:txBody>
          <a:bodyPr>
            <a:normAutofit/>
          </a:bodyPr>
          <a:lstStyle/>
          <a:p>
            <a:pPr marL="86868" indent="0">
              <a:buNone/>
            </a:pPr>
            <a:r>
              <a:rPr lang="en-US" dirty="0"/>
              <a:t>The CDS Five Rights concept states that in order to provide benefits, CDS must provide:</a:t>
            </a:r>
          </a:p>
        </p:txBody>
      </p:sp>
      <p:sp>
        <p:nvSpPr>
          <p:cNvPr id="3" name="Title 2"/>
          <p:cNvSpPr>
            <a:spLocks noGrp="1"/>
          </p:cNvSpPr>
          <p:nvPr>
            <p:ph type="title"/>
          </p:nvPr>
        </p:nvSpPr>
        <p:spPr/>
        <p:txBody>
          <a:bodyPr/>
          <a:lstStyle/>
          <a:p>
            <a:r>
              <a:rPr lang="en-US" dirty="0"/>
              <a:t>The “CDS Five Rights”</a:t>
            </a:r>
          </a:p>
        </p:txBody>
      </p:sp>
      <p:sp>
        <p:nvSpPr>
          <p:cNvPr id="4" name="Rectangle 3"/>
          <p:cNvSpPr/>
          <p:nvPr/>
        </p:nvSpPr>
        <p:spPr>
          <a:xfrm>
            <a:off x="522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Information</a:t>
            </a:r>
          </a:p>
        </p:txBody>
      </p:sp>
      <p:sp>
        <p:nvSpPr>
          <p:cNvPr id="5" name="Rectangle 4"/>
          <p:cNvSpPr/>
          <p:nvPr/>
        </p:nvSpPr>
        <p:spPr>
          <a:xfrm>
            <a:off x="18810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People</a:t>
            </a:r>
          </a:p>
        </p:txBody>
      </p:sp>
      <p:sp>
        <p:nvSpPr>
          <p:cNvPr id="6" name="Rectangle 5"/>
          <p:cNvSpPr/>
          <p:nvPr/>
        </p:nvSpPr>
        <p:spPr>
          <a:xfrm>
            <a:off x="37098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Channels</a:t>
            </a:r>
          </a:p>
        </p:txBody>
      </p:sp>
      <p:sp>
        <p:nvSpPr>
          <p:cNvPr id="7" name="Rectangle 6"/>
          <p:cNvSpPr/>
          <p:nvPr/>
        </p:nvSpPr>
        <p:spPr>
          <a:xfrm>
            <a:off x="55386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Interventions</a:t>
            </a:r>
          </a:p>
        </p:txBody>
      </p:sp>
      <p:sp>
        <p:nvSpPr>
          <p:cNvPr id="8" name="Rectangle 7"/>
          <p:cNvSpPr/>
          <p:nvPr/>
        </p:nvSpPr>
        <p:spPr>
          <a:xfrm>
            <a:off x="73674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Point in Workflow</a:t>
            </a:r>
          </a:p>
        </p:txBody>
      </p:sp>
    </p:spTree>
    <p:extLst>
      <p:ext uri="{BB962C8B-B14F-4D97-AF65-F5344CB8AC3E}">
        <p14:creationId xmlns:p14="http://schemas.microsoft.com/office/powerpoint/2010/main" val="38153716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73AFBB6-D93F-4002-8D75-AE0278AA2246}"/>
              </a:ext>
            </a:extLst>
          </p:cNvPr>
          <p:cNvPicPr>
            <a:picLocks noChangeAspect="1"/>
          </p:cNvPicPr>
          <p:nvPr/>
        </p:nvPicPr>
        <p:blipFill>
          <a:blip r:embed="rId2"/>
          <a:stretch>
            <a:fillRect/>
          </a:stretch>
        </p:blipFill>
        <p:spPr>
          <a:xfrm>
            <a:off x="438053" y="2628900"/>
            <a:ext cx="5247619" cy="4057143"/>
          </a:xfrm>
          <a:prstGeom prst="rect">
            <a:avLst/>
          </a:prstGeom>
        </p:spPr>
      </p:pic>
      <p:sp>
        <p:nvSpPr>
          <p:cNvPr id="2" name="Content Placeholder 1"/>
          <p:cNvSpPr>
            <a:spLocks noGrp="1"/>
          </p:cNvSpPr>
          <p:nvPr>
            <p:ph sz="half" idx="1"/>
          </p:nvPr>
        </p:nvSpPr>
        <p:spPr>
          <a:xfrm>
            <a:off x="600882" y="1119110"/>
            <a:ext cx="8009718" cy="862090"/>
          </a:xfrm>
        </p:spPr>
        <p:txBody>
          <a:bodyPr>
            <a:normAutofit/>
          </a:bodyPr>
          <a:lstStyle/>
          <a:p>
            <a:pPr marL="86868" indent="0">
              <a:buNone/>
            </a:pPr>
            <a:r>
              <a:rPr lang="en-US" dirty="0"/>
              <a:t>The CDS Five Rights concept states that in order to provide benefits, CDS must provide:</a:t>
            </a:r>
          </a:p>
        </p:txBody>
      </p:sp>
      <p:sp>
        <p:nvSpPr>
          <p:cNvPr id="3" name="Title 2"/>
          <p:cNvSpPr>
            <a:spLocks noGrp="1"/>
          </p:cNvSpPr>
          <p:nvPr>
            <p:ph type="title"/>
          </p:nvPr>
        </p:nvSpPr>
        <p:spPr/>
        <p:txBody>
          <a:bodyPr/>
          <a:lstStyle/>
          <a:p>
            <a:r>
              <a:rPr lang="en-US" dirty="0"/>
              <a:t>The “CDS Five Rights”</a:t>
            </a:r>
          </a:p>
        </p:txBody>
      </p:sp>
      <p:sp>
        <p:nvSpPr>
          <p:cNvPr id="4" name="Rectangle 3"/>
          <p:cNvSpPr/>
          <p:nvPr/>
        </p:nvSpPr>
        <p:spPr>
          <a:xfrm>
            <a:off x="52252" y="1981200"/>
            <a:ext cx="1752600" cy="609600"/>
          </a:xfrm>
          <a:prstGeom prst="rect">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US" sz="1600" dirty="0"/>
              <a:t>Right Information</a:t>
            </a:r>
          </a:p>
        </p:txBody>
      </p:sp>
      <p:sp>
        <p:nvSpPr>
          <p:cNvPr id="5" name="Rectangle 4"/>
          <p:cNvSpPr/>
          <p:nvPr/>
        </p:nvSpPr>
        <p:spPr>
          <a:xfrm>
            <a:off x="18810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People</a:t>
            </a:r>
          </a:p>
        </p:txBody>
      </p:sp>
      <p:sp>
        <p:nvSpPr>
          <p:cNvPr id="6" name="Rectangle 5"/>
          <p:cNvSpPr/>
          <p:nvPr/>
        </p:nvSpPr>
        <p:spPr>
          <a:xfrm>
            <a:off x="37098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Channels</a:t>
            </a:r>
          </a:p>
        </p:txBody>
      </p:sp>
      <p:sp>
        <p:nvSpPr>
          <p:cNvPr id="7" name="Rectangle 6"/>
          <p:cNvSpPr/>
          <p:nvPr/>
        </p:nvSpPr>
        <p:spPr>
          <a:xfrm>
            <a:off x="55386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Interventions</a:t>
            </a:r>
          </a:p>
        </p:txBody>
      </p:sp>
      <p:sp>
        <p:nvSpPr>
          <p:cNvPr id="8" name="Rectangle 7"/>
          <p:cNvSpPr/>
          <p:nvPr/>
        </p:nvSpPr>
        <p:spPr>
          <a:xfrm>
            <a:off x="73674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Point in Workflow</a:t>
            </a:r>
          </a:p>
        </p:txBody>
      </p:sp>
      <p:sp>
        <p:nvSpPr>
          <p:cNvPr id="10" name="Rectangle 9"/>
          <p:cNvSpPr/>
          <p:nvPr/>
        </p:nvSpPr>
        <p:spPr>
          <a:xfrm>
            <a:off x="484926" y="3886200"/>
            <a:ext cx="5200746" cy="1219200"/>
          </a:xfrm>
          <a:prstGeom prst="rect">
            <a:avLst/>
          </a:prstGeom>
          <a:noFill/>
          <a:ln w="31750">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44233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600882" y="1119110"/>
            <a:ext cx="8009718" cy="862090"/>
          </a:xfrm>
        </p:spPr>
        <p:txBody>
          <a:bodyPr>
            <a:normAutofit/>
          </a:bodyPr>
          <a:lstStyle/>
          <a:p>
            <a:pPr marL="86868" indent="0">
              <a:buNone/>
            </a:pPr>
            <a:r>
              <a:rPr lang="en-US" dirty="0"/>
              <a:t>The CDS Five Rights concept states that in order to provide benefits, CDS must provide:</a:t>
            </a:r>
          </a:p>
        </p:txBody>
      </p:sp>
      <p:sp>
        <p:nvSpPr>
          <p:cNvPr id="3" name="Title 2"/>
          <p:cNvSpPr>
            <a:spLocks noGrp="1"/>
          </p:cNvSpPr>
          <p:nvPr>
            <p:ph type="title"/>
          </p:nvPr>
        </p:nvSpPr>
        <p:spPr/>
        <p:txBody>
          <a:bodyPr/>
          <a:lstStyle/>
          <a:p>
            <a:r>
              <a:rPr lang="en-US" dirty="0"/>
              <a:t>The “CDS Five Rights”</a:t>
            </a:r>
          </a:p>
        </p:txBody>
      </p:sp>
      <p:sp>
        <p:nvSpPr>
          <p:cNvPr id="4" name="Rectangle 3"/>
          <p:cNvSpPr/>
          <p:nvPr/>
        </p:nvSpPr>
        <p:spPr>
          <a:xfrm>
            <a:off x="522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Information</a:t>
            </a:r>
          </a:p>
        </p:txBody>
      </p:sp>
      <p:sp>
        <p:nvSpPr>
          <p:cNvPr id="5" name="Rectangle 4"/>
          <p:cNvSpPr/>
          <p:nvPr/>
        </p:nvSpPr>
        <p:spPr>
          <a:xfrm>
            <a:off x="1881052" y="1981200"/>
            <a:ext cx="1752600" cy="609600"/>
          </a:xfrm>
          <a:prstGeom prst="rect">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US" sz="1600" dirty="0"/>
              <a:t>Right </a:t>
            </a:r>
          </a:p>
          <a:p>
            <a:pPr algn="ctr"/>
            <a:r>
              <a:rPr lang="en-US" sz="1600" dirty="0"/>
              <a:t>People</a:t>
            </a:r>
          </a:p>
        </p:txBody>
      </p:sp>
      <p:sp>
        <p:nvSpPr>
          <p:cNvPr id="6" name="Rectangle 5"/>
          <p:cNvSpPr/>
          <p:nvPr/>
        </p:nvSpPr>
        <p:spPr>
          <a:xfrm>
            <a:off x="37098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Channels</a:t>
            </a:r>
          </a:p>
        </p:txBody>
      </p:sp>
      <p:sp>
        <p:nvSpPr>
          <p:cNvPr id="7" name="Rectangle 6"/>
          <p:cNvSpPr/>
          <p:nvPr/>
        </p:nvSpPr>
        <p:spPr>
          <a:xfrm>
            <a:off x="55386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Interventions</a:t>
            </a:r>
          </a:p>
        </p:txBody>
      </p:sp>
      <p:sp>
        <p:nvSpPr>
          <p:cNvPr id="8" name="Rectangle 7"/>
          <p:cNvSpPr/>
          <p:nvPr/>
        </p:nvSpPr>
        <p:spPr>
          <a:xfrm>
            <a:off x="73674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Point in Workflow</a:t>
            </a:r>
          </a:p>
        </p:txBody>
      </p:sp>
      <p:graphicFrame>
        <p:nvGraphicFramePr>
          <p:cNvPr id="9" name="Table 8">
            <a:extLst>
              <a:ext uri="{FF2B5EF4-FFF2-40B4-BE49-F238E27FC236}">
                <a16:creationId xmlns:a16="http://schemas.microsoft.com/office/drawing/2014/main" id="{F1855BE6-E5C8-455C-B123-00CC1F0FF159}"/>
              </a:ext>
            </a:extLst>
          </p:cNvPr>
          <p:cNvGraphicFramePr>
            <a:graphicFrameLocks noGrp="1"/>
          </p:cNvGraphicFramePr>
          <p:nvPr>
            <p:extLst/>
          </p:nvPr>
        </p:nvGraphicFramePr>
        <p:xfrm>
          <a:off x="1881052" y="2838551"/>
          <a:ext cx="5345974" cy="3683000"/>
        </p:xfrm>
        <a:graphic>
          <a:graphicData uri="http://schemas.openxmlformats.org/drawingml/2006/table">
            <a:tbl>
              <a:tblPr firstRow="1" bandRow="1">
                <a:tableStyleId>{5C22544A-7EE6-4342-B048-85BDC9FD1C3A}</a:tableStyleId>
              </a:tblPr>
              <a:tblGrid>
                <a:gridCol w="5345974">
                  <a:extLst>
                    <a:ext uri="{9D8B030D-6E8A-4147-A177-3AD203B41FA5}">
                      <a16:colId xmlns:a16="http://schemas.microsoft.com/office/drawing/2014/main" val="568333386"/>
                    </a:ext>
                  </a:extLst>
                </a:gridCol>
              </a:tblGrid>
              <a:tr h="126858">
                <a:tc>
                  <a:txBody>
                    <a:bodyPr/>
                    <a:lstStyle/>
                    <a:p>
                      <a:r>
                        <a:rPr lang="en-US" dirty="0"/>
                        <a:t>Interdisciplinary Team</a:t>
                      </a:r>
                    </a:p>
                  </a:txBody>
                  <a:tcPr/>
                </a:tc>
                <a:extLst>
                  <a:ext uri="{0D108BD9-81ED-4DB2-BD59-A6C34878D82A}">
                    <a16:rowId xmlns:a16="http://schemas.microsoft.com/office/drawing/2014/main" val="916016558"/>
                  </a:ext>
                </a:extLst>
              </a:tr>
              <a:tr h="370840">
                <a:tc>
                  <a:txBody>
                    <a:bodyPr/>
                    <a:lstStyle/>
                    <a:p>
                      <a:pPr marL="285750" indent="-285750">
                        <a:buFont typeface="Wingdings" panose="05000000000000000000" pitchFamily="2" charset="2"/>
                        <a:buChar char="q"/>
                      </a:pPr>
                      <a:r>
                        <a:rPr lang="en-US" dirty="0">
                          <a:solidFill>
                            <a:schemeClr val="tx2"/>
                          </a:solidFill>
                        </a:rPr>
                        <a:t>Nursing</a:t>
                      </a:r>
                    </a:p>
                  </a:txBody>
                  <a:tcPr/>
                </a:tc>
                <a:extLst>
                  <a:ext uri="{0D108BD9-81ED-4DB2-BD59-A6C34878D82A}">
                    <a16:rowId xmlns:a16="http://schemas.microsoft.com/office/drawing/2014/main" val="3629644217"/>
                  </a:ext>
                </a:extLst>
              </a:tr>
              <a:tr h="370840">
                <a:tc>
                  <a:txBody>
                    <a:bodyPr/>
                    <a:lstStyle/>
                    <a:p>
                      <a:pPr marL="285750" indent="-285750">
                        <a:buFont typeface="Wingdings" panose="05000000000000000000" pitchFamily="2" charset="2"/>
                        <a:buChar char="q"/>
                      </a:pPr>
                      <a:r>
                        <a:rPr lang="en-US" dirty="0">
                          <a:solidFill>
                            <a:schemeClr val="tx2"/>
                          </a:solidFill>
                        </a:rPr>
                        <a:t>Physical Therapy</a:t>
                      </a:r>
                    </a:p>
                  </a:txBody>
                  <a:tcPr/>
                </a:tc>
                <a:extLst>
                  <a:ext uri="{0D108BD9-81ED-4DB2-BD59-A6C34878D82A}">
                    <a16:rowId xmlns:a16="http://schemas.microsoft.com/office/drawing/2014/main" val="1702334226"/>
                  </a:ext>
                </a:extLst>
              </a:tr>
              <a:tr h="370840">
                <a:tc>
                  <a:txBody>
                    <a:bodyPr/>
                    <a:lstStyle/>
                    <a:p>
                      <a:pPr marL="285750" indent="-285750">
                        <a:buFont typeface="Wingdings" panose="05000000000000000000" pitchFamily="2" charset="2"/>
                        <a:buChar char="q"/>
                      </a:pPr>
                      <a:r>
                        <a:rPr lang="en-US" dirty="0">
                          <a:solidFill>
                            <a:schemeClr val="tx2"/>
                          </a:solidFill>
                        </a:rPr>
                        <a:t>Occupational Therapy</a:t>
                      </a:r>
                    </a:p>
                  </a:txBody>
                  <a:tcPr/>
                </a:tc>
                <a:extLst>
                  <a:ext uri="{0D108BD9-81ED-4DB2-BD59-A6C34878D82A}">
                    <a16:rowId xmlns:a16="http://schemas.microsoft.com/office/drawing/2014/main" val="3561122095"/>
                  </a:ext>
                </a:extLst>
              </a:tr>
              <a:tr h="370840">
                <a:tc>
                  <a:txBody>
                    <a:bodyPr/>
                    <a:lstStyle/>
                    <a:p>
                      <a:pPr marL="285750" indent="-285750">
                        <a:buFont typeface="Wingdings" panose="05000000000000000000" pitchFamily="2" charset="2"/>
                        <a:buChar char="q"/>
                      </a:pPr>
                      <a:r>
                        <a:rPr lang="en-US" dirty="0">
                          <a:solidFill>
                            <a:schemeClr val="tx2"/>
                          </a:solidFill>
                        </a:rPr>
                        <a:t>Speech Language Pathology</a:t>
                      </a:r>
                    </a:p>
                  </a:txBody>
                  <a:tcPr/>
                </a:tc>
                <a:extLst>
                  <a:ext uri="{0D108BD9-81ED-4DB2-BD59-A6C34878D82A}">
                    <a16:rowId xmlns:a16="http://schemas.microsoft.com/office/drawing/2014/main" val="3738247782"/>
                  </a:ext>
                </a:extLst>
              </a:tr>
              <a:tr h="370840">
                <a:tc>
                  <a:txBody>
                    <a:bodyPr/>
                    <a:lstStyle/>
                    <a:p>
                      <a:pPr marL="285750" indent="-285750">
                        <a:buFont typeface="Wingdings" panose="05000000000000000000" pitchFamily="2" charset="2"/>
                        <a:buChar char="q"/>
                      </a:pPr>
                      <a:r>
                        <a:rPr lang="en-US" dirty="0">
                          <a:solidFill>
                            <a:schemeClr val="tx2"/>
                          </a:solidFill>
                        </a:rPr>
                        <a:t>Dietician</a:t>
                      </a:r>
                    </a:p>
                  </a:txBody>
                  <a:tcPr/>
                </a:tc>
                <a:extLst>
                  <a:ext uri="{0D108BD9-81ED-4DB2-BD59-A6C34878D82A}">
                    <a16:rowId xmlns:a16="http://schemas.microsoft.com/office/drawing/2014/main" val="56341573"/>
                  </a:ext>
                </a:extLst>
              </a:tr>
              <a:tr h="0">
                <a:tc>
                  <a:txBody>
                    <a:bodyPr/>
                    <a:lstStyle/>
                    <a:p>
                      <a:pPr marL="285750" indent="-285750">
                        <a:buFont typeface="Wingdings" panose="05000000000000000000" pitchFamily="2" charset="2"/>
                        <a:buChar char="q"/>
                      </a:pPr>
                      <a:r>
                        <a:rPr lang="en-US" dirty="0">
                          <a:solidFill>
                            <a:schemeClr val="tx2"/>
                          </a:solidFill>
                        </a:rPr>
                        <a:t>Pharmacy</a:t>
                      </a:r>
                    </a:p>
                  </a:txBody>
                  <a:tcPr/>
                </a:tc>
                <a:extLst>
                  <a:ext uri="{0D108BD9-81ED-4DB2-BD59-A6C34878D82A}">
                    <a16:rowId xmlns:a16="http://schemas.microsoft.com/office/drawing/2014/main" val="508773453"/>
                  </a:ext>
                </a:extLst>
              </a:tr>
              <a:tr h="273050">
                <a:tc>
                  <a:txBody>
                    <a:bodyPr/>
                    <a:lstStyle/>
                    <a:p>
                      <a:pPr marL="285750" indent="-285750">
                        <a:buFont typeface="Wingdings" panose="05000000000000000000" pitchFamily="2" charset="2"/>
                        <a:buChar char="q"/>
                      </a:pPr>
                      <a:r>
                        <a:rPr lang="en-US" dirty="0">
                          <a:solidFill>
                            <a:schemeClr val="tx2"/>
                          </a:solidFill>
                        </a:rPr>
                        <a:t>Social Work/Case Management</a:t>
                      </a:r>
                    </a:p>
                  </a:txBody>
                  <a:tcPr/>
                </a:tc>
                <a:extLst>
                  <a:ext uri="{0D108BD9-81ED-4DB2-BD59-A6C34878D82A}">
                    <a16:rowId xmlns:a16="http://schemas.microsoft.com/office/drawing/2014/main" val="4105617606"/>
                  </a:ext>
                </a:extLst>
              </a:tr>
              <a:tr h="180340">
                <a:tc>
                  <a:txBody>
                    <a:bodyPr/>
                    <a:lstStyle/>
                    <a:p>
                      <a:pPr marL="285750" indent="-285750">
                        <a:buFont typeface="Wingdings" panose="05000000000000000000" pitchFamily="2" charset="2"/>
                        <a:buChar char="q"/>
                      </a:pPr>
                      <a:r>
                        <a:rPr lang="en-US" dirty="0">
                          <a:solidFill>
                            <a:schemeClr val="tx2"/>
                          </a:solidFill>
                        </a:rPr>
                        <a:t>Pastoral/Spiritual Care</a:t>
                      </a:r>
                    </a:p>
                  </a:txBody>
                  <a:tcPr/>
                </a:tc>
                <a:extLst>
                  <a:ext uri="{0D108BD9-81ED-4DB2-BD59-A6C34878D82A}">
                    <a16:rowId xmlns:a16="http://schemas.microsoft.com/office/drawing/2014/main" val="29597421"/>
                  </a:ext>
                </a:extLst>
              </a:tr>
              <a:tr h="0">
                <a:tc>
                  <a:txBody>
                    <a:bodyPr/>
                    <a:lstStyle/>
                    <a:p>
                      <a:pPr marL="285750" indent="-285750">
                        <a:buFont typeface="Wingdings" panose="05000000000000000000" pitchFamily="2" charset="2"/>
                        <a:buChar char="q"/>
                      </a:pPr>
                      <a:r>
                        <a:rPr lang="en-US" dirty="0">
                          <a:solidFill>
                            <a:schemeClr val="tx2"/>
                          </a:solidFill>
                        </a:rPr>
                        <a:t>Physicians</a:t>
                      </a:r>
                    </a:p>
                  </a:txBody>
                  <a:tcPr/>
                </a:tc>
                <a:extLst>
                  <a:ext uri="{0D108BD9-81ED-4DB2-BD59-A6C34878D82A}">
                    <a16:rowId xmlns:a16="http://schemas.microsoft.com/office/drawing/2014/main" val="1763729369"/>
                  </a:ext>
                </a:extLst>
              </a:tr>
            </a:tbl>
          </a:graphicData>
        </a:graphic>
      </p:graphicFrame>
      <p:sp>
        <p:nvSpPr>
          <p:cNvPr id="11" name="TextBox 10">
            <a:extLst>
              <a:ext uri="{FF2B5EF4-FFF2-40B4-BE49-F238E27FC236}">
                <a16:creationId xmlns:a16="http://schemas.microsoft.com/office/drawing/2014/main" id="{44BB9905-2701-4F63-8BC1-FAEDCAE1FB4A}"/>
              </a:ext>
            </a:extLst>
          </p:cNvPr>
          <p:cNvSpPr txBox="1"/>
          <p:nvPr/>
        </p:nvSpPr>
        <p:spPr>
          <a:xfrm>
            <a:off x="1905000" y="3200400"/>
            <a:ext cx="327670" cy="369332"/>
          </a:xfrm>
          <a:prstGeom prst="rect">
            <a:avLst/>
          </a:prstGeom>
          <a:noFill/>
        </p:spPr>
        <p:txBody>
          <a:bodyPr wrap="square" rtlCol="0">
            <a:spAutoFit/>
          </a:bodyPr>
          <a:lstStyle/>
          <a:p>
            <a:r>
              <a:rPr lang="en-US" b="1" dirty="0">
                <a:sym typeface="Wingdings 2" panose="05020102010507070707" pitchFamily="18" charset="2"/>
              </a:rPr>
              <a:t></a:t>
            </a:r>
            <a:endParaRPr lang="en-US" b="1" dirty="0"/>
          </a:p>
        </p:txBody>
      </p:sp>
      <p:sp>
        <p:nvSpPr>
          <p:cNvPr id="13" name="TextBox 12">
            <a:extLst>
              <a:ext uri="{FF2B5EF4-FFF2-40B4-BE49-F238E27FC236}">
                <a16:creationId xmlns:a16="http://schemas.microsoft.com/office/drawing/2014/main" id="{7B83074B-3153-4C8F-9606-841AC19440A8}"/>
              </a:ext>
            </a:extLst>
          </p:cNvPr>
          <p:cNvSpPr txBox="1"/>
          <p:nvPr/>
        </p:nvSpPr>
        <p:spPr>
          <a:xfrm>
            <a:off x="1905000" y="3567668"/>
            <a:ext cx="327670" cy="369332"/>
          </a:xfrm>
          <a:prstGeom prst="rect">
            <a:avLst/>
          </a:prstGeom>
          <a:noFill/>
        </p:spPr>
        <p:txBody>
          <a:bodyPr wrap="square" rtlCol="0">
            <a:spAutoFit/>
          </a:bodyPr>
          <a:lstStyle/>
          <a:p>
            <a:r>
              <a:rPr lang="en-US" b="1" dirty="0">
                <a:sym typeface="Wingdings 2" panose="05020102010507070707" pitchFamily="18" charset="2"/>
              </a:rPr>
              <a:t></a:t>
            </a:r>
            <a:endParaRPr lang="en-US" b="1" dirty="0"/>
          </a:p>
        </p:txBody>
      </p:sp>
      <p:sp>
        <p:nvSpPr>
          <p:cNvPr id="14" name="TextBox 13">
            <a:extLst>
              <a:ext uri="{FF2B5EF4-FFF2-40B4-BE49-F238E27FC236}">
                <a16:creationId xmlns:a16="http://schemas.microsoft.com/office/drawing/2014/main" id="{B6F90C2D-9C1A-4324-A17B-A800AF8C31C5}"/>
              </a:ext>
            </a:extLst>
          </p:cNvPr>
          <p:cNvSpPr txBox="1"/>
          <p:nvPr/>
        </p:nvSpPr>
        <p:spPr>
          <a:xfrm>
            <a:off x="1905000" y="3934936"/>
            <a:ext cx="327670" cy="369332"/>
          </a:xfrm>
          <a:prstGeom prst="rect">
            <a:avLst/>
          </a:prstGeom>
          <a:noFill/>
        </p:spPr>
        <p:txBody>
          <a:bodyPr wrap="square" rtlCol="0">
            <a:spAutoFit/>
          </a:bodyPr>
          <a:lstStyle/>
          <a:p>
            <a:r>
              <a:rPr lang="en-US" b="1" dirty="0">
                <a:sym typeface="Wingdings 2" panose="05020102010507070707" pitchFamily="18" charset="2"/>
              </a:rPr>
              <a:t></a:t>
            </a:r>
            <a:endParaRPr lang="en-US" b="1" dirty="0"/>
          </a:p>
        </p:txBody>
      </p:sp>
      <p:sp>
        <p:nvSpPr>
          <p:cNvPr id="15" name="TextBox 14">
            <a:extLst>
              <a:ext uri="{FF2B5EF4-FFF2-40B4-BE49-F238E27FC236}">
                <a16:creationId xmlns:a16="http://schemas.microsoft.com/office/drawing/2014/main" id="{BD915B3C-4AD2-4F06-8908-25EC4EDE06A6}"/>
              </a:ext>
            </a:extLst>
          </p:cNvPr>
          <p:cNvSpPr txBox="1"/>
          <p:nvPr/>
        </p:nvSpPr>
        <p:spPr>
          <a:xfrm>
            <a:off x="1905000" y="5421868"/>
            <a:ext cx="327670" cy="369332"/>
          </a:xfrm>
          <a:prstGeom prst="rect">
            <a:avLst/>
          </a:prstGeom>
          <a:noFill/>
        </p:spPr>
        <p:txBody>
          <a:bodyPr wrap="square" rtlCol="0">
            <a:spAutoFit/>
          </a:bodyPr>
          <a:lstStyle/>
          <a:p>
            <a:r>
              <a:rPr lang="en-US" b="1" dirty="0">
                <a:sym typeface="Wingdings 2" panose="05020102010507070707" pitchFamily="18" charset="2"/>
              </a:rPr>
              <a:t></a:t>
            </a:r>
            <a:endParaRPr lang="en-US" b="1" dirty="0"/>
          </a:p>
        </p:txBody>
      </p:sp>
      <p:sp>
        <p:nvSpPr>
          <p:cNvPr id="16" name="TextBox 15">
            <a:extLst>
              <a:ext uri="{FF2B5EF4-FFF2-40B4-BE49-F238E27FC236}">
                <a16:creationId xmlns:a16="http://schemas.microsoft.com/office/drawing/2014/main" id="{DFD0E9AD-6C54-445A-94A6-C3D323EBDEE9}"/>
              </a:ext>
            </a:extLst>
          </p:cNvPr>
          <p:cNvSpPr txBox="1"/>
          <p:nvPr/>
        </p:nvSpPr>
        <p:spPr>
          <a:xfrm>
            <a:off x="1905000" y="6134100"/>
            <a:ext cx="327670" cy="369332"/>
          </a:xfrm>
          <a:prstGeom prst="rect">
            <a:avLst/>
          </a:prstGeom>
          <a:noFill/>
        </p:spPr>
        <p:txBody>
          <a:bodyPr wrap="square" rtlCol="0">
            <a:spAutoFit/>
          </a:bodyPr>
          <a:lstStyle/>
          <a:p>
            <a:r>
              <a:rPr lang="en-US" b="1" dirty="0">
                <a:sym typeface="Wingdings 2" panose="05020102010507070707" pitchFamily="18" charset="2"/>
              </a:rPr>
              <a:t></a:t>
            </a:r>
            <a:endParaRPr lang="en-US" b="1" dirty="0"/>
          </a:p>
        </p:txBody>
      </p:sp>
    </p:spTree>
    <p:extLst>
      <p:ext uri="{BB962C8B-B14F-4D97-AF65-F5344CB8AC3E}">
        <p14:creationId xmlns:p14="http://schemas.microsoft.com/office/powerpoint/2010/main" val="20400098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600882" y="1119110"/>
            <a:ext cx="8009718" cy="862090"/>
          </a:xfrm>
        </p:spPr>
        <p:txBody>
          <a:bodyPr>
            <a:normAutofit/>
          </a:bodyPr>
          <a:lstStyle/>
          <a:p>
            <a:pPr marL="86868" indent="0">
              <a:buNone/>
            </a:pPr>
            <a:r>
              <a:rPr lang="en-US" dirty="0"/>
              <a:t>The CDS Five Rights concept states that in order to provide benefits, CDS must provide:</a:t>
            </a:r>
          </a:p>
        </p:txBody>
      </p:sp>
      <p:sp>
        <p:nvSpPr>
          <p:cNvPr id="3" name="Title 2"/>
          <p:cNvSpPr>
            <a:spLocks noGrp="1"/>
          </p:cNvSpPr>
          <p:nvPr>
            <p:ph type="title"/>
          </p:nvPr>
        </p:nvSpPr>
        <p:spPr/>
        <p:txBody>
          <a:bodyPr/>
          <a:lstStyle/>
          <a:p>
            <a:r>
              <a:rPr lang="en-US" dirty="0"/>
              <a:t>The “CDS Five Rights”</a:t>
            </a:r>
          </a:p>
        </p:txBody>
      </p:sp>
      <p:sp>
        <p:nvSpPr>
          <p:cNvPr id="4" name="Rectangle 3"/>
          <p:cNvSpPr/>
          <p:nvPr/>
        </p:nvSpPr>
        <p:spPr>
          <a:xfrm>
            <a:off x="522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Information</a:t>
            </a:r>
          </a:p>
        </p:txBody>
      </p:sp>
      <p:sp>
        <p:nvSpPr>
          <p:cNvPr id="5" name="Rectangle 4"/>
          <p:cNvSpPr/>
          <p:nvPr/>
        </p:nvSpPr>
        <p:spPr>
          <a:xfrm>
            <a:off x="18810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People</a:t>
            </a:r>
          </a:p>
        </p:txBody>
      </p:sp>
      <p:sp>
        <p:nvSpPr>
          <p:cNvPr id="6" name="Rectangle 5"/>
          <p:cNvSpPr/>
          <p:nvPr/>
        </p:nvSpPr>
        <p:spPr>
          <a:xfrm>
            <a:off x="3709852" y="1981200"/>
            <a:ext cx="1752600" cy="609600"/>
          </a:xfrm>
          <a:prstGeom prst="rect">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US" sz="1600" dirty="0"/>
              <a:t>Right </a:t>
            </a:r>
          </a:p>
          <a:p>
            <a:pPr algn="ctr"/>
            <a:r>
              <a:rPr lang="en-US" sz="1600" dirty="0"/>
              <a:t>Channels</a:t>
            </a:r>
          </a:p>
        </p:txBody>
      </p:sp>
      <p:sp>
        <p:nvSpPr>
          <p:cNvPr id="7" name="Rectangle 6"/>
          <p:cNvSpPr/>
          <p:nvPr/>
        </p:nvSpPr>
        <p:spPr>
          <a:xfrm>
            <a:off x="55386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Interventions</a:t>
            </a:r>
          </a:p>
        </p:txBody>
      </p:sp>
      <p:sp>
        <p:nvSpPr>
          <p:cNvPr id="8" name="Rectangle 7"/>
          <p:cNvSpPr/>
          <p:nvPr/>
        </p:nvSpPr>
        <p:spPr>
          <a:xfrm>
            <a:off x="73674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Point in Workflow</a:t>
            </a:r>
          </a:p>
        </p:txBody>
      </p:sp>
      <p:graphicFrame>
        <p:nvGraphicFramePr>
          <p:cNvPr id="12" name="Table 11">
            <a:extLst>
              <a:ext uri="{FF2B5EF4-FFF2-40B4-BE49-F238E27FC236}">
                <a16:creationId xmlns:a16="http://schemas.microsoft.com/office/drawing/2014/main" id="{DF00ADCB-0534-410D-9C71-EC605613BC07}"/>
              </a:ext>
            </a:extLst>
          </p:cNvPr>
          <p:cNvGraphicFramePr>
            <a:graphicFrameLocks noGrp="1"/>
          </p:cNvGraphicFramePr>
          <p:nvPr>
            <p:extLst/>
          </p:nvPr>
        </p:nvGraphicFramePr>
        <p:xfrm>
          <a:off x="2057400" y="3276600"/>
          <a:ext cx="5233852" cy="2225040"/>
        </p:xfrm>
        <a:graphic>
          <a:graphicData uri="http://schemas.openxmlformats.org/drawingml/2006/table">
            <a:tbl>
              <a:tblPr firstRow="1" bandRow="1">
                <a:tableStyleId>{5C22544A-7EE6-4342-B048-85BDC9FD1C3A}</a:tableStyleId>
              </a:tblPr>
              <a:tblGrid>
                <a:gridCol w="5233852">
                  <a:extLst>
                    <a:ext uri="{9D8B030D-6E8A-4147-A177-3AD203B41FA5}">
                      <a16:colId xmlns:a16="http://schemas.microsoft.com/office/drawing/2014/main" val="1295860277"/>
                    </a:ext>
                  </a:extLst>
                </a:gridCol>
              </a:tblGrid>
              <a:tr h="370840">
                <a:tc>
                  <a:txBody>
                    <a:bodyPr/>
                    <a:lstStyle/>
                    <a:p>
                      <a:pPr algn="ctr"/>
                      <a:r>
                        <a:rPr lang="en-US" dirty="0"/>
                        <a:t>1 Care Plan</a:t>
                      </a:r>
                    </a:p>
                  </a:txBody>
                  <a:tcPr/>
                </a:tc>
                <a:extLst>
                  <a:ext uri="{0D108BD9-81ED-4DB2-BD59-A6C34878D82A}">
                    <a16:rowId xmlns:a16="http://schemas.microsoft.com/office/drawing/2014/main" val="1967113220"/>
                  </a:ext>
                </a:extLst>
              </a:tr>
              <a:tr h="370840">
                <a:tc>
                  <a:txBody>
                    <a:bodyPr/>
                    <a:lstStyle/>
                    <a:p>
                      <a:r>
                        <a:rPr lang="en-US" dirty="0">
                          <a:solidFill>
                            <a:schemeClr val="tx2"/>
                          </a:solidFill>
                        </a:rPr>
                        <a:t>Patient Centered</a:t>
                      </a:r>
                    </a:p>
                  </a:txBody>
                  <a:tcPr/>
                </a:tc>
                <a:extLst>
                  <a:ext uri="{0D108BD9-81ED-4DB2-BD59-A6C34878D82A}">
                    <a16:rowId xmlns:a16="http://schemas.microsoft.com/office/drawing/2014/main" val="3968659056"/>
                  </a:ext>
                </a:extLst>
              </a:tr>
              <a:tr h="370840">
                <a:tc>
                  <a:txBody>
                    <a:bodyPr/>
                    <a:lstStyle/>
                    <a:p>
                      <a:r>
                        <a:rPr lang="en-US" dirty="0">
                          <a:solidFill>
                            <a:schemeClr val="tx2"/>
                          </a:solidFill>
                        </a:rPr>
                        <a:t>Interdisciplinary</a:t>
                      </a:r>
                    </a:p>
                  </a:txBody>
                  <a:tcPr/>
                </a:tc>
                <a:extLst>
                  <a:ext uri="{0D108BD9-81ED-4DB2-BD59-A6C34878D82A}">
                    <a16:rowId xmlns:a16="http://schemas.microsoft.com/office/drawing/2014/main" val="1685679697"/>
                  </a:ext>
                </a:extLst>
              </a:tr>
              <a:tr h="370840">
                <a:tc>
                  <a:txBody>
                    <a:bodyPr/>
                    <a:lstStyle/>
                    <a:p>
                      <a:r>
                        <a:rPr lang="en-US" dirty="0">
                          <a:solidFill>
                            <a:schemeClr val="tx2"/>
                          </a:solidFill>
                        </a:rPr>
                        <a:t>Standardizes Care by reducing variability</a:t>
                      </a:r>
                    </a:p>
                  </a:txBody>
                  <a:tcPr/>
                </a:tc>
                <a:extLst>
                  <a:ext uri="{0D108BD9-81ED-4DB2-BD59-A6C34878D82A}">
                    <a16:rowId xmlns:a16="http://schemas.microsoft.com/office/drawing/2014/main" val="1361173986"/>
                  </a:ext>
                </a:extLst>
              </a:tr>
              <a:tr h="370840">
                <a:tc>
                  <a:txBody>
                    <a:bodyPr/>
                    <a:lstStyle/>
                    <a:p>
                      <a:r>
                        <a:rPr lang="en-US" dirty="0">
                          <a:solidFill>
                            <a:schemeClr val="tx2"/>
                          </a:solidFill>
                        </a:rPr>
                        <a:t>Facilitates Transitions</a:t>
                      </a:r>
                    </a:p>
                  </a:txBody>
                  <a:tcPr/>
                </a:tc>
                <a:extLst>
                  <a:ext uri="{0D108BD9-81ED-4DB2-BD59-A6C34878D82A}">
                    <a16:rowId xmlns:a16="http://schemas.microsoft.com/office/drawing/2014/main" val="1079617151"/>
                  </a:ext>
                </a:extLst>
              </a:tr>
              <a:tr h="370840">
                <a:tc>
                  <a:txBody>
                    <a:bodyPr/>
                    <a:lstStyle/>
                    <a:p>
                      <a:r>
                        <a:rPr lang="en-US" dirty="0">
                          <a:solidFill>
                            <a:schemeClr val="tx2"/>
                          </a:solidFill>
                        </a:rPr>
                        <a:t>Evidence-Based</a:t>
                      </a:r>
                    </a:p>
                  </a:txBody>
                  <a:tcPr/>
                </a:tc>
                <a:extLst>
                  <a:ext uri="{0D108BD9-81ED-4DB2-BD59-A6C34878D82A}">
                    <a16:rowId xmlns:a16="http://schemas.microsoft.com/office/drawing/2014/main" val="2594550284"/>
                  </a:ext>
                </a:extLst>
              </a:tr>
            </a:tbl>
          </a:graphicData>
        </a:graphic>
      </p:graphicFrame>
    </p:spTree>
    <p:extLst>
      <p:ext uri="{BB962C8B-B14F-4D97-AF65-F5344CB8AC3E}">
        <p14:creationId xmlns:p14="http://schemas.microsoft.com/office/powerpoint/2010/main" val="3912245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600882" y="1119110"/>
            <a:ext cx="8009718" cy="862090"/>
          </a:xfrm>
        </p:spPr>
        <p:txBody>
          <a:bodyPr>
            <a:normAutofit/>
          </a:bodyPr>
          <a:lstStyle/>
          <a:p>
            <a:pPr marL="86868" indent="0">
              <a:buNone/>
            </a:pPr>
            <a:r>
              <a:rPr lang="en-US" dirty="0"/>
              <a:t>The CDS Five Rights concept states that in order to provide benefits, CDS must provide:</a:t>
            </a:r>
          </a:p>
        </p:txBody>
      </p:sp>
      <p:sp>
        <p:nvSpPr>
          <p:cNvPr id="3" name="Title 2"/>
          <p:cNvSpPr>
            <a:spLocks noGrp="1"/>
          </p:cNvSpPr>
          <p:nvPr>
            <p:ph type="title"/>
          </p:nvPr>
        </p:nvSpPr>
        <p:spPr/>
        <p:txBody>
          <a:bodyPr/>
          <a:lstStyle/>
          <a:p>
            <a:r>
              <a:rPr lang="en-US" dirty="0"/>
              <a:t>The “CDS Five Rights”</a:t>
            </a:r>
          </a:p>
        </p:txBody>
      </p:sp>
      <p:sp>
        <p:nvSpPr>
          <p:cNvPr id="4" name="Rectangle 3"/>
          <p:cNvSpPr/>
          <p:nvPr/>
        </p:nvSpPr>
        <p:spPr>
          <a:xfrm>
            <a:off x="522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Information</a:t>
            </a:r>
          </a:p>
        </p:txBody>
      </p:sp>
      <p:sp>
        <p:nvSpPr>
          <p:cNvPr id="5" name="Rectangle 4"/>
          <p:cNvSpPr/>
          <p:nvPr/>
        </p:nvSpPr>
        <p:spPr>
          <a:xfrm>
            <a:off x="18810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People</a:t>
            </a:r>
          </a:p>
        </p:txBody>
      </p:sp>
      <p:sp>
        <p:nvSpPr>
          <p:cNvPr id="6" name="Rectangle 5"/>
          <p:cNvSpPr/>
          <p:nvPr/>
        </p:nvSpPr>
        <p:spPr>
          <a:xfrm>
            <a:off x="37098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Channels</a:t>
            </a:r>
          </a:p>
        </p:txBody>
      </p:sp>
      <p:sp>
        <p:nvSpPr>
          <p:cNvPr id="7" name="Rectangle 6"/>
          <p:cNvSpPr/>
          <p:nvPr/>
        </p:nvSpPr>
        <p:spPr>
          <a:xfrm>
            <a:off x="5538652" y="1981200"/>
            <a:ext cx="1752600" cy="609600"/>
          </a:xfrm>
          <a:prstGeom prst="rect">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US" sz="1600" dirty="0"/>
              <a:t>Right </a:t>
            </a:r>
          </a:p>
          <a:p>
            <a:pPr algn="ctr"/>
            <a:r>
              <a:rPr lang="en-US" sz="1600" dirty="0"/>
              <a:t>Interventions</a:t>
            </a:r>
          </a:p>
        </p:txBody>
      </p:sp>
      <p:sp>
        <p:nvSpPr>
          <p:cNvPr id="8" name="Rectangle 7"/>
          <p:cNvSpPr/>
          <p:nvPr/>
        </p:nvSpPr>
        <p:spPr>
          <a:xfrm>
            <a:off x="73674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Point in Workflow</a:t>
            </a:r>
          </a:p>
        </p:txBody>
      </p:sp>
      <p:pic>
        <p:nvPicPr>
          <p:cNvPr id="14" name="Picture 13">
            <a:extLst>
              <a:ext uri="{FF2B5EF4-FFF2-40B4-BE49-F238E27FC236}">
                <a16:creationId xmlns:a16="http://schemas.microsoft.com/office/drawing/2014/main" id="{9175482C-52C5-48DF-93DD-E112914B8BC8}"/>
              </a:ext>
            </a:extLst>
          </p:cNvPr>
          <p:cNvPicPr>
            <a:picLocks noChangeAspect="1"/>
          </p:cNvPicPr>
          <p:nvPr/>
        </p:nvPicPr>
        <p:blipFill>
          <a:blip r:embed="rId2"/>
          <a:stretch>
            <a:fillRect/>
          </a:stretch>
        </p:blipFill>
        <p:spPr>
          <a:xfrm>
            <a:off x="1924914" y="4753171"/>
            <a:ext cx="6914286" cy="1571429"/>
          </a:xfrm>
          <a:prstGeom prst="rect">
            <a:avLst/>
          </a:prstGeom>
        </p:spPr>
      </p:pic>
      <p:pic>
        <p:nvPicPr>
          <p:cNvPr id="15" name="Picture 14">
            <a:extLst>
              <a:ext uri="{FF2B5EF4-FFF2-40B4-BE49-F238E27FC236}">
                <a16:creationId xmlns:a16="http://schemas.microsoft.com/office/drawing/2014/main" id="{28673CEA-1B0F-4EAC-B4EE-781283A9789E}"/>
              </a:ext>
            </a:extLst>
          </p:cNvPr>
          <p:cNvPicPr>
            <a:picLocks noChangeAspect="1"/>
          </p:cNvPicPr>
          <p:nvPr/>
        </p:nvPicPr>
        <p:blipFill>
          <a:blip r:embed="rId3"/>
          <a:stretch>
            <a:fillRect/>
          </a:stretch>
        </p:blipFill>
        <p:spPr>
          <a:xfrm>
            <a:off x="181271" y="2810029"/>
            <a:ext cx="6904762" cy="1228571"/>
          </a:xfrm>
          <a:prstGeom prst="rect">
            <a:avLst/>
          </a:prstGeom>
        </p:spPr>
      </p:pic>
      <p:sp>
        <p:nvSpPr>
          <p:cNvPr id="10" name="Rectangle 9">
            <a:extLst>
              <a:ext uri="{FF2B5EF4-FFF2-40B4-BE49-F238E27FC236}">
                <a16:creationId xmlns:a16="http://schemas.microsoft.com/office/drawing/2014/main" id="{198A18C8-FED3-4BE0-8E5A-3357D83D926F}"/>
              </a:ext>
            </a:extLst>
          </p:cNvPr>
          <p:cNvSpPr/>
          <p:nvPr/>
        </p:nvSpPr>
        <p:spPr>
          <a:xfrm>
            <a:off x="3633652" y="3419629"/>
            <a:ext cx="1828800" cy="161771"/>
          </a:xfrm>
          <a:prstGeom prst="rect">
            <a:avLst/>
          </a:prstGeom>
          <a:noFill/>
          <a:ln w="317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E1566E7-A87A-4574-8123-9F8FFA91FFD7}"/>
              </a:ext>
            </a:extLst>
          </p:cNvPr>
          <p:cNvSpPr/>
          <p:nvPr/>
        </p:nvSpPr>
        <p:spPr>
          <a:xfrm>
            <a:off x="1905000" y="4943629"/>
            <a:ext cx="1828800" cy="161771"/>
          </a:xfrm>
          <a:prstGeom prst="rect">
            <a:avLst/>
          </a:prstGeom>
          <a:noFill/>
          <a:ln w="317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16813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600882" y="1119110"/>
            <a:ext cx="8009718" cy="862090"/>
          </a:xfrm>
        </p:spPr>
        <p:txBody>
          <a:bodyPr>
            <a:normAutofit/>
          </a:bodyPr>
          <a:lstStyle/>
          <a:p>
            <a:pPr marL="86868" indent="0">
              <a:buNone/>
            </a:pPr>
            <a:r>
              <a:rPr lang="en-US" dirty="0"/>
              <a:t>The CDS Five Rights concept states that in order to provide benefits, CDS must provide:</a:t>
            </a:r>
          </a:p>
        </p:txBody>
      </p:sp>
      <p:sp>
        <p:nvSpPr>
          <p:cNvPr id="3" name="Title 2"/>
          <p:cNvSpPr>
            <a:spLocks noGrp="1"/>
          </p:cNvSpPr>
          <p:nvPr>
            <p:ph type="title"/>
          </p:nvPr>
        </p:nvSpPr>
        <p:spPr/>
        <p:txBody>
          <a:bodyPr/>
          <a:lstStyle/>
          <a:p>
            <a:r>
              <a:rPr lang="en-US" dirty="0"/>
              <a:t>The “CDS Five Rights”</a:t>
            </a:r>
          </a:p>
        </p:txBody>
      </p:sp>
      <p:sp>
        <p:nvSpPr>
          <p:cNvPr id="4" name="Rectangle 3"/>
          <p:cNvSpPr/>
          <p:nvPr/>
        </p:nvSpPr>
        <p:spPr>
          <a:xfrm>
            <a:off x="522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Information</a:t>
            </a:r>
          </a:p>
        </p:txBody>
      </p:sp>
      <p:sp>
        <p:nvSpPr>
          <p:cNvPr id="5" name="Rectangle 4"/>
          <p:cNvSpPr/>
          <p:nvPr/>
        </p:nvSpPr>
        <p:spPr>
          <a:xfrm>
            <a:off x="18810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People</a:t>
            </a:r>
          </a:p>
        </p:txBody>
      </p:sp>
      <p:sp>
        <p:nvSpPr>
          <p:cNvPr id="6" name="Rectangle 5"/>
          <p:cNvSpPr/>
          <p:nvPr/>
        </p:nvSpPr>
        <p:spPr>
          <a:xfrm>
            <a:off x="37098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Channels</a:t>
            </a:r>
          </a:p>
        </p:txBody>
      </p:sp>
      <p:sp>
        <p:nvSpPr>
          <p:cNvPr id="7" name="Rectangle 6"/>
          <p:cNvSpPr/>
          <p:nvPr/>
        </p:nvSpPr>
        <p:spPr>
          <a:xfrm>
            <a:off x="5538652" y="1981200"/>
            <a:ext cx="1752600" cy="609600"/>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dirty="0"/>
              <a:t>Right </a:t>
            </a:r>
          </a:p>
          <a:p>
            <a:pPr algn="ctr"/>
            <a:r>
              <a:rPr lang="en-US" sz="1600" dirty="0"/>
              <a:t>Interventions</a:t>
            </a:r>
          </a:p>
        </p:txBody>
      </p:sp>
      <p:sp>
        <p:nvSpPr>
          <p:cNvPr id="8" name="Rectangle 7"/>
          <p:cNvSpPr/>
          <p:nvPr/>
        </p:nvSpPr>
        <p:spPr>
          <a:xfrm>
            <a:off x="7367452" y="1981200"/>
            <a:ext cx="1752600" cy="609600"/>
          </a:xfrm>
          <a:prstGeom prst="rect">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US" sz="1600" dirty="0"/>
              <a:t>Right </a:t>
            </a:r>
          </a:p>
          <a:p>
            <a:pPr algn="ctr"/>
            <a:r>
              <a:rPr lang="en-US" sz="1600" dirty="0"/>
              <a:t>Point in Workflow</a:t>
            </a:r>
          </a:p>
        </p:txBody>
      </p:sp>
      <p:pic>
        <p:nvPicPr>
          <p:cNvPr id="9" name="Picture 8">
            <a:extLst>
              <a:ext uri="{FF2B5EF4-FFF2-40B4-BE49-F238E27FC236}">
                <a16:creationId xmlns:a16="http://schemas.microsoft.com/office/drawing/2014/main" id="{AE47362D-63EB-4F92-9438-1553B8FECFB0}"/>
              </a:ext>
            </a:extLst>
          </p:cNvPr>
          <p:cNvPicPr>
            <a:picLocks noChangeAspect="1"/>
          </p:cNvPicPr>
          <p:nvPr/>
        </p:nvPicPr>
        <p:blipFill>
          <a:blip r:embed="rId2"/>
          <a:stretch>
            <a:fillRect/>
          </a:stretch>
        </p:blipFill>
        <p:spPr>
          <a:xfrm>
            <a:off x="2133600" y="2674620"/>
            <a:ext cx="5562600" cy="4152900"/>
          </a:xfrm>
          <a:prstGeom prst="rect">
            <a:avLst/>
          </a:prstGeom>
        </p:spPr>
      </p:pic>
    </p:spTree>
    <p:extLst>
      <p:ext uri="{BB962C8B-B14F-4D97-AF65-F5344CB8AC3E}">
        <p14:creationId xmlns:p14="http://schemas.microsoft.com/office/powerpoint/2010/main" val="8771983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52400" y="1371600"/>
            <a:ext cx="8763000" cy="4708981"/>
          </a:xfrm>
          <a:prstGeom prst="rect">
            <a:avLst/>
          </a:prstGeom>
          <a:noFill/>
        </p:spPr>
        <p:txBody>
          <a:bodyPr wrap="square" rtlCol="0">
            <a:spAutoFit/>
          </a:bodyPr>
          <a:lstStyle/>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53565A"/>
                </a:solidFill>
                <a:effectLst/>
                <a:uLnTx/>
                <a:uFillTx/>
                <a:latin typeface="Gungsuh" panose="02030600000101010101" pitchFamily="18" charset="-127"/>
                <a:ea typeface="Gungsuh" panose="02030600000101010101" pitchFamily="18" charset="-127"/>
                <a:cs typeface="+mn-cs"/>
              </a:rPr>
              <a:t>Informatics Theory</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53565A"/>
                </a:solidFill>
                <a:effectLst/>
                <a:uLnTx/>
                <a:uFillTx/>
                <a:latin typeface="Gungsuh" panose="02030600000101010101" pitchFamily="18" charset="-127"/>
                <a:ea typeface="Gungsuh" panose="02030600000101010101" pitchFamily="18" charset="-127"/>
                <a:cs typeface="+mn-cs"/>
              </a:rPr>
              <a:t>Standardization</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53565A"/>
                </a:solidFill>
                <a:effectLst/>
                <a:uLnTx/>
                <a:uFillTx/>
                <a:latin typeface="Gungsuh" panose="02030600000101010101" pitchFamily="18" charset="-127"/>
                <a:ea typeface="Gungsuh" panose="02030600000101010101" pitchFamily="18" charset="-127"/>
                <a:cs typeface="+mn-cs"/>
              </a:rPr>
              <a:t>Individualization</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53565A"/>
                </a:solidFill>
                <a:effectLst/>
                <a:uLnTx/>
                <a:uFillTx/>
                <a:latin typeface="Gungsuh" panose="02030600000101010101" pitchFamily="18" charset="-127"/>
                <a:ea typeface="Gungsuh" panose="02030600000101010101" pitchFamily="18" charset="-127"/>
                <a:cs typeface="+mn-cs"/>
              </a:rPr>
              <a:t>Patient Centered Care</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53565A"/>
                </a:solidFill>
                <a:effectLst/>
                <a:uLnTx/>
                <a:uFillTx/>
                <a:latin typeface="Gungsuh" panose="02030600000101010101" pitchFamily="18" charset="-127"/>
                <a:ea typeface="Gungsuh" panose="02030600000101010101" pitchFamily="18" charset="-127"/>
                <a:cs typeface="+mn-cs"/>
              </a:rPr>
              <a:t>Interdisciplinary Plan of Care Process</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53565A"/>
                </a:solidFill>
                <a:effectLst/>
                <a:uLnTx/>
                <a:uFillTx/>
                <a:latin typeface="Gungsuh" panose="02030600000101010101" pitchFamily="18" charset="-127"/>
                <a:ea typeface="Gungsuh" panose="02030600000101010101" pitchFamily="18" charset="-127"/>
                <a:cs typeface="+mn-cs"/>
              </a:rPr>
              <a:t>Evidence Based Practice</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53565A"/>
                </a:solidFill>
                <a:effectLst/>
                <a:uLnTx/>
                <a:uFillTx/>
                <a:latin typeface="Gungsuh" panose="02030600000101010101" pitchFamily="18" charset="-127"/>
                <a:ea typeface="Gungsuh" panose="02030600000101010101" pitchFamily="18" charset="-127"/>
                <a:cs typeface="+mn-cs"/>
              </a:rPr>
              <a:t>Clinical Decision Support</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53565A"/>
                </a:solidFill>
                <a:effectLst/>
                <a:uLnTx/>
                <a:uFillTx/>
                <a:latin typeface="Gungsuh" panose="02030600000101010101" pitchFamily="18" charset="-127"/>
                <a:ea typeface="Gungsuh" panose="02030600000101010101" pitchFamily="18" charset="-127"/>
                <a:cs typeface="+mn-cs"/>
              </a:rPr>
              <a:t>Content</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53565A"/>
                </a:solidFill>
                <a:effectLst/>
                <a:uLnTx/>
                <a:uFillTx/>
                <a:latin typeface="Gungsuh" panose="02030600000101010101" pitchFamily="18" charset="-127"/>
                <a:ea typeface="Gungsuh" panose="02030600000101010101" pitchFamily="18" charset="-127"/>
                <a:cs typeface="+mn-cs"/>
              </a:rPr>
              <a:t>Practice</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lang="en-US" sz="2000" dirty="0">
                <a:solidFill>
                  <a:srgbClr val="53565A"/>
                </a:solidFill>
                <a:latin typeface="Gungsuh" panose="02030600000101010101" pitchFamily="18" charset="-127"/>
                <a:ea typeface="Gungsuh" panose="02030600000101010101" pitchFamily="18" charset="-127"/>
              </a:rPr>
              <a:t>Clinical Ownership</a:t>
            </a:r>
            <a:endParaRPr kumimoji="0" lang="en-US" sz="2000" b="0" i="0" u="none" strike="noStrike" kern="1200" cap="none" spc="0" normalizeH="0" baseline="0" noProof="0" dirty="0">
              <a:ln>
                <a:noFill/>
              </a:ln>
              <a:solidFill>
                <a:srgbClr val="53565A"/>
              </a:solidFill>
              <a:effectLst/>
              <a:uLnTx/>
              <a:uFillTx/>
              <a:latin typeface="Gungsuh" panose="02030600000101010101" pitchFamily="18" charset="-127"/>
              <a:ea typeface="Gungsuh" panose="02030600000101010101" pitchFamily="18" charset="-127"/>
              <a:cs typeface="+mn-cs"/>
            </a:endParaRPr>
          </a:p>
        </p:txBody>
      </p:sp>
      <p:sp>
        <p:nvSpPr>
          <p:cNvPr id="2" name="Title 1">
            <a:extLst>
              <a:ext uri="{FF2B5EF4-FFF2-40B4-BE49-F238E27FC236}">
                <a16:creationId xmlns:a16="http://schemas.microsoft.com/office/drawing/2014/main" id="{BFEF7DB9-9A82-435B-AD6A-9D7817CAB582}"/>
              </a:ext>
            </a:extLst>
          </p:cNvPr>
          <p:cNvSpPr>
            <a:spLocks noGrp="1"/>
          </p:cNvSpPr>
          <p:nvPr>
            <p:ph type="title"/>
          </p:nvPr>
        </p:nvSpPr>
        <p:spPr>
          <a:xfrm>
            <a:off x="304799" y="609600"/>
            <a:ext cx="8458201" cy="307777"/>
          </a:xfrm>
        </p:spPr>
        <p:txBody>
          <a:bodyPr/>
          <a:lstStyle/>
          <a:p>
            <a:r>
              <a:rPr lang="en-US" dirty="0"/>
              <a:t>What do you need</a:t>
            </a:r>
          </a:p>
        </p:txBody>
      </p:sp>
      <p:pic>
        <p:nvPicPr>
          <p:cNvPr id="4" name="Picture 3">
            <a:extLst>
              <a:ext uri="{FF2B5EF4-FFF2-40B4-BE49-F238E27FC236}">
                <a16:creationId xmlns:a16="http://schemas.microsoft.com/office/drawing/2014/main" id="{83DAEA2B-9F0B-41C4-9256-909C99F1A5A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1455345"/>
            <a:ext cx="381000" cy="373456"/>
          </a:xfrm>
          <a:prstGeom prst="rect">
            <a:avLst/>
          </a:prstGeom>
        </p:spPr>
      </p:pic>
      <p:pic>
        <p:nvPicPr>
          <p:cNvPr id="5" name="Picture 4">
            <a:extLst>
              <a:ext uri="{FF2B5EF4-FFF2-40B4-BE49-F238E27FC236}">
                <a16:creationId xmlns:a16="http://schemas.microsoft.com/office/drawing/2014/main" id="{0C28FE81-710F-4CC6-90FD-6DC6EDEA939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1905000"/>
            <a:ext cx="381000" cy="373456"/>
          </a:xfrm>
          <a:prstGeom prst="rect">
            <a:avLst/>
          </a:prstGeom>
        </p:spPr>
      </p:pic>
      <p:pic>
        <p:nvPicPr>
          <p:cNvPr id="6" name="Picture 5">
            <a:extLst>
              <a:ext uri="{FF2B5EF4-FFF2-40B4-BE49-F238E27FC236}">
                <a16:creationId xmlns:a16="http://schemas.microsoft.com/office/drawing/2014/main" id="{52EE8F2F-C2D1-46D1-8E1A-CBD32A34D56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2354655"/>
            <a:ext cx="381000" cy="373456"/>
          </a:xfrm>
          <a:prstGeom prst="rect">
            <a:avLst/>
          </a:prstGeom>
        </p:spPr>
      </p:pic>
      <p:pic>
        <p:nvPicPr>
          <p:cNvPr id="7" name="Picture 6">
            <a:extLst>
              <a:ext uri="{FF2B5EF4-FFF2-40B4-BE49-F238E27FC236}">
                <a16:creationId xmlns:a16="http://schemas.microsoft.com/office/drawing/2014/main" id="{E393234C-6ABC-4DEE-AB3B-749D001318F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2804310"/>
            <a:ext cx="381000" cy="373456"/>
          </a:xfrm>
          <a:prstGeom prst="rect">
            <a:avLst/>
          </a:prstGeom>
        </p:spPr>
      </p:pic>
      <p:pic>
        <p:nvPicPr>
          <p:cNvPr id="8" name="Picture 7">
            <a:extLst>
              <a:ext uri="{FF2B5EF4-FFF2-40B4-BE49-F238E27FC236}">
                <a16:creationId xmlns:a16="http://schemas.microsoft.com/office/drawing/2014/main" id="{9234708B-598C-41BD-ACF5-155E4B54A29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3253965"/>
            <a:ext cx="381000" cy="373456"/>
          </a:xfrm>
          <a:prstGeom prst="rect">
            <a:avLst/>
          </a:prstGeom>
        </p:spPr>
      </p:pic>
      <p:pic>
        <p:nvPicPr>
          <p:cNvPr id="9" name="Picture 8">
            <a:extLst>
              <a:ext uri="{FF2B5EF4-FFF2-40B4-BE49-F238E27FC236}">
                <a16:creationId xmlns:a16="http://schemas.microsoft.com/office/drawing/2014/main" id="{75E3DCB8-4418-4770-A3BF-A8911FB1D78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3703620"/>
            <a:ext cx="381000" cy="373456"/>
          </a:xfrm>
          <a:prstGeom prst="rect">
            <a:avLst/>
          </a:prstGeom>
        </p:spPr>
      </p:pic>
      <p:pic>
        <p:nvPicPr>
          <p:cNvPr id="10" name="Picture 9">
            <a:extLst>
              <a:ext uri="{FF2B5EF4-FFF2-40B4-BE49-F238E27FC236}">
                <a16:creationId xmlns:a16="http://schemas.microsoft.com/office/drawing/2014/main" id="{168B30C5-FCD0-4662-A510-3783AD8F4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4153275"/>
            <a:ext cx="381000" cy="373456"/>
          </a:xfrm>
          <a:prstGeom prst="rect">
            <a:avLst/>
          </a:prstGeom>
        </p:spPr>
      </p:pic>
      <p:pic>
        <p:nvPicPr>
          <p:cNvPr id="11" name="Picture 10">
            <a:extLst>
              <a:ext uri="{FF2B5EF4-FFF2-40B4-BE49-F238E27FC236}">
                <a16:creationId xmlns:a16="http://schemas.microsoft.com/office/drawing/2014/main" id="{4137D73D-7676-4709-8EC7-51D207F4790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4602930"/>
            <a:ext cx="381000" cy="373456"/>
          </a:xfrm>
          <a:prstGeom prst="rect">
            <a:avLst/>
          </a:prstGeom>
        </p:spPr>
      </p:pic>
      <p:pic>
        <p:nvPicPr>
          <p:cNvPr id="12" name="Picture 11">
            <a:extLst>
              <a:ext uri="{FF2B5EF4-FFF2-40B4-BE49-F238E27FC236}">
                <a16:creationId xmlns:a16="http://schemas.microsoft.com/office/drawing/2014/main" id="{8D06A28D-A7D6-4AD6-92C4-4952493258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5052585"/>
            <a:ext cx="381000" cy="373456"/>
          </a:xfrm>
          <a:prstGeom prst="rect">
            <a:avLst/>
          </a:prstGeom>
        </p:spPr>
      </p:pic>
      <p:pic>
        <p:nvPicPr>
          <p:cNvPr id="13" name="Picture 12">
            <a:extLst>
              <a:ext uri="{FF2B5EF4-FFF2-40B4-BE49-F238E27FC236}">
                <a16:creationId xmlns:a16="http://schemas.microsoft.com/office/drawing/2014/main" id="{F1696953-26E1-44CF-866A-1404A7A15D4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52400" y="5570144"/>
            <a:ext cx="381000" cy="373456"/>
          </a:xfrm>
          <a:prstGeom prst="rect">
            <a:avLst/>
          </a:prstGeom>
        </p:spPr>
      </p:pic>
    </p:spTree>
    <p:extLst>
      <p:ext uri="{BB962C8B-B14F-4D97-AF65-F5344CB8AC3E}">
        <p14:creationId xmlns:p14="http://schemas.microsoft.com/office/powerpoint/2010/main" val="2448834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sky, indoor, table, wall&#10;&#10;Description generated with very high confidence">
            <a:extLst>
              <a:ext uri="{FF2B5EF4-FFF2-40B4-BE49-F238E27FC236}">
                <a16:creationId xmlns:a16="http://schemas.microsoft.com/office/drawing/2014/main" id="{76324303-ECE9-4EF4-A8E8-E8EFADBFCE12}"/>
              </a:ext>
            </a:extLst>
          </p:cNvPr>
          <p:cNvPicPr>
            <a:picLocks noGrp="1" noChangeAspect="1"/>
          </p:cNvPicPr>
          <p:nvPr>
            <p:ph sz="half" idx="1"/>
          </p:nvPr>
        </p:nvPicPr>
        <p:blipFill>
          <a:blip r:embed="rId2"/>
          <a:stretch>
            <a:fillRect/>
          </a:stretch>
        </p:blipFill>
        <p:spPr>
          <a:xfrm>
            <a:off x="904684" y="1500188"/>
            <a:ext cx="7342570" cy="4897437"/>
          </a:xfrm>
        </p:spPr>
      </p:pic>
      <p:sp>
        <p:nvSpPr>
          <p:cNvPr id="3" name="Title 2">
            <a:extLst>
              <a:ext uri="{FF2B5EF4-FFF2-40B4-BE49-F238E27FC236}">
                <a16:creationId xmlns:a16="http://schemas.microsoft.com/office/drawing/2014/main" id="{2A1871AD-DFDA-4A40-8678-D1F30D9E069D}"/>
              </a:ext>
            </a:extLst>
          </p:cNvPr>
          <p:cNvSpPr>
            <a:spLocks noGrp="1"/>
          </p:cNvSpPr>
          <p:nvPr>
            <p:ph type="title"/>
          </p:nvPr>
        </p:nvSpPr>
        <p:spPr/>
        <p:txBody>
          <a:bodyPr/>
          <a:lstStyle/>
          <a:p>
            <a:r>
              <a:rPr lang="es-ES" b="1" dirty="0" err="1"/>
              <a:t>Transformation</a:t>
            </a:r>
            <a:r>
              <a:rPr lang="es-ES" b="1" dirty="0"/>
              <a:t> </a:t>
            </a:r>
            <a:r>
              <a:rPr lang="es-ES" b="1" dirty="0" err="1"/>
              <a:t>starts</a:t>
            </a:r>
            <a:r>
              <a:rPr lang="es-ES" b="1" dirty="0"/>
              <a:t> </a:t>
            </a:r>
            <a:r>
              <a:rPr lang="es-ES" b="1" dirty="0" err="1"/>
              <a:t>with</a:t>
            </a:r>
            <a:r>
              <a:rPr lang="es-ES" b="1" dirty="0"/>
              <a:t> </a:t>
            </a:r>
            <a:r>
              <a:rPr lang="es-ES" b="1" dirty="0" err="1"/>
              <a:t>each</a:t>
            </a:r>
            <a:r>
              <a:rPr lang="es-ES" b="1" dirty="0"/>
              <a:t> </a:t>
            </a:r>
            <a:r>
              <a:rPr lang="es-ES" b="1" dirty="0" err="1"/>
              <a:t>one</a:t>
            </a:r>
            <a:r>
              <a:rPr lang="es-ES" b="1" dirty="0"/>
              <a:t> </a:t>
            </a:r>
            <a:r>
              <a:rPr lang="es-ES" b="1" dirty="0" err="1"/>
              <a:t>of</a:t>
            </a:r>
            <a:r>
              <a:rPr lang="es-ES" b="1" dirty="0"/>
              <a:t> </a:t>
            </a:r>
            <a:r>
              <a:rPr lang="es-ES" b="1" dirty="0" err="1"/>
              <a:t>us</a:t>
            </a:r>
            <a:r>
              <a:rPr lang="es-ES" b="1" dirty="0"/>
              <a:t>…</a:t>
            </a:r>
            <a:endParaRPr lang="en-US" dirty="0"/>
          </a:p>
        </p:txBody>
      </p:sp>
    </p:spTree>
    <p:extLst>
      <p:ext uri="{BB962C8B-B14F-4D97-AF65-F5344CB8AC3E}">
        <p14:creationId xmlns:p14="http://schemas.microsoft.com/office/powerpoint/2010/main" val="26145165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bject 52"/>
          <p:cNvSpPr/>
          <p:nvPr/>
        </p:nvSpPr>
        <p:spPr>
          <a:xfrm>
            <a:off x="1" y="0"/>
            <a:ext cx="9143999" cy="5000625"/>
          </a:xfrm>
          <a:prstGeom prst="rect">
            <a:avLst/>
          </a:prstGeom>
          <a:blipFill>
            <a:blip r:embed="rId2" cstate="print"/>
            <a:stretch>
              <a:fillRect/>
            </a:stretch>
          </a:blip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object 53"/>
          <p:cNvSpPr/>
          <p:nvPr/>
        </p:nvSpPr>
        <p:spPr>
          <a:xfrm>
            <a:off x="4804172" y="4795242"/>
            <a:ext cx="4339828" cy="1089422"/>
          </a:xfrm>
          <a:custGeom>
            <a:avLst/>
            <a:gdLst/>
            <a:ahLst/>
            <a:cxnLst/>
            <a:rect l="l" t="t" r="r" b="b"/>
            <a:pathLst>
              <a:path w="6172200" h="1549400">
                <a:moveTo>
                  <a:pt x="0" y="1549400"/>
                </a:moveTo>
                <a:lnTo>
                  <a:pt x="6172200" y="1549400"/>
                </a:lnTo>
                <a:lnTo>
                  <a:pt x="6172200" y="0"/>
                </a:lnTo>
                <a:lnTo>
                  <a:pt x="0" y="0"/>
                </a:lnTo>
                <a:lnTo>
                  <a:pt x="0" y="1549400"/>
                </a:lnTo>
                <a:close/>
              </a:path>
            </a:pathLst>
          </a:custGeom>
          <a:solidFill>
            <a:srgbClr val="00779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54" name="object 54"/>
          <p:cNvSpPr/>
          <p:nvPr/>
        </p:nvSpPr>
        <p:spPr>
          <a:xfrm>
            <a:off x="8851375" y="5476895"/>
            <a:ext cx="31004" cy="0"/>
          </a:xfrm>
          <a:custGeom>
            <a:avLst/>
            <a:gdLst/>
            <a:ahLst/>
            <a:cxnLst/>
            <a:rect l="l" t="t" r="r" b="b"/>
            <a:pathLst>
              <a:path w="44094">
                <a:moveTo>
                  <a:pt x="0" y="0"/>
                </a:moveTo>
                <a:lnTo>
                  <a:pt x="44094"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55" name="object 55"/>
          <p:cNvSpPr/>
          <p:nvPr/>
        </p:nvSpPr>
        <p:spPr>
          <a:xfrm>
            <a:off x="8851375" y="5453634"/>
            <a:ext cx="31004" cy="0"/>
          </a:xfrm>
          <a:custGeom>
            <a:avLst/>
            <a:gdLst/>
            <a:ahLst/>
            <a:cxnLst/>
            <a:rect l="l" t="t" r="r" b="b"/>
            <a:pathLst>
              <a:path w="44094">
                <a:moveTo>
                  <a:pt x="0" y="0"/>
                </a:moveTo>
                <a:lnTo>
                  <a:pt x="44094"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56" name="object 56"/>
          <p:cNvSpPr/>
          <p:nvPr/>
        </p:nvSpPr>
        <p:spPr>
          <a:xfrm>
            <a:off x="8851375" y="5465262"/>
            <a:ext cx="31004" cy="0"/>
          </a:xfrm>
          <a:custGeom>
            <a:avLst/>
            <a:gdLst/>
            <a:ahLst/>
            <a:cxnLst/>
            <a:rect l="l" t="t" r="r" b="b"/>
            <a:pathLst>
              <a:path w="44094">
                <a:moveTo>
                  <a:pt x="0" y="0"/>
                </a:moveTo>
                <a:lnTo>
                  <a:pt x="44094" y="0"/>
                </a:lnTo>
              </a:path>
            </a:pathLst>
          </a:custGeom>
          <a:ln w="7861">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57" name="object 57"/>
          <p:cNvSpPr/>
          <p:nvPr/>
        </p:nvSpPr>
        <p:spPr>
          <a:xfrm>
            <a:off x="8851375" y="5442011"/>
            <a:ext cx="31004" cy="0"/>
          </a:xfrm>
          <a:custGeom>
            <a:avLst/>
            <a:gdLst/>
            <a:ahLst/>
            <a:cxnLst/>
            <a:rect l="l" t="t" r="r" b="b"/>
            <a:pathLst>
              <a:path w="44094">
                <a:moveTo>
                  <a:pt x="0" y="0"/>
                </a:moveTo>
                <a:lnTo>
                  <a:pt x="44094" y="0"/>
                </a:lnTo>
              </a:path>
            </a:pathLst>
          </a:custGeom>
          <a:ln w="7835">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58" name="object 58"/>
          <p:cNvSpPr/>
          <p:nvPr/>
        </p:nvSpPr>
        <p:spPr>
          <a:xfrm>
            <a:off x="8851375" y="5430393"/>
            <a:ext cx="31004" cy="0"/>
          </a:xfrm>
          <a:custGeom>
            <a:avLst/>
            <a:gdLst/>
            <a:ahLst/>
            <a:cxnLst/>
            <a:rect l="l" t="t" r="r" b="b"/>
            <a:pathLst>
              <a:path w="44094">
                <a:moveTo>
                  <a:pt x="0" y="0"/>
                </a:moveTo>
                <a:lnTo>
                  <a:pt x="44094" y="0"/>
                </a:lnTo>
              </a:path>
            </a:pathLst>
          </a:custGeom>
          <a:ln w="7823">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59" name="object 59"/>
          <p:cNvSpPr/>
          <p:nvPr/>
        </p:nvSpPr>
        <p:spPr>
          <a:xfrm>
            <a:off x="8851375" y="5500162"/>
            <a:ext cx="31004" cy="0"/>
          </a:xfrm>
          <a:custGeom>
            <a:avLst/>
            <a:gdLst/>
            <a:ahLst/>
            <a:cxnLst/>
            <a:rect l="l" t="t" r="r" b="b"/>
            <a:pathLst>
              <a:path w="44094">
                <a:moveTo>
                  <a:pt x="0" y="0"/>
                </a:moveTo>
                <a:lnTo>
                  <a:pt x="44094"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60" name="object 60"/>
          <p:cNvSpPr/>
          <p:nvPr/>
        </p:nvSpPr>
        <p:spPr>
          <a:xfrm>
            <a:off x="8851375" y="5488530"/>
            <a:ext cx="31004" cy="0"/>
          </a:xfrm>
          <a:custGeom>
            <a:avLst/>
            <a:gdLst/>
            <a:ahLst/>
            <a:cxnLst/>
            <a:rect l="l" t="t" r="r" b="b"/>
            <a:pathLst>
              <a:path w="44094">
                <a:moveTo>
                  <a:pt x="0" y="0"/>
                </a:moveTo>
                <a:lnTo>
                  <a:pt x="44094" y="0"/>
                </a:lnTo>
              </a:path>
            </a:pathLst>
          </a:custGeom>
          <a:ln w="7823">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61" name="object 61"/>
          <p:cNvSpPr/>
          <p:nvPr/>
        </p:nvSpPr>
        <p:spPr>
          <a:xfrm>
            <a:off x="8851375" y="5418758"/>
            <a:ext cx="31004" cy="0"/>
          </a:xfrm>
          <a:custGeom>
            <a:avLst/>
            <a:gdLst/>
            <a:ahLst/>
            <a:cxnLst/>
            <a:rect l="l" t="t" r="r" b="b"/>
            <a:pathLst>
              <a:path w="44094">
                <a:moveTo>
                  <a:pt x="0" y="0"/>
                </a:moveTo>
                <a:lnTo>
                  <a:pt x="44094"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62" name="object 62"/>
          <p:cNvSpPr/>
          <p:nvPr/>
        </p:nvSpPr>
        <p:spPr>
          <a:xfrm>
            <a:off x="8670181" y="5534991"/>
            <a:ext cx="30682" cy="0"/>
          </a:xfrm>
          <a:custGeom>
            <a:avLst/>
            <a:gdLst/>
            <a:ahLst/>
            <a:cxnLst/>
            <a:rect l="l" t="t" r="r" b="b"/>
            <a:pathLst>
              <a:path w="43637">
                <a:moveTo>
                  <a:pt x="0" y="0"/>
                </a:moveTo>
                <a:lnTo>
                  <a:pt x="43637" y="0"/>
                </a:lnTo>
              </a:path>
            </a:pathLst>
          </a:custGeom>
          <a:ln w="7797">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63" name="object 63"/>
          <p:cNvSpPr/>
          <p:nvPr/>
        </p:nvSpPr>
        <p:spPr>
          <a:xfrm>
            <a:off x="8851375" y="5383825"/>
            <a:ext cx="31004" cy="0"/>
          </a:xfrm>
          <a:custGeom>
            <a:avLst/>
            <a:gdLst/>
            <a:ahLst/>
            <a:cxnLst/>
            <a:rect l="l" t="t" r="r" b="b"/>
            <a:pathLst>
              <a:path w="44094">
                <a:moveTo>
                  <a:pt x="0" y="0"/>
                </a:moveTo>
                <a:lnTo>
                  <a:pt x="44094" y="0"/>
                </a:lnTo>
              </a:path>
            </a:pathLst>
          </a:custGeom>
          <a:ln w="795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64" name="object 64"/>
          <p:cNvSpPr/>
          <p:nvPr/>
        </p:nvSpPr>
        <p:spPr>
          <a:xfrm>
            <a:off x="8851375" y="5372144"/>
            <a:ext cx="31004" cy="0"/>
          </a:xfrm>
          <a:custGeom>
            <a:avLst/>
            <a:gdLst/>
            <a:ahLst/>
            <a:cxnLst/>
            <a:rect l="l" t="t" r="r" b="b"/>
            <a:pathLst>
              <a:path w="44094">
                <a:moveTo>
                  <a:pt x="0" y="0"/>
                </a:moveTo>
                <a:lnTo>
                  <a:pt x="44094" y="0"/>
                </a:lnTo>
              </a:path>
            </a:pathLst>
          </a:custGeom>
          <a:ln w="7861">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65" name="object 65"/>
          <p:cNvSpPr/>
          <p:nvPr/>
        </p:nvSpPr>
        <p:spPr>
          <a:xfrm>
            <a:off x="8851375" y="5395491"/>
            <a:ext cx="31004" cy="0"/>
          </a:xfrm>
          <a:custGeom>
            <a:avLst/>
            <a:gdLst/>
            <a:ahLst/>
            <a:cxnLst/>
            <a:rect l="l" t="t" r="r" b="b"/>
            <a:pathLst>
              <a:path w="44094">
                <a:moveTo>
                  <a:pt x="0" y="0"/>
                </a:moveTo>
                <a:lnTo>
                  <a:pt x="44094"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66" name="object 66"/>
          <p:cNvSpPr/>
          <p:nvPr/>
        </p:nvSpPr>
        <p:spPr>
          <a:xfrm>
            <a:off x="8851375" y="5407116"/>
            <a:ext cx="31004" cy="0"/>
          </a:xfrm>
          <a:custGeom>
            <a:avLst/>
            <a:gdLst/>
            <a:ahLst/>
            <a:cxnLst/>
            <a:rect l="l" t="t" r="r" b="b"/>
            <a:pathLst>
              <a:path w="44094">
                <a:moveTo>
                  <a:pt x="0" y="0"/>
                </a:moveTo>
                <a:lnTo>
                  <a:pt x="44094"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67" name="object 67"/>
          <p:cNvSpPr/>
          <p:nvPr/>
        </p:nvSpPr>
        <p:spPr>
          <a:xfrm>
            <a:off x="9033000" y="5476942"/>
            <a:ext cx="30700" cy="0"/>
          </a:xfrm>
          <a:custGeom>
            <a:avLst/>
            <a:gdLst/>
            <a:ahLst/>
            <a:cxnLst/>
            <a:rect l="l" t="t" r="r" b="b"/>
            <a:pathLst>
              <a:path w="43662">
                <a:moveTo>
                  <a:pt x="0" y="0"/>
                </a:moveTo>
                <a:lnTo>
                  <a:pt x="43662"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68" name="object 68"/>
          <p:cNvSpPr/>
          <p:nvPr/>
        </p:nvSpPr>
        <p:spPr>
          <a:xfrm>
            <a:off x="9033000" y="5442061"/>
            <a:ext cx="30700" cy="0"/>
          </a:xfrm>
          <a:custGeom>
            <a:avLst/>
            <a:gdLst/>
            <a:ahLst/>
            <a:cxnLst/>
            <a:rect l="l" t="t" r="r" b="b"/>
            <a:pathLst>
              <a:path w="43662">
                <a:moveTo>
                  <a:pt x="0" y="0"/>
                </a:moveTo>
                <a:lnTo>
                  <a:pt x="43662" y="0"/>
                </a:lnTo>
              </a:path>
            </a:pathLst>
          </a:custGeom>
          <a:ln w="7823">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69" name="object 69"/>
          <p:cNvSpPr/>
          <p:nvPr/>
        </p:nvSpPr>
        <p:spPr>
          <a:xfrm>
            <a:off x="9033000" y="5430443"/>
            <a:ext cx="30700" cy="0"/>
          </a:xfrm>
          <a:custGeom>
            <a:avLst/>
            <a:gdLst/>
            <a:ahLst/>
            <a:cxnLst/>
            <a:rect l="l" t="t" r="r" b="b"/>
            <a:pathLst>
              <a:path w="43662">
                <a:moveTo>
                  <a:pt x="0" y="0"/>
                </a:moveTo>
                <a:lnTo>
                  <a:pt x="43662" y="0"/>
                </a:lnTo>
              </a:path>
            </a:pathLst>
          </a:custGeom>
          <a:ln w="7823">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70" name="object 70"/>
          <p:cNvSpPr/>
          <p:nvPr/>
        </p:nvSpPr>
        <p:spPr>
          <a:xfrm>
            <a:off x="9033000" y="5453682"/>
            <a:ext cx="30700" cy="0"/>
          </a:xfrm>
          <a:custGeom>
            <a:avLst/>
            <a:gdLst/>
            <a:ahLst/>
            <a:cxnLst/>
            <a:rect l="l" t="t" r="r" b="b"/>
            <a:pathLst>
              <a:path w="43662">
                <a:moveTo>
                  <a:pt x="0" y="0"/>
                </a:moveTo>
                <a:lnTo>
                  <a:pt x="43662"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71" name="object 71"/>
          <p:cNvSpPr/>
          <p:nvPr/>
        </p:nvSpPr>
        <p:spPr>
          <a:xfrm>
            <a:off x="9033000" y="5418806"/>
            <a:ext cx="30700" cy="0"/>
          </a:xfrm>
          <a:custGeom>
            <a:avLst/>
            <a:gdLst/>
            <a:ahLst/>
            <a:cxnLst/>
            <a:rect l="l" t="t" r="r" b="b"/>
            <a:pathLst>
              <a:path w="43662">
                <a:moveTo>
                  <a:pt x="0" y="0"/>
                </a:moveTo>
                <a:lnTo>
                  <a:pt x="43662"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72" name="object 72"/>
          <p:cNvSpPr/>
          <p:nvPr/>
        </p:nvSpPr>
        <p:spPr>
          <a:xfrm>
            <a:off x="9033000" y="5465310"/>
            <a:ext cx="30700" cy="0"/>
          </a:xfrm>
          <a:custGeom>
            <a:avLst/>
            <a:gdLst/>
            <a:ahLst/>
            <a:cxnLst/>
            <a:rect l="l" t="t" r="r" b="b"/>
            <a:pathLst>
              <a:path w="43662">
                <a:moveTo>
                  <a:pt x="0" y="0"/>
                </a:moveTo>
                <a:lnTo>
                  <a:pt x="43662" y="0"/>
                </a:lnTo>
              </a:path>
            </a:pathLst>
          </a:custGeom>
          <a:ln w="7861">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73" name="object 73"/>
          <p:cNvSpPr/>
          <p:nvPr/>
        </p:nvSpPr>
        <p:spPr>
          <a:xfrm>
            <a:off x="8670181" y="5523386"/>
            <a:ext cx="30682" cy="0"/>
          </a:xfrm>
          <a:custGeom>
            <a:avLst/>
            <a:gdLst/>
            <a:ahLst/>
            <a:cxnLst/>
            <a:rect l="l" t="t" r="r" b="b"/>
            <a:pathLst>
              <a:path w="43637">
                <a:moveTo>
                  <a:pt x="0" y="0"/>
                </a:moveTo>
                <a:lnTo>
                  <a:pt x="43637" y="0"/>
                </a:lnTo>
              </a:path>
            </a:pathLst>
          </a:custGeom>
          <a:ln w="7861">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74" name="object 74"/>
          <p:cNvSpPr/>
          <p:nvPr/>
        </p:nvSpPr>
        <p:spPr>
          <a:xfrm>
            <a:off x="9033000" y="5383868"/>
            <a:ext cx="30700" cy="0"/>
          </a:xfrm>
          <a:custGeom>
            <a:avLst/>
            <a:gdLst/>
            <a:ahLst/>
            <a:cxnLst/>
            <a:rect l="l" t="t" r="r" b="b"/>
            <a:pathLst>
              <a:path w="43662">
                <a:moveTo>
                  <a:pt x="0" y="0"/>
                </a:moveTo>
                <a:lnTo>
                  <a:pt x="43662" y="0"/>
                </a:lnTo>
              </a:path>
            </a:pathLst>
          </a:custGeom>
          <a:ln w="7962">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75" name="object 75"/>
          <p:cNvSpPr/>
          <p:nvPr/>
        </p:nvSpPr>
        <p:spPr>
          <a:xfrm>
            <a:off x="8851375" y="5535034"/>
            <a:ext cx="31004" cy="0"/>
          </a:xfrm>
          <a:custGeom>
            <a:avLst/>
            <a:gdLst/>
            <a:ahLst/>
            <a:cxnLst/>
            <a:rect l="l" t="t" r="r" b="b"/>
            <a:pathLst>
              <a:path w="44094">
                <a:moveTo>
                  <a:pt x="0" y="0"/>
                </a:moveTo>
                <a:lnTo>
                  <a:pt x="44094" y="0"/>
                </a:lnTo>
              </a:path>
            </a:pathLst>
          </a:custGeom>
          <a:ln w="7797">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object 76"/>
          <p:cNvSpPr/>
          <p:nvPr/>
        </p:nvSpPr>
        <p:spPr>
          <a:xfrm>
            <a:off x="9032995" y="5372182"/>
            <a:ext cx="30700" cy="0"/>
          </a:xfrm>
          <a:custGeom>
            <a:avLst/>
            <a:gdLst/>
            <a:ahLst/>
            <a:cxnLst/>
            <a:rect l="l" t="t" r="r" b="b"/>
            <a:pathLst>
              <a:path w="43662">
                <a:moveTo>
                  <a:pt x="0" y="0"/>
                </a:moveTo>
                <a:lnTo>
                  <a:pt x="43662" y="0"/>
                </a:lnTo>
              </a:path>
            </a:pathLst>
          </a:custGeom>
          <a:ln w="7861">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77" name="object 77"/>
          <p:cNvSpPr/>
          <p:nvPr/>
        </p:nvSpPr>
        <p:spPr>
          <a:xfrm>
            <a:off x="8851375" y="5523433"/>
            <a:ext cx="31004" cy="0"/>
          </a:xfrm>
          <a:custGeom>
            <a:avLst/>
            <a:gdLst/>
            <a:ahLst/>
            <a:cxnLst/>
            <a:rect l="l" t="t" r="r" b="b"/>
            <a:pathLst>
              <a:path w="44094">
                <a:moveTo>
                  <a:pt x="0" y="0"/>
                </a:moveTo>
                <a:lnTo>
                  <a:pt x="44094" y="0"/>
                </a:lnTo>
              </a:path>
            </a:pathLst>
          </a:custGeom>
          <a:ln w="7861">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78" name="object 78"/>
          <p:cNvSpPr/>
          <p:nvPr/>
        </p:nvSpPr>
        <p:spPr>
          <a:xfrm>
            <a:off x="9033000" y="5395537"/>
            <a:ext cx="30700" cy="0"/>
          </a:xfrm>
          <a:custGeom>
            <a:avLst/>
            <a:gdLst/>
            <a:ahLst/>
            <a:cxnLst/>
            <a:rect l="l" t="t" r="r" b="b"/>
            <a:pathLst>
              <a:path w="43662">
                <a:moveTo>
                  <a:pt x="0" y="0"/>
                </a:moveTo>
                <a:lnTo>
                  <a:pt x="43662"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79" name="object 79"/>
          <p:cNvSpPr/>
          <p:nvPr/>
        </p:nvSpPr>
        <p:spPr>
          <a:xfrm>
            <a:off x="9033000" y="5407166"/>
            <a:ext cx="30700" cy="0"/>
          </a:xfrm>
          <a:custGeom>
            <a:avLst/>
            <a:gdLst/>
            <a:ahLst/>
            <a:cxnLst/>
            <a:rect l="l" t="t" r="r" b="b"/>
            <a:pathLst>
              <a:path w="43662">
                <a:moveTo>
                  <a:pt x="0" y="0"/>
                </a:moveTo>
                <a:lnTo>
                  <a:pt x="43662"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80" name="object 80"/>
          <p:cNvSpPr/>
          <p:nvPr/>
        </p:nvSpPr>
        <p:spPr>
          <a:xfrm>
            <a:off x="8851375" y="5511799"/>
            <a:ext cx="31004" cy="0"/>
          </a:xfrm>
          <a:custGeom>
            <a:avLst/>
            <a:gdLst/>
            <a:ahLst/>
            <a:cxnLst/>
            <a:rect l="l" t="t" r="r" b="b"/>
            <a:pathLst>
              <a:path w="44094">
                <a:moveTo>
                  <a:pt x="0" y="0"/>
                </a:moveTo>
                <a:lnTo>
                  <a:pt x="44094"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81" name="object 81"/>
          <p:cNvSpPr/>
          <p:nvPr/>
        </p:nvSpPr>
        <p:spPr>
          <a:xfrm>
            <a:off x="8670179" y="5372107"/>
            <a:ext cx="30682" cy="0"/>
          </a:xfrm>
          <a:custGeom>
            <a:avLst/>
            <a:gdLst/>
            <a:ahLst/>
            <a:cxnLst/>
            <a:rect l="l" t="t" r="r" b="b"/>
            <a:pathLst>
              <a:path w="43637">
                <a:moveTo>
                  <a:pt x="0" y="0"/>
                </a:moveTo>
                <a:lnTo>
                  <a:pt x="43637" y="0"/>
                </a:lnTo>
              </a:path>
            </a:pathLst>
          </a:custGeom>
          <a:ln w="7861">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82" name="object 82"/>
          <p:cNvSpPr/>
          <p:nvPr/>
        </p:nvSpPr>
        <p:spPr>
          <a:xfrm>
            <a:off x="8670181" y="5511753"/>
            <a:ext cx="30682" cy="0"/>
          </a:xfrm>
          <a:custGeom>
            <a:avLst/>
            <a:gdLst/>
            <a:ahLst/>
            <a:cxnLst/>
            <a:rect l="l" t="t" r="r" b="b"/>
            <a:pathLst>
              <a:path w="43637">
                <a:moveTo>
                  <a:pt x="0" y="0"/>
                </a:moveTo>
                <a:lnTo>
                  <a:pt x="43637"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83" name="object 83"/>
          <p:cNvSpPr/>
          <p:nvPr/>
        </p:nvSpPr>
        <p:spPr>
          <a:xfrm>
            <a:off x="8670181" y="5441965"/>
            <a:ext cx="30682" cy="0"/>
          </a:xfrm>
          <a:custGeom>
            <a:avLst/>
            <a:gdLst/>
            <a:ahLst/>
            <a:cxnLst/>
            <a:rect l="l" t="t" r="r" b="b"/>
            <a:pathLst>
              <a:path w="43637">
                <a:moveTo>
                  <a:pt x="0" y="0"/>
                </a:moveTo>
                <a:lnTo>
                  <a:pt x="43637" y="0"/>
                </a:lnTo>
              </a:path>
            </a:pathLst>
          </a:custGeom>
          <a:ln w="7835">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84" name="object 84"/>
          <p:cNvSpPr/>
          <p:nvPr/>
        </p:nvSpPr>
        <p:spPr>
          <a:xfrm>
            <a:off x="8670181" y="5476849"/>
            <a:ext cx="30682" cy="0"/>
          </a:xfrm>
          <a:custGeom>
            <a:avLst/>
            <a:gdLst/>
            <a:ahLst/>
            <a:cxnLst/>
            <a:rect l="l" t="t" r="r" b="b"/>
            <a:pathLst>
              <a:path w="43637">
                <a:moveTo>
                  <a:pt x="0" y="0"/>
                </a:moveTo>
                <a:lnTo>
                  <a:pt x="43637"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85" name="object 85"/>
          <p:cNvSpPr/>
          <p:nvPr/>
        </p:nvSpPr>
        <p:spPr>
          <a:xfrm>
            <a:off x="8670181" y="5453589"/>
            <a:ext cx="30682" cy="0"/>
          </a:xfrm>
          <a:custGeom>
            <a:avLst/>
            <a:gdLst/>
            <a:ahLst/>
            <a:cxnLst/>
            <a:rect l="l" t="t" r="r" b="b"/>
            <a:pathLst>
              <a:path w="43637">
                <a:moveTo>
                  <a:pt x="0" y="0"/>
                </a:moveTo>
                <a:lnTo>
                  <a:pt x="43637"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86" name="object 86"/>
          <p:cNvSpPr/>
          <p:nvPr/>
        </p:nvSpPr>
        <p:spPr>
          <a:xfrm>
            <a:off x="8670181" y="5465215"/>
            <a:ext cx="30682" cy="0"/>
          </a:xfrm>
          <a:custGeom>
            <a:avLst/>
            <a:gdLst/>
            <a:ahLst/>
            <a:cxnLst/>
            <a:rect l="l" t="t" r="r" b="b"/>
            <a:pathLst>
              <a:path w="43637">
                <a:moveTo>
                  <a:pt x="0" y="0"/>
                </a:moveTo>
                <a:lnTo>
                  <a:pt x="43637" y="0"/>
                </a:lnTo>
              </a:path>
            </a:pathLst>
          </a:custGeom>
          <a:ln w="7861">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87" name="object 87"/>
          <p:cNvSpPr/>
          <p:nvPr/>
        </p:nvSpPr>
        <p:spPr>
          <a:xfrm>
            <a:off x="8670181" y="5500116"/>
            <a:ext cx="30682" cy="0"/>
          </a:xfrm>
          <a:custGeom>
            <a:avLst/>
            <a:gdLst/>
            <a:ahLst/>
            <a:cxnLst/>
            <a:rect l="l" t="t" r="r" b="b"/>
            <a:pathLst>
              <a:path w="43637">
                <a:moveTo>
                  <a:pt x="0" y="0"/>
                </a:moveTo>
                <a:lnTo>
                  <a:pt x="43637"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88" name="object 88"/>
          <p:cNvSpPr/>
          <p:nvPr/>
        </p:nvSpPr>
        <p:spPr>
          <a:xfrm>
            <a:off x="9033000" y="5488578"/>
            <a:ext cx="30700" cy="0"/>
          </a:xfrm>
          <a:custGeom>
            <a:avLst/>
            <a:gdLst/>
            <a:ahLst/>
            <a:cxnLst/>
            <a:rect l="l" t="t" r="r" b="b"/>
            <a:pathLst>
              <a:path w="43662">
                <a:moveTo>
                  <a:pt x="0" y="0"/>
                </a:moveTo>
                <a:lnTo>
                  <a:pt x="43662" y="0"/>
                </a:lnTo>
              </a:path>
            </a:pathLst>
          </a:custGeom>
          <a:ln w="7823">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89" name="object 89"/>
          <p:cNvSpPr/>
          <p:nvPr/>
        </p:nvSpPr>
        <p:spPr>
          <a:xfrm>
            <a:off x="8670181" y="5395444"/>
            <a:ext cx="30682" cy="0"/>
          </a:xfrm>
          <a:custGeom>
            <a:avLst/>
            <a:gdLst/>
            <a:ahLst/>
            <a:cxnLst/>
            <a:rect l="l" t="t" r="r" b="b"/>
            <a:pathLst>
              <a:path w="43637">
                <a:moveTo>
                  <a:pt x="0" y="0"/>
                </a:moveTo>
                <a:lnTo>
                  <a:pt x="43637"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90" name="object 90"/>
          <p:cNvSpPr/>
          <p:nvPr/>
        </p:nvSpPr>
        <p:spPr>
          <a:xfrm>
            <a:off x="8670181" y="5430343"/>
            <a:ext cx="30682" cy="0"/>
          </a:xfrm>
          <a:custGeom>
            <a:avLst/>
            <a:gdLst/>
            <a:ahLst/>
            <a:cxnLst/>
            <a:rect l="l" t="t" r="r" b="b"/>
            <a:pathLst>
              <a:path w="43637">
                <a:moveTo>
                  <a:pt x="0" y="0"/>
                </a:moveTo>
                <a:lnTo>
                  <a:pt x="43637" y="0"/>
                </a:lnTo>
              </a:path>
            </a:pathLst>
          </a:custGeom>
          <a:ln w="7835">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91" name="object 91"/>
          <p:cNvSpPr/>
          <p:nvPr/>
        </p:nvSpPr>
        <p:spPr>
          <a:xfrm>
            <a:off x="8670181" y="5383782"/>
            <a:ext cx="30682" cy="0"/>
          </a:xfrm>
          <a:custGeom>
            <a:avLst/>
            <a:gdLst/>
            <a:ahLst/>
            <a:cxnLst/>
            <a:rect l="l" t="t" r="r" b="b"/>
            <a:pathLst>
              <a:path w="43637">
                <a:moveTo>
                  <a:pt x="0" y="0"/>
                </a:moveTo>
                <a:lnTo>
                  <a:pt x="43637" y="0"/>
                </a:lnTo>
              </a:path>
            </a:pathLst>
          </a:custGeom>
          <a:ln w="7937">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92" name="object 92"/>
          <p:cNvSpPr/>
          <p:nvPr/>
        </p:nvSpPr>
        <p:spPr>
          <a:xfrm>
            <a:off x="8670181" y="5407069"/>
            <a:ext cx="30682" cy="0"/>
          </a:xfrm>
          <a:custGeom>
            <a:avLst/>
            <a:gdLst/>
            <a:ahLst/>
            <a:cxnLst/>
            <a:rect l="l" t="t" r="r" b="b"/>
            <a:pathLst>
              <a:path w="43637">
                <a:moveTo>
                  <a:pt x="0" y="0"/>
                </a:moveTo>
                <a:lnTo>
                  <a:pt x="43637"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93" name="object 93"/>
          <p:cNvSpPr/>
          <p:nvPr/>
        </p:nvSpPr>
        <p:spPr>
          <a:xfrm>
            <a:off x="8670181" y="5418710"/>
            <a:ext cx="30682" cy="0"/>
          </a:xfrm>
          <a:custGeom>
            <a:avLst/>
            <a:gdLst/>
            <a:ahLst/>
            <a:cxnLst/>
            <a:rect l="l" t="t" r="r" b="b"/>
            <a:pathLst>
              <a:path w="43637">
                <a:moveTo>
                  <a:pt x="0" y="0"/>
                </a:moveTo>
                <a:lnTo>
                  <a:pt x="43637"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94" name="object 94"/>
          <p:cNvSpPr/>
          <p:nvPr/>
        </p:nvSpPr>
        <p:spPr>
          <a:xfrm>
            <a:off x="8670181" y="5488484"/>
            <a:ext cx="30682" cy="0"/>
          </a:xfrm>
          <a:custGeom>
            <a:avLst/>
            <a:gdLst/>
            <a:ahLst/>
            <a:cxnLst/>
            <a:rect l="l" t="t" r="r" b="b"/>
            <a:pathLst>
              <a:path w="43637">
                <a:moveTo>
                  <a:pt x="0" y="0"/>
                </a:moveTo>
                <a:lnTo>
                  <a:pt x="43637" y="0"/>
                </a:lnTo>
              </a:path>
            </a:pathLst>
          </a:custGeom>
          <a:ln w="7823">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95" name="object 95"/>
          <p:cNvSpPr/>
          <p:nvPr/>
        </p:nvSpPr>
        <p:spPr>
          <a:xfrm>
            <a:off x="9033000" y="5642223"/>
            <a:ext cx="30700" cy="0"/>
          </a:xfrm>
          <a:custGeom>
            <a:avLst/>
            <a:gdLst/>
            <a:ahLst/>
            <a:cxnLst/>
            <a:rect l="l" t="t" r="r" b="b"/>
            <a:pathLst>
              <a:path w="43662">
                <a:moveTo>
                  <a:pt x="0" y="0"/>
                </a:moveTo>
                <a:lnTo>
                  <a:pt x="43662" y="0"/>
                </a:lnTo>
              </a:path>
            </a:pathLst>
          </a:custGeom>
          <a:ln w="7861">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96" name="object 96"/>
          <p:cNvSpPr/>
          <p:nvPr/>
        </p:nvSpPr>
        <p:spPr>
          <a:xfrm>
            <a:off x="9033000" y="5665485"/>
            <a:ext cx="30700" cy="0"/>
          </a:xfrm>
          <a:custGeom>
            <a:avLst/>
            <a:gdLst/>
            <a:ahLst/>
            <a:cxnLst/>
            <a:rect l="l" t="t" r="r" b="b"/>
            <a:pathLst>
              <a:path w="43662">
                <a:moveTo>
                  <a:pt x="0" y="0"/>
                </a:moveTo>
                <a:lnTo>
                  <a:pt x="43662"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97" name="object 97"/>
          <p:cNvSpPr/>
          <p:nvPr/>
        </p:nvSpPr>
        <p:spPr>
          <a:xfrm>
            <a:off x="9033000" y="5630595"/>
            <a:ext cx="30700" cy="0"/>
          </a:xfrm>
          <a:custGeom>
            <a:avLst/>
            <a:gdLst/>
            <a:ahLst/>
            <a:cxnLst/>
            <a:rect l="l" t="t" r="r" b="b"/>
            <a:pathLst>
              <a:path w="43662">
                <a:moveTo>
                  <a:pt x="0" y="0"/>
                </a:moveTo>
                <a:lnTo>
                  <a:pt x="43662" y="0"/>
                </a:lnTo>
              </a:path>
            </a:pathLst>
          </a:custGeom>
          <a:ln w="7835">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98" name="object 98"/>
          <p:cNvSpPr/>
          <p:nvPr/>
        </p:nvSpPr>
        <p:spPr>
          <a:xfrm>
            <a:off x="9033000" y="5618961"/>
            <a:ext cx="30700" cy="0"/>
          </a:xfrm>
          <a:custGeom>
            <a:avLst/>
            <a:gdLst/>
            <a:ahLst/>
            <a:cxnLst/>
            <a:rect l="l" t="t" r="r" b="b"/>
            <a:pathLst>
              <a:path w="43662">
                <a:moveTo>
                  <a:pt x="0" y="0"/>
                </a:moveTo>
                <a:lnTo>
                  <a:pt x="43662"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99" name="object 99"/>
          <p:cNvSpPr/>
          <p:nvPr/>
        </p:nvSpPr>
        <p:spPr>
          <a:xfrm>
            <a:off x="9033000" y="5677116"/>
            <a:ext cx="30700" cy="0"/>
          </a:xfrm>
          <a:custGeom>
            <a:avLst/>
            <a:gdLst/>
            <a:ahLst/>
            <a:cxnLst/>
            <a:rect l="l" t="t" r="r" b="b"/>
            <a:pathLst>
              <a:path w="43662">
                <a:moveTo>
                  <a:pt x="0" y="0"/>
                </a:moveTo>
                <a:lnTo>
                  <a:pt x="43662" y="0"/>
                </a:lnTo>
              </a:path>
            </a:pathLst>
          </a:custGeom>
          <a:ln w="7835">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0" name="object 100"/>
          <p:cNvSpPr/>
          <p:nvPr/>
        </p:nvSpPr>
        <p:spPr>
          <a:xfrm>
            <a:off x="9033000" y="5653856"/>
            <a:ext cx="30700" cy="0"/>
          </a:xfrm>
          <a:custGeom>
            <a:avLst/>
            <a:gdLst/>
            <a:ahLst/>
            <a:cxnLst/>
            <a:rect l="l" t="t" r="r" b="b"/>
            <a:pathLst>
              <a:path w="43662">
                <a:moveTo>
                  <a:pt x="0" y="0"/>
                </a:moveTo>
                <a:lnTo>
                  <a:pt x="43662" y="0"/>
                </a:lnTo>
              </a:path>
            </a:pathLst>
          </a:custGeom>
          <a:ln w="7835">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1" name="object 101"/>
          <p:cNvSpPr/>
          <p:nvPr/>
        </p:nvSpPr>
        <p:spPr>
          <a:xfrm>
            <a:off x="7285354" y="5645565"/>
            <a:ext cx="1571" cy="1348"/>
          </a:xfrm>
          <a:custGeom>
            <a:avLst/>
            <a:gdLst/>
            <a:ahLst/>
            <a:cxnLst/>
            <a:rect l="l" t="t" r="r" b="b"/>
            <a:pathLst>
              <a:path w="2235" h="1917">
                <a:moveTo>
                  <a:pt x="2235" y="0"/>
                </a:moveTo>
                <a:lnTo>
                  <a:pt x="1485" y="635"/>
                </a:lnTo>
                <a:lnTo>
                  <a:pt x="749" y="1282"/>
                </a:lnTo>
                <a:lnTo>
                  <a:pt x="0" y="1917"/>
                </a:lnTo>
                <a:lnTo>
                  <a:pt x="749" y="1282"/>
                </a:lnTo>
                <a:lnTo>
                  <a:pt x="1485" y="635"/>
                </a:lnTo>
                <a:lnTo>
                  <a:pt x="2235"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2" name="object 102"/>
          <p:cNvSpPr/>
          <p:nvPr/>
        </p:nvSpPr>
        <p:spPr>
          <a:xfrm>
            <a:off x="7360451" y="5560350"/>
            <a:ext cx="107" cy="205"/>
          </a:xfrm>
          <a:custGeom>
            <a:avLst/>
            <a:gdLst/>
            <a:ahLst/>
            <a:cxnLst/>
            <a:rect l="l" t="t" r="r" b="b"/>
            <a:pathLst>
              <a:path w="152" h="292">
                <a:moveTo>
                  <a:pt x="152" y="0"/>
                </a:moveTo>
                <a:lnTo>
                  <a:pt x="0" y="292"/>
                </a:lnTo>
                <a:lnTo>
                  <a:pt x="152"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3" name="object 103"/>
          <p:cNvSpPr/>
          <p:nvPr/>
        </p:nvSpPr>
        <p:spPr>
          <a:xfrm>
            <a:off x="7408725" y="5376106"/>
            <a:ext cx="62" cy="500"/>
          </a:xfrm>
          <a:custGeom>
            <a:avLst/>
            <a:gdLst/>
            <a:ahLst/>
            <a:cxnLst/>
            <a:rect l="l" t="t" r="r" b="b"/>
            <a:pathLst>
              <a:path w="88" h="711">
                <a:moveTo>
                  <a:pt x="88" y="0"/>
                </a:moveTo>
                <a:lnTo>
                  <a:pt x="0" y="711"/>
                </a:lnTo>
                <a:lnTo>
                  <a:pt x="88"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4" name="object 104"/>
          <p:cNvSpPr/>
          <p:nvPr/>
        </p:nvSpPr>
        <p:spPr>
          <a:xfrm>
            <a:off x="7396188" y="5456671"/>
            <a:ext cx="143" cy="607"/>
          </a:xfrm>
          <a:custGeom>
            <a:avLst/>
            <a:gdLst/>
            <a:ahLst/>
            <a:cxnLst/>
            <a:rect l="l" t="t" r="r" b="b"/>
            <a:pathLst>
              <a:path w="203" h="863">
                <a:moveTo>
                  <a:pt x="203" y="0"/>
                </a:moveTo>
                <a:lnTo>
                  <a:pt x="76" y="571"/>
                </a:lnTo>
                <a:lnTo>
                  <a:pt x="0" y="863"/>
                </a:lnTo>
                <a:lnTo>
                  <a:pt x="139" y="279"/>
                </a:lnTo>
                <a:lnTo>
                  <a:pt x="203"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5" name="object 105"/>
          <p:cNvSpPr/>
          <p:nvPr/>
        </p:nvSpPr>
        <p:spPr>
          <a:xfrm>
            <a:off x="7400378" y="5435366"/>
            <a:ext cx="151" cy="830"/>
          </a:xfrm>
          <a:custGeom>
            <a:avLst/>
            <a:gdLst/>
            <a:ahLst/>
            <a:cxnLst/>
            <a:rect l="l" t="t" r="r" b="b"/>
            <a:pathLst>
              <a:path w="215" h="1181">
                <a:moveTo>
                  <a:pt x="215" y="0"/>
                </a:moveTo>
                <a:lnTo>
                  <a:pt x="88" y="787"/>
                </a:lnTo>
                <a:lnTo>
                  <a:pt x="0" y="1181"/>
                </a:lnTo>
                <a:lnTo>
                  <a:pt x="152" y="393"/>
                </a:lnTo>
                <a:lnTo>
                  <a:pt x="215"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6" name="object 106"/>
          <p:cNvSpPr/>
          <p:nvPr/>
        </p:nvSpPr>
        <p:spPr>
          <a:xfrm>
            <a:off x="7369803" y="5540502"/>
            <a:ext cx="321" cy="714"/>
          </a:xfrm>
          <a:custGeom>
            <a:avLst/>
            <a:gdLst/>
            <a:ahLst/>
            <a:cxnLst/>
            <a:rect l="l" t="t" r="r" b="b"/>
            <a:pathLst>
              <a:path w="457" h="1016">
                <a:moveTo>
                  <a:pt x="457" y="0"/>
                </a:moveTo>
                <a:lnTo>
                  <a:pt x="304" y="342"/>
                </a:lnTo>
                <a:lnTo>
                  <a:pt x="152" y="673"/>
                </a:lnTo>
                <a:lnTo>
                  <a:pt x="0" y="1015"/>
                </a:lnTo>
                <a:lnTo>
                  <a:pt x="152" y="673"/>
                </a:lnTo>
                <a:lnTo>
                  <a:pt x="304" y="342"/>
                </a:lnTo>
                <a:lnTo>
                  <a:pt x="457"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7" name="object 107"/>
          <p:cNvSpPr/>
          <p:nvPr/>
        </p:nvSpPr>
        <p:spPr>
          <a:xfrm>
            <a:off x="3811611" y="4873087"/>
            <a:ext cx="990963" cy="1027557"/>
          </a:xfrm>
          <a:custGeom>
            <a:avLst/>
            <a:gdLst/>
            <a:ahLst/>
            <a:cxnLst/>
            <a:rect l="l" t="t" r="r" b="b"/>
            <a:pathLst>
              <a:path w="1409369" h="1461414">
                <a:moveTo>
                  <a:pt x="1409369" y="0"/>
                </a:moveTo>
                <a:lnTo>
                  <a:pt x="1233841" y="43"/>
                </a:lnTo>
                <a:lnTo>
                  <a:pt x="1233841" y="1438686"/>
                </a:lnTo>
                <a:lnTo>
                  <a:pt x="1409369" y="1438686"/>
                </a:lnTo>
                <a:lnTo>
                  <a:pt x="1409369"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8" name="object 108"/>
          <p:cNvSpPr/>
          <p:nvPr/>
        </p:nvSpPr>
        <p:spPr>
          <a:xfrm>
            <a:off x="7734271" y="5481903"/>
            <a:ext cx="89" cy="2607"/>
          </a:xfrm>
          <a:custGeom>
            <a:avLst/>
            <a:gdLst/>
            <a:ahLst/>
            <a:cxnLst/>
            <a:rect l="l" t="t" r="r" b="b"/>
            <a:pathLst>
              <a:path w="126" h="3708">
                <a:moveTo>
                  <a:pt x="126" y="3708"/>
                </a:moveTo>
                <a:lnTo>
                  <a:pt x="0" y="0"/>
                </a:lnTo>
                <a:lnTo>
                  <a:pt x="126" y="3708"/>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09" name="object 109"/>
          <p:cNvSpPr/>
          <p:nvPr/>
        </p:nvSpPr>
        <p:spPr>
          <a:xfrm>
            <a:off x="7832448" y="5334716"/>
            <a:ext cx="2018600" cy="8921"/>
          </a:xfrm>
          <a:custGeom>
            <a:avLst/>
            <a:gdLst/>
            <a:ahLst/>
            <a:cxnLst/>
            <a:rect l="l" t="t" r="r" b="b"/>
            <a:pathLst>
              <a:path w="2870898" h="12687">
                <a:moveTo>
                  <a:pt x="1865317" y="379"/>
                </a:moveTo>
                <a:lnTo>
                  <a:pt x="12915" y="0"/>
                </a:lnTo>
                <a:lnTo>
                  <a:pt x="8509" y="2197"/>
                </a:lnTo>
                <a:lnTo>
                  <a:pt x="4178" y="4406"/>
                </a:lnTo>
                <a:lnTo>
                  <a:pt x="0" y="6603"/>
                </a:lnTo>
                <a:lnTo>
                  <a:pt x="1865317" y="6977"/>
                </a:lnTo>
                <a:lnTo>
                  <a:pt x="1865317" y="379"/>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0" name="object 110"/>
          <p:cNvSpPr/>
          <p:nvPr/>
        </p:nvSpPr>
        <p:spPr>
          <a:xfrm>
            <a:off x="9033000" y="5535080"/>
            <a:ext cx="30700" cy="0"/>
          </a:xfrm>
          <a:custGeom>
            <a:avLst/>
            <a:gdLst/>
            <a:ahLst/>
            <a:cxnLst/>
            <a:rect l="l" t="t" r="r" b="b"/>
            <a:pathLst>
              <a:path w="43662">
                <a:moveTo>
                  <a:pt x="0" y="0"/>
                </a:moveTo>
                <a:lnTo>
                  <a:pt x="43662" y="0"/>
                </a:lnTo>
              </a:path>
            </a:pathLst>
          </a:custGeom>
          <a:ln w="7797">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1" name="object 111"/>
          <p:cNvSpPr/>
          <p:nvPr/>
        </p:nvSpPr>
        <p:spPr>
          <a:xfrm>
            <a:off x="9033000" y="5523481"/>
            <a:ext cx="30700" cy="0"/>
          </a:xfrm>
          <a:custGeom>
            <a:avLst/>
            <a:gdLst/>
            <a:ahLst/>
            <a:cxnLst/>
            <a:rect l="l" t="t" r="r" b="b"/>
            <a:pathLst>
              <a:path w="43662">
                <a:moveTo>
                  <a:pt x="0" y="0"/>
                </a:moveTo>
                <a:lnTo>
                  <a:pt x="43662" y="0"/>
                </a:lnTo>
              </a:path>
            </a:pathLst>
          </a:custGeom>
          <a:ln w="7861">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2" name="object 112"/>
          <p:cNvSpPr/>
          <p:nvPr/>
        </p:nvSpPr>
        <p:spPr>
          <a:xfrm>
            <a:off x="9033000" y="5511847"/>
            <a:ext cx="30700" cy="0"/>
          </a:xfrm>
          <a:custGeom>
            <a:avLst/>
            <a:gdLst/>
            <a:ahLst/>
            <a:cxnLst/>
            <a:rect l="l" t="t" r="r" b="b"/>
            <a:pathLst>
              <a:path w="43662">
                <a:moveTo>
                  <a:pt x="0" y="0"/>
                </a:moveTo>
                <a:lnTo>
                  <a:pt x="43662"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3" name="object 113"/>
          <p:cNvSpPr/>
          <p:nvPr/>
        </p:nvSpPr>
        <p:spPr>
          <a:xfrm>
            <a:off x="7752506" y="5399846"/>
            <a:ext cx="2750" cy="3902"/>
          </a:xfrm>
          <a:custGeom>
            <a:avLst/>
            <a:gdLst/>
            <a:ahLst/>
            <a:cxnLst/>
            <a:rect l="l" t="t" r="r" b="b"/>
            <a:pathLst>
              <a:path w="3911" h="5549">
                <a:moveTo>
                  <a:pt x="1879" y="2781"/>
                </a:moveTo>
                <a:lnTo>
                  <a:pt x="0" y="5549"/>
                </a:lnTo>
                <a:lnTo>
                  <a:pt x="1905" y="2793"/>
                </a:lnTo>
                <a:lnTo>
                  <a:pt x="3911" y="0"/>
                </a:lnTo>
                <a:lnTo>
                  <a:pt x="1879" y="2781"/>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4" name="object 114"/>
          <p:cNvSpPr/>
          <p:nvPr/>
        </p:nvSpPr>
        <p:spPr>
          <a:xfrm>
            <a:off x="7745755" y="5410392"/>
            <a:ext cx="2518" cy="4518"/>
          </a:xfrm>
          <a:custGeom>
            <a:avLst/>
            <a:gdLst/>
            <a:ahLst/>
            <a:cxnLst/>
            <a:rect l="l" t="t" r="r" b="b"/>
            <a:pathLst>
              <a:path w="3581" h="6426">
                <a:moveTo>
                  <a:pt x="0" y="6426"/>
                </a:moveTo>
                <a:lnTo>
                  <a:pt x="1117" y="4305"/>
                </a:lnTo>
                <a:lnTo>
                  <a:pt x="2311" y="2159"/>
                </a:lnTo>
                <a:lnTo>
                  <a:pt x="3581" y="0"/>
                </a:lnTo>
                <a:lnTo>
                  <a:pt x="2311" y="2159"/>
                </a:lnTo>
                <a:lnTo>
                  <a:pt x="1117" y="4305"/>
                </a:lnTo>
                <a:lnTo>
                  <a:pt x="0" y="6426"/>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5" name="object 115"/>
          <p:cNvSpPr/>
          <p:nvPr/>
        </p:nvSpPr>
        <p:spPr>
          <a:xfrm>
            <a:off x="7760857" y="5388916"/>
            <a:ext cx="3509" cy="3947"/>
          </a:xfrm>
          <a:custGeom>
            <a:avLst/>
            <a:gdLst/>
            <a:ahLst/>
            <a:cxnLst/>
            <a:rect l="l" t="t" r="r" b="b"/>
            <a:pathLst>
              <a:path w="4991" h="5613">
                <a:moveTo>
                  <a:pt x="2387" y="2819"/>
                </a:moveTo>
                <a:lnTo>
                  <a:pt x="0" y="5613"/>
                </a:lnTo>
                <a:lnTo>
                  <a:pt x="2387" y="2832"/>
                </a:lnTo>
                <a:lnTo>
                  <a:pt x="4991" y="0"/>
                </a:lnTo>
                <a:lnTo>
                  <a:pt x="2387" y="2819"/>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6" name="object 116"/>
          <p:cNvSpPr/>
          <p:nvPr/>
        </p:nvSpPr>
        <p:spPr>
          <a:xfrm>
            <a:off x="7740912" y="5421614"/>
            <a:ext cx="1616" cy="3911"/>
          </a:xfrm>
          <a:custGeom>
            <a:avLst/>
            <a:gdLst/>
            <a:ahLst/>
            <a:cxnLst/>
            <a:rect l="l" t="t" r="r" b="b"/>
            <a:pathLst>
              <a:path w="2298" h="5562">
                <a:moveTo>
                  <a:pt x="1092" y="2793"/>
                </a:moveTo>
                <a:lnTo>
                  <a:pt x="0" y="5562"/>
                </a:lnTo>
                <a:lnTo>
                  <a:pt x="1092" y="2806"/>
                </a:lnTo>
                <a:lnTo>
                  <a:pt x="2298" y="0"/>
                </a:lnTo>
                <a:lnTo>
                  <a:pt x="1092" y="2793"/>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7" name="object 117"/>
          <p:cNvSpPr/>
          <p:nvPr/>
        </p:nvSpPr>
        <p:spPr>
          <a:xfrm>
            <a:off x="7735450" y="5444099"/>
            <a:ext cx="643" cy="6242"/>
          </a:xfrm>
          <a:custGeom>
            <a:avLst/>
            <a:gdLst/>
            <a:ahLst/>
            <a:cxnLst/>
            <a:rect l="l" t="t" r="r" b="b"/>
            <a:pathLst>
              <a:path w="914" h="8877">
                <a:moveTo>
                  <a:pt x="482" y="3047"/>
                </a:moveTo>
                <a:lnTo>
                  <a:pt x="342" y="4527"/>
                </a:lnTo>
                <a:lnTo>
                  <a:pt x="482" y="3060"/>
                </a:lnTo>
                <a:lnTo>
                  <a:pt x="914" y="0"/>
                </a:lnTo>
                <a:lnTo>
                  <a:pt x="482" y="3047"/>
                </a:lnTo>
                <a:close/>
              </a:path>
              <a:path w="914" h="8877">
                <a:moveTo>
                  <a:pt x="203" y="5994"/>
                </a:moveTo>
                <a:lnTo>
                  <a:pt x="0" y="8877"/>
                </a:lnTo>
                <a:lnTo>
                  <a:pt x="203" y="6007"/>
                </a:lnTo>
                <a:lnTo>
                  <a:pt x="342" y="4527"/>
                </a:lnTo>
                <a:lnTo>
                  <a:pt x="203" y="5994"/>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8" name="object 118"/>
          <p:cNvSpPr/>
          <p:nvPr/>
        </p:nvSpPr>
        <p:spPr>
          <a:xfrm>
            <a:off x="9033000" y="5500209"/>
            <a:ext cx="30700" cy="0"/>
          </a:xfrm>
          <a:custGeom>
            <a:avLst/>
            <a:gdLst/>
            <a:ahLst/>
            <a:cxnLst/>
            <a:rect l="l" t="t" r="r" b="b"/>
            <a:pathLst>
              <a:path w="43662">
                <a:moveTo>
                  <a:pt x="0" y="0"/>
                </a:moveTo>
                <a:lnTo>
                  <a:pt x="43662" y="0"/>
                </a:lnTo>
              </a:path>
            </a:pathLst>
          </a:custGeom>
          <a:ln w="7874">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19" name="object 119"/>
          <p:cNvSpPr/>
          <p:nvPr/>
        </p:nvSpPr>
        <p:spPr>
          <a:xfrm>
            <a:off x="7737050" y="5433264"/>
            <a:ext cx="1357" cy="5572"/>
          </a:xfrm>
          <a:custGeom>
            <a:avLst/>
            <a:gdLst/>
            <a:ahLst/>
            <a:cxnLst/>
            <a:rect l="l" t="t" r="r" b="b"/>
            <a:pathLst>
              <a:path w="1930" h="7924">
                <a:moveTo>
                  <a:pt x="0" y="7924"/>
                </a:moveTo>
                <a:lnTo>
                  <a:pt x="520" y="5333"/>
                </a:lnTo>
                <a:lnTo>
                  <a:pt x="1181" y="2692"/>
                </a:lnTo>
                <a:lnTo>
                  <a:pt x="1930" y="0"/>
                </a:lnTo>
                <a:lnTo>
                  <a:pt x="1181" y="2692"/>
                </a:lnTo>
                <a:lnTo>
                  <a:pt x="520" y="5333"/>
                </a:lnTo>
                <a:lnTo>
                  <a:pt x="0" y="7924"/>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0" name="object 120"/>
          <p:cNvSpPr/>
          <p:nvPr/>
        </p:nvSpPr>
        <p:spPr>
          <a:xfrm>
            <a:off x="7843118" y="5330227"/>
            <a:ext cx="7581" cy="3679"/>
          </a:xfrm>
          <a:custGeom>
            <a:avLst/>
            <a:gdLst/>
            <a:ahLst/>
            <a:cxnLst/>
            <a:rect l="l" t="t" r="r" b="b"/>
            <a:pathLst>
              <a:path w="10782" h="5232">
                <a:moveTo>
                  <a:pt x="5295" y="2616"/>
                </a:moveTo>
                <a:lnTo>
                  <a:pt x="0" y="5232"/>
                </a:lnTo>
                <a:lnTo>
                  <a:pt x="5321" y="2616"/>
                </a:lnTo>
                <a:lnTo>
                  <a:pt x="10782" y="0"/>
                </a:lnTo>
                <a:lnTo>
                  <a:pt x="5295" y="2616"/>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1" name="object 121"/>
          <p:cNvSpPr/>
          <p:nvPr/>
        </p:nvSpPr>
        <p:spPr>
          <a:xfrm>
            <a:off x="7821574" y="5340722"/>
            <a:ext cx="8366" cy="4634"/>
          </a:xfrm>
          <a:custGeom>
            <a:avLst/>
            <a:gdLst/>
            <a:ahLst/>
            <a:cxnLst/>
            <a:rect l="l" t="t" r="r" b="b"/>
            <a:pathLst>
              <a:path w="11899" h="6591">
                <a:moveTo>
                  <a:pt x="0" y="6591"/>
                </a:moveTo>
                <a:lnTo>
                  <a:pt x="3822" y="4406"/>
                </a:lnTo>
                <a:lnTo>
                  <a:pt x="7835" y="2209"/>
                </a:lnTo>
                <a:lnTo>
                  <a:pt x="11899" y="0"/>
                </a:lnTo>
                <a:lnTo>
                  <a:pt x="7835" y="2197"/>
                </a:lnTo>
                <a:lnTo>
                  <a:pt x="3822" y="4394"/>
                </a:lnTo>
                <a:lnTo>
                  <a:pt x="0" y="6591"/>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2" name="object 122"/>
          <p:cNvSpPr/>
          <p:nvPr/>
        </p:nvSpPr>
        <p:spPr>
          <a:xfrm>
            <a:off x="7867755" y="5316246"/>
            <a:ext cx="15198" cy="6295"/>
          </a:xfrm>
          <a:custGeom>
            <a:avLst/>
            <a:gdLst/>
            <a:ahLst/>
            <a:cxnLst/>
            <a:rect l="l" t="t" r="r" b="b"/>
            <a:pathLst>
              <a:path w="21615" h="8953">
                <a:moveTo>
                  <a:pt x="0" y="8953"/>
                </a:moveTo>
                <a:lnTo>
                  <a:pt x="6959" y="5968"/>
                </a:lnTo>
                <a:lnTo>
                  <a:pt x="14147" y="2984"/>
                </a:lnTo>
                <a:lnTo>
                  <a:pt x="21615" y="0"/>
                </a:lnTo>
                <a:lnTo>
                  <a:pt x="14135" y="2984"/>
                </a:lnTo>
                <a:lnTo>
                  <a:pt x="6972" y="5956"/>
                </a:lnTo>
                <a:lnTo>
                  <a:pt x="0" y="8953"/>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3" name="object 123"/>
          <p:cNvSpPr/>
          <p:nvPr/>
        </p:nvSpPr>
        <p:spPr>
          <a:xfrm>
            <a:off x="7773406" y="5375459"/>
            <a:ext cx="4893" cy="4411"/>
          </a:xfrm>
          <a:custGeom>
            <a:avLst/>
            <a:gdLst/>
            <a:ahLst/>
            <a:cxnLst/>
            <a:rect l="l" t="t" r="r" b="b"/>
            <a:pathLst>
              <a:path w="6959" h="6273">
                <a:moveTo>
                  <a:pt x="0" y="6273"/>
                </a:moveTo>
                <a:lnTo>
                  <a:pt x="2235" y="4190"/>
                </a:lnTo>
                <a:lnTo>
                  <a:pt x="4546" y="2095"/>
                </a:lnTo>
                <a:lnTo>
                  <a:pt x="6959" y="0"/>
                </a:lnTo>
                <a:lnTo>
                  <a:pt x="4546" y="2095"/>
                </a:lnTo>
                <a:lnTo>
                  <a:pt x="2247" y="4190"/>
                </a:lnTo>
                <a:lnTo>
                  <a:pt x="0" y="6273"/>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4" name="object 124"/>
          <p:cNvSpPr/>
          <p:nvPr/>
        </p:nvSpPr>
        <p:spPr>
          <a:xfrm>
            <a:off x="7786924" y="5365575"/>
            <a:ext cx="3616" cy="2777"/>
          </a:xfrm>
          <a:custGeom>
            <a:avLst/>
            <a:gdLst/>
            <a:ahLst/>
            <a:cxnLst/>
            <a:rect l="l" t="t" r="r" b="b"/>
            <a:pathLst>
              <a:path w="5143" h="3949">
                <a:moveTo>
                  <a:pt x="2514" y="1968"/>
                </a:moveTo>
                <a:lnTo>
                  <a:pt x="0" y="3949"/>
                </a:lnTo>
                <a:lnTo>
                  <a:pt x="2540" y="1981"/>
                </a:lnTo>
                <a:lnTo>
                  <a:pt x="5143" y="0"/>
                </a:lnTo>
                <a:lnTo>
                  <a:pt x="2514" y="1968"/>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5" name="object 125"/>
          <p:cNvSpPr/>
          <p:nvPr/>
        </p:nvSpPr>
        <p:spPr>
          <a:xfrm>
            <a:off x="7802948" y="5353895"/>
            <a:ext cx="4492" cy="2919"/>
          </a:xfrm>
          <a:custGeom>
            <a:avLst/>
            <a:gdLst/>
            <a:ahLst/>
            <a:cxnLst/>
            <a:rect l="l" t="t" r="r" b="b"/>
            <a:pathLst>
              <a:path w="6388" h="4152">
                <a:moveTo>
                  <a:pt x="3124" y="2070"/>
                </a:moveTo>
                <a:lnTo>
                  <a:pt x="0" y="4152"/>
                </a:lnTo>
                <a:lnTo>
                  <a:pt x="3124" y="2082"/>
                </a:lnTo>
                <a:lnTo>
                  <a:pt x="6388" y="0"/>
                </a:lnTo>
                <a:lnTo>
                  <a:pt x="3124" y="207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6" name="object 126"/>
          <p:cNvSpPr/>
          <p:nvPr/>
        </p:nvSpPr>
        <p:spPr>
          <a:xfrm>
            <a:off x="7994030" y="5679471"/>
            <a:ext cx="23717" cy="6375"/>
          </a:xfrm>
          <a:custGeom>
            <a:avLst/>
            <a:gdLst/>
            <a:ahLst/>
            <a:cxnLst/>
            <a:rect l="l" t="t" r="r" b="b"/>
            <a:pathLst>
              <a:path w="33731" h="9067">
                <a:moveTo>
                  <a:pt x="16824" y="4589"/>
                </a:moveTo>
                <a:lnTo>
                  <a:pt x="10701" y="2937"/>
                </a:lnTo>
                <a:lnTo>
                  <a:pt x="12234" y="3358"/>
                </a:lnTo>
                <a:lnTo>
                  <a:pt x="16824" y="4589"/>
                </a:lnTo>
                <a:close/>
              </a:path>
              <a:path w="33731" h="9067">
                <a:moveTo>
                  <a:pt x="22965" y="6234"/>
                </a:moveTo>
                <a:lnTo>
                  <a:pt x="16824" y="4589"/>
                </a:lnTo>
                <a:lnTo>
                  <a:pt x="21435" y="5832"/>
                </a:lnTo>
                <a:lnTo>
                  <a:pt x="22965" y="6234"/>
                </a:lnTo>
                <a:close/>
              </a:path>
              <a:path w="33731" h="9067">
                <a:moveTo>
                  <a:pt x="33731" y="9067"/>
                </a:moveTo>
                <a:lnTo>
                  <a:pt x="22965" y="6234"/>
                </a:lnTo>
                <a:lnTo>
                  <a:pt x="24502" y="6646"/>
                </a:lnTo>
                <a:lnTo>
                  <a:pt x="33731" y="9067"/>
                </a:lnTo>
                <a:close/>
              </a:path>
              <a:path w="33731" h="9067">
                <a:moveTo>
                  <a:pt x="10701" y="2937"/>
                </a:moveTo>
                <a:lnTo>
                  <a:pt x="0" y="0"/>
                </a:lnTo>
                <a:lnTo>
                  <a:pt x="9176" y="2526"/>
                </a:lnTo>
                <a:lnTo>
                  <a:pt x="10701" y="2937"/>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7" name="object 127"/>
          <p:cNvSpPr/>
          <p:nvPr/>
        </p:nvSpPr>
        <p:spPr>
          <a:xfrm>
            <a:off x="7734943" y="5492057"/>
            <a:ext cx="276" cy="2357"/>
          </a:xfrm>
          <a:custGeom>
            <a:avLst/>
            <a:gdLst/>
            <a:ahLst/>
            <a:cxnLst/>
            <a:rect l="l" t="t" r="r" b="b"/>
            <a:pathLst>
              <a:path w="393" h="3352">
                <a:moveTo>
                  <a:pt x="393" y="3352"/>
                </a:moveTo>
                <a:lnTo>
                  <a:pt x="266" y="2235"/>
                </a:lnTo>
                <a:lnTo>
                  <a:pt x="114" y="1104"/>
                </a:lnTo>
                <a:lnTo>
                  <a:pt x="0" y="0"/>
                </a:lnTo>
                <a:lnTo>
                  <a:pt x="114" y="1104"/>
                </a:lnTo>
                <a:lnTo>
                  <a:pt x="266" y="2235"/>
                </a:lnTo>
                <a:lnTo>
                  <a:pt x="393" y="3352"/>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8" name="object 128"/>
          <p:cNvSpPr/>
          <p:nvPr/>
        </p:nvSpPr>
        <p:spPr>
          <a:xfrm>
            <a:off x="7817328" y="5610283"/>
            <a:ext cx="4045" cy="2357"/>
          </a:xfrm>
          <a:custGeom>
            <a:avLst/>
            <a:gdLst/>
            <a:ahLst/>
            <a:cxnLst/>
            <a:rect l="l" t="t" r="r" b="b"/>
            <a:pathLst>
              <a:path w="5753" h="3352">
                <a:moveTo>
                  <a:pt x="5753" y="3352"/>
                </a:moveTo>
                <a:lnTo>
                  <a:pt x="3848" y="2235"/>
                </a:lnTo>
                <a:lnTo>
                  <a:pt x="1879" y="1130"/>
                </a:lnTo>
                <a:lnTo>
                  <a:pt x="0" y="0"/>
                </a:lnTo>
                <a:lnTo>
                  <a:pt x="1879" y="1130"/>
                </a:lnTo>
                <a:lnTo>
                  <a:pt x="3848" y="2235"/>
                </a:lnTo>
                <a:lnTo>
                  <a:pt x="5753" y="3352"/>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29" name="object 129"/>
          <p:cNvSpPr/>
          <p:nvPr/>
        </p:nvSpPr>
        <p:spPr>
          <a:xfrm>
            <a:off x="7895376" y="5305039"/>
            <a:ext cx="17653" cy="6384"/>
          </a:xfrm>
          <a:custGeom>
            <a:avLst/>
            <a:gdLst/>
            <a:ahLst/>
            <a:cxnLst/>
            <a:rect l="l" t="t" r="r" b="b"/>
            <a:pathLst>
              <a:path w="25107" h="9080">
                <a:moveTo>
                  <a:pt x="5886" y="6907"/>
                </a:moveTo>
                <a:lnTo>
                  <a:pt x="1179" y="8637"/>
                </a:lnTo>
                <a:lnTo>
                  <a:pt x="0" y="9080"/>
                </a:lnTo>
                <a:lnTo>
                  <a:pt x="5886" y="6907"/>
                </a:lnTo>
                <a:close/>
              </a:path>
              <a:path w="25107" h="9080">
                <a:moveTo>
                  <a:pt x="12501" y="4475"/>
                </a:moveTo>
                <a:lnTo>
                  <a:pt x="11723" y="4751"/>
                </a:lnTo>
                <a:lnTo>
                  <a:pt x="5886" y="6907"/>
                </a:lnTo>
                <a:lnTo>
                  <a:pt x="12501" y="4475"/>
                </a:lnTo>
                <a:close/>
              </a:path>
              <a:path w="25107" h="9080">
                <a:moveTo>
                  <a:pt x="17757" y="2605"/>
                </a:moveTo>
                <a:lnTo>
                  <a:pt x="12951" y="4309"/>
                </a:lnTo>
                <a:lnTo>
                  <a:pt x="12501" y="4475"/>
                </a:lnTo>
                <a:lnTo>
                  <a:pt x="17757" y="2605"/>
                </a:lnTo>
                <a:close/>
              </a:path>
              <a:path w="25107" h="9080">
                <a:moveTo>
                  <a:pt x="25107" y="0"/>
                </a:moveTo>
                <a:lnTo>
                  <a:pt x="23848" y="439"/>
                </a:lnTo>
                <a:lnTo>
                  <a:pt x="17757" y="2605"/>
                </a:lnTo>
                <a:lnTo>
                  <a:pt x="25107"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0" name="object 130"/>
          <p:cNvSpPr/>
          <p:nvPr/>
        </p:nvSpPr>
        <p:spPr>
          <a:xfrm>
            <a:off x="7845334" y="5625528"/>
            <a:ext cx="3920" cy="1965"/>
          </a:xfrm>
          <a:custGeom>
            <a:avLst/>
            <a:gdLst/>
            <a:ahLst/>
            <a:cxnLst/>
            <a:rect l="l" t="t" r="r" b="b"/>
            <a:pathLst>
              <a:path w="5575" h="2794">
                <a:moveTo>
                  <a:pt x="2730" y="1409"/>
                </a:moveTo>
                <a:lnTo>
                  <a:pt x="0" y="0"/>
                </a:lnTo>
                <a:lnTo>
                  <a:pt x="2705" y="1422"/>
                </a:lnTo>
                <a:lnTo>
                  <a:pt x="5575" y="2793"/>
                </a:lnTo>
                <a:lnTo>
                  <a:pt x="2730" y="1409"/>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1" name="object 131"/>
          <p:cNvSpPr/>
          <p:nvPr/>
        </p:nvSpPr>
        <p:spPr>
          <a:xfrm>
            <a:off x="7893333" y="5646544"/>
            <a:ext cx="9224" cy="3554"/>
          </a:xfrm>
          <a:custGeom>
            <a:avLst/>
            <a:gdLst/>
            <a:ahLst/>
            <a:cxnLst/>
            <a:rect l="l" t="t" r="r" b="b"/>
            <a:pathLst>
              <a:path w="13119" h="5054">
                <a:moveTo>
                  <a:pt x="0" y="0"/>
                </a:moveTo>
                <a:lnTo>
                  <a:pt x="4330" y="1701"/>
                </a:lnTo>
                <a:lnTo>
                  <a:pt x="8674" y="3390"/>
                </a:lnTo>
                <a:lnTo>
                  <a:pt x="13119" y="5054"/>
                </a:lnTo>
                <a:lnTo>
                  <a:pt x="8699" y="3390"/>
                </a:lnTo>
                <a:lnTo>
                  <a:pt x="4343" y="1701"/>
                </a:lnTo>
                <a:lnTo>
                  <a:pt x="0"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2" name="object 132"/>
          <p:cNvSpPr/>
          <p:nvPr/>
        </p:nvSpPr>
        <p:spPr>
          <a:xfrm>
            <a:off x="7924984" y="5658140"/>
            <a:ext cx="12760" cy="4340"/>
          </a:xfrm>
          <a:custGeom>
            <a:avLst/>
            <a:gdLst/>
            <a:ahLst/>
            <a:cxnLst/>
            <a:rect l="l" t="t" r="r" b="b"/>
            <a:pathLst>
              <a:path w="18148" h="6172">
                <a:moveTo>
                  <a:pt x="18148" y="6172"/>
                </a:moveTo>
                <a:lnTo>
                  <a:pt x="12026" y="4152"/>
                </a:lnTo>
                <a:lnTo>
                  <a:pt x="6007" y="2070"/>
                </a:lnTo>
                <a:lnTo>
                  <a:pt x="0" y="0"/>
                </a:lnTo>
                <a:lnTo>
                  <a:pt x="6007" y="2070"/>
                </a:lnTo>
                <a:lnTo>
                  <a:pt x="12026" y="4152"/>
                </a:lnTo>
                <a:lnTo>
                  <a:pt x="18148" y="6172"/>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3" name="object 133"/>
          <p:cNvSpPr/>
          <p:nvPr/>
        </p:nvSpPr>
        <p:spPr>
          <a:xfrm>
            <a:off x="7864619" y="5634630"/>
            <a:ext cx="4536" cy="1965"/>
          </a:xfrm>
          <a:custGeom>
            <a:avLst/>
            <a:gdLst/>
            <a:ahLst/>
            <a:cxnLst/>
            <a:rect l="l" t="t" r="r" b="b"/>
            <a:pathLst>
              <a:path w="6451" h="2794">
                <a:moveTo>
                  <a:pt x="3238" y="1384"/>
                </a:moveTo>
                <a:lnTo>
                  <a:pt x="0" y="0"/>
                </a:lnTo>
                <a:lnTo>
                  <a:pt x="3238" y="1396"/>
                </a:lnTo>
                <a:lnTo>
                  <a:pt x="6451" y="2793"/>
                </a:lnTo>
                <a:lnTo>
                  <a:pt x="3238" y="1384"/>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4" name="object 134"/>
          <p:cNvSpPr/>
          <p:nvPr/>
        </p:nvSpPr>
        <p:spPr>
          <a:xfrm>
            <a:off x="7736372" y="5502585"/>
            <a:ext cx="124" cy="679"/>
          </a:xfrm>
          <a:custGeom>
            <a:avLst/>
            <a:gdLst/>
            <a:ahLst/>
            <a:cxnLst/>
            <a:rect l="l" t="t" r="r" b="b"/>
            <a:pathLst>
              <a:path w="177" h="965">
                <a:moveTo>
                  <a:pt x="177" y="965"/>
                </a:moveTo>
                <a:lnTo>
                  <a:pt x="50" y="317"/>
                </a:lnTo>
                <a:lnTo>
                  <a:pt x="0" y="0"/>
                </a:lnTo>
                <a:lnTo>
                  <a:pt x="139" y="647"/>
                </a:lnTo>
                <a:lnTo>
                  <a:pt x="177" y="965"/>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5" name="object 135"/>
          <p:cNvSpPr/>
          <p:nvPr/>
        </p:nvSpPr>
        <p:spPr>
          <a:xfrm>
            <a:off x="9032995" y="5314023"/>
            <a:ext cx="30700" cy="0"/>
          </a:xfrm>
          <a:custGeom>
            <a:avLst/>
            <a:gdLst/>
            <a:ahLst/>
            <a:cxnLst/>
            <a:rect l="l" t="t" r="r" b="b"/>
            <a:pathLst>
              <a:path w="43662">
                <a:moveTo>
                  <a:pt x="0" y="0"/>
                </a:moveTo>
                <a:lnTo>
                  <a:pt x="43662" y="0"/>
                </a:lnTo>
              </a:path>
            </a:pathLst>
          </a:custGeom>
          <a:ln w="7835">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6" name="object 136"/>
          <p:cNvSpPr/>
          <p:nvPr/>
        </p:nvSpPr>
        <p:spPr>
          <a:xfrm>
            <a:off x="9032995" y="5302398"/>
            <a:ext cx="30700" cy="0"/>
          </a:xfrm>
          <a:custGeom>
            <a:avLst/>
            <a:gdLst/>
            <a:ahLst/>
            <a:cxnLst/>
            <a:rect l="l" t="t" r="r" b="b"/>
            <a:pathLst>
              <a:path w="43662">
                <a:moveTo>
                  <a:pt x="0" y="0"/>
                </a:moveTo>
                <a:lnTo>
                  <a:pt x="43662" y="0"/>
                </a:lnTo>
              </a:path>
            </a:pathLst>
          </a:custGeom>
          <a:ln w="7835">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7" name="object 137"/>
          <p:cNvSpPr/>
          <p:nvPr/>
        </p:nvSpPr>
        <p:spPr>
          <a:xfrm>
            <a:off x="8851375" y="5313991"/>
            <a:ext cx="31004" cy="0"/>
          </a:xfrm>
          <a:custGeom>
            <a:avLst/>
            <a:gdLst/>
            <a:ahLst/>
            <a:cxnLst/>
            <a:rect l="l" t="t" r="r" b="b"/>
            <a:pathLst>
              <a:path w="44094">
                <a:moveTo>
                  <a:pt x="0" y="0"/>
                </a:moveTo>
                <a:lnTo>
                  <a:pt x="44094"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8" name="object 138"/>
          <p:cNvSpPr/>
          <p:nvPr/>
        </p:nvSpPr>
        <p:spPr>
          <a:xfrm>
            <a:off x="7932455" y="5293838"/>
            <a:ext cx="14930" cy="4697"/>
          </a:xfrm>
          <a:custGeom>
            <a:avLst/>
            <a:gdLst/>
            <a:ahLst/>
            <a:cxnLst/>
            <a:rect l="l" t="t" r="r" b="b"/>
            <a:pathLst>
              <a:path w="21234" h="6680">
                <a:moveTo>
                  <a:pt x="0" y="6680"/>
                </a:moveTo>
                <a:lnTo>
                  <a:pt x="6934" y="4445"/>
                </a:lnTo>
                <a:lnTo>
                  <a:pt x="13970" y="2222"/>
                </a:lnTo>
                <a:lnTo>
                  <a:pt x="21234" y="0"/>
                </a:lnTo>
                <a:lnTo>
                  <a:pt x="13970" y="2222"/>
                </a:lnTo>
                <a:lnTo>
                  <a:pt x="6934" y="4445"/>
                </a:lnTo>
                <a:lnTo>
                  <a:pt x="0" y="668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39" name="object 139"/>
          <p:cNvSpPr/>
          <p:nvPr/>
        </p:nvSpPr>
        <p:spPr>
          <a:xfrm>
            <a:off x="8670179" y="5313955"/>
            <a:ext cx="30682" cy="0"/>
          </a:xfrm>
          <a:custGeom>
            <a:avLst/>
            <a:gdLst/>
            <a:ahLst/>
            <a:cxnLst/>
            <a:rect l="l" t="t" r="r" b="b"/>
            <a:pathLst>
              <a:path w="43637">
                <a:moveTo>
                  <a:pt x="0" y="0"/>
                </a:moveTo>
                <a:lnTo>
                  <a:pt x="43637"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0" name="object 140"/>
          <p:cNvSpPr/>
          <p:nvPr/>
        </p:nvSpPr>
        <p:spPr>
          <a:xfrm>
            <a:off x="8851375" y="5302360"/>
            <a:ext cx="31004" cy="0"/>
          </a:xfrm>
          <a:custGeom>
            <a:avLst/>
            <a:gdLst/>
            <a:ahLst/>
            <a:cxnLst/>
            <a:rect l="l" t="t" r="r" b="b"/>
            <a:pathLst>
              <a:path w="44094">
                <a:moveTo>
                  <a:pt x="0" y="0"/>
                </a:moveTo>
                <a:lnTo>
                  <a:pt x="44094" y="0"/>
                </a:lnTo>
              </a:path>
            </a:pathLst>
          </a:custGeom>
          <a:ln w="7835">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1" name="object 141"/>
          <p:cNvSpPr/>
          <p:nvPr/>
        </p:nvSpPr>
        <p:spPr>
          <a:xfrm>
            <a:off x="8670179" y="5302325"/>
            <a:ext cx="30682" cy="0"/>
          </a:xfrm>
          <a:custGeom>
            <a:avLst/>
            <a:gdLst/>
            <a:ahLst/>
            <a:cxnLst/>
            <a:rect l="l" t="t" r="r" b="b"/>
            <a:pathLst>
              <a:path w="43637">
                <a:moveTo>
                  <a:pt x="0" y="0"/>
                </a:moveTo>
                <a:lnTo>
                  <a:pt x="43637"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2" name="object 142"/>
          <p:cNvSpPr/>
          <p:nvPr/>
        </p:nvSpPr>
        <p:spPr>
          <a:xfrm>
            <a:off x="8488774" y="5313919"/>
            <a:ext cx="30709" cy="0"/>
          </a:xfrm>
          <a:custGeom>
            <a:avLst/>
            <a:gdLst/>
            <a:ahLst/>
            <a:cxnLst/>
            <a:rect l="l" t="t" r="r" b="b"/>
            <a:pathLst>
              <a:path w="43675">
                <a:moveTo>
                  <a:pt x="0" y="0"/>
                </a:moveTo>
                <a:lnTo>
                  <a:pt x="43675"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3" name="object 143"/>
          <p:cNvSpPr/>
          <p:nvPr/>
        </p:nvSpPr>
        <p:spPr>
          <a:xfrm>
            <a:off x="8488774" y="5302287"/>
            <a:ext cx="30709" cy="0"/>
          </a:xfrm>
          <a:custGeom>
            <a:avLst/>
            <a:gdLst/>
            <a:ahLst/>
            <a:cxnLst/>
            <a:rect l="l" t="t" r="r" b="b"/>
            <a:pathLst>
              <a:path w="43675">
                <a:moveTo>
                  <a:pt x="0" y="0"/>
                </a:moveTo>
                <a:lnTo>
                  <a:pt x="43675" y="0"/>
                </a:lnTo>
              </a:path>
            </a:pathLst>
          </a:custGeom>
          <a:ln w="7848">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4" name="object 144"/>
          <p:cNvSpPr/>
          <p:nvPr/>
        </p:nvSpPr>
        <p:spPr>
          <a:xfrm>
            <a:off x="7734206" y="5468523"/>
            <a:ext cx="63" cy="2746"/>
          </a:xfrm>
          <a:custGeom>
            <a:avLst/>
            <a:gdLst/>
            <a:ahLst/>
            <a:cxnLst/>
            <a:rect l="l" t="t" r="r" b="b"/>
            <a:pathLst>
              <a:path w="89" h="3906">
                <a:moveTo>
                  <a:pt x="89" y="0"/>
                </a:moveTo>
                <a:lnTo>
                  <a:pt x="0" y="3906"/>
                </a:lnTo>
                <a:lnTo>
                  <a:pt x="89"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5" name="object 145"/>
          <p:cNvSpPr/>
          <p:nvPr/>
        </p:nvSpPr>
        <p:spPr>
          <a:xfrm>
            <a:off x="7734618" y="5455702"/>
            <a:ext cx="478" cy="6294"/>
          </a:xfrm>
          <a:custGeom>
            <a:avLst/>
            <a:gdLst/>
            <a:ahLst/>
            <a:cxnLst/>
            <a:rect l="l" t="t" r="r" b="b"/>
            <a:pathLst>
              <a:path w="680" h="8951">
                <a:moveTo>
                  <a:pt x="393" y="3033"/>
                </a:moveTo>
                <a:lnTo>
                  <a:pt x="0" y="8951"/>
                </a:lnTo>
                <a:lnTo>
                  <a:pt x="228" y="5624"/>
                </a:lnTo>
                <a:lnTo>
                  <a:pt x="469" y="2512"/>
                </a:lnTo>
                <a:lnTo>
                  <a:pt x="680" y="0"/>
                </a:lnTo>
                <a:lnTo>
                  <a:pt x="393" y="3033"/>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6" name="object 146"/>
          <p:cNvSpPr/>
          <p:nvPr/>
        </p:nvSpPr>
        <p:spPr>
          <a:xfrm>
            <a:off x="7735096" y="5455657"/>
            <a:ext cx="4" cy="46"/>
          </a:xfrm>
          <a:custGeom>
            <a:avLst/>
            <a:gdLst/>
            <a:ahLst/>
            <a:cxnLst/>
            <a:rect l="l" t="t" r="r" b="b"/>
            <a:pathLst>
              <a:path w="6" h="65">
                <a:moveTo>
                  <a:pt x="6" y="0"/>
                </a:moveTo>
                <a:lnTo>
                  <a:pt x="0" y="65"/>
                </a:lnTo>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7" name="object 147"/>
          <p:cNvSpPr/>
          <p:nvPr/>
        </p:nvSpPr>
        <p:spPr>
          <a:xfrm>
            <a:off x="8882378" y="5616593"/>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8" name="object 148"/>
          <p:cNvSpPr/>
          <p:nvPr/>
        </p:nvSpPr>
        <p:spPr>
          <a:xfrm>
            <a:off x="8882378" y="5628239"/>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49" name="object 149"/>
          <p:cNvSpPr/>
          <p:nvPr/>
        </p:nvSpPr>
        <p:spPr>
          <a:xfrm>
            <a:off x="7776562" y="5578955"/>
            <a:ext cx="1993508" cy="30878"/>
          </a:xfrm>
          <a:custGeom>
            <a:avLst/>
            <a:gdLst/>
            <a:ahLst/>
            <a:cxnLst/>
            <a:rect l="l" t="t" r="r" b="b"/>
            <a:pathLst>
              <a:path w="2835211" h="43916">
                <a:moveTo>
                  <a:pt x="1830590" y="8915"/>
                </a:moveTo>
                <a:lnTo>
                  <a:pt x="1944800" y="8915"/>
                </a:lnTo>
                <a:lnTo>
                  <a:pt x="1944800" y="462"/>
                </a:lnTo>
                <a:lnTo>
                  <a:pt x="0" y="0"/>
                </a:lnTo>
                <a:lnTo>
                  <a:pt x="8580" y="8267"/>
                </a:lnTo>
                <a:lnTo>
                  <a:pt x="38950" y="32391"/>
                </a:lnTo>
                <a:lnTo>
                  <a:pt x="1572717" y="43586"/>
                </a:lnTo>
                <a:lnTo>
                  <a:pt x="1572717" y="8915"/>
                </a:lnTo>
                <a:lnTo>
                  <a:pt x="1786928" y="8915"/>
                </a:lnTo>
                <a:lnTo>
                  <a:pt x="1786928" y="43649"/>
                </a:lnTo>
                <a:lnTo>
                  <a:pt x="1830590" y="43649"/>
                </a:lnTo>
                <a:lnTo>
                  <a:pt x="1830590" y="8915"/>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0" name="object 150"/>
          <p:cNvSpPr/>
          <p:nvPr/>
        </p:nvSpPr>
        <p:spPr>
          <a:xfrm>
            <a:off x="7961955" y="5670142"/>
            <a:ext cx="2467" cy="748"/>
          </a:xfrm>
          <a:custGeom>
            <a:avLst/>
            <a:gdLst/>
            <a:ahLst/>
            <a:cxnLst/>
            <a:rect l="l" t="t" r="r" b="b"/>
            <a:pathLst>
              <a:path w="3508" h="1064">
                <a:moveTo>
                  <a:pt x="3508" y="1064"/>
                </a:moveTo>
                <a:lnTo>
                  <a:pt x="0" y="0"/>
                </a:lnTo>
                <a:lnTo>
                  <a:pt x="1561" y="480"/>
                </a:lnTo>
                <a:lnTo>
                  <a:pt x="3508" y="1064"/>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1" name="object 151"/>
          <p:cNvSpPr/>
          <p:nvPr/>
        </p:nvSpPr>
        <p:spPr>
          <a:xfrm>
            <a:off x="7964422" y="5670890"/>
            <a:ext cx="6626" cy="1985"/>
          </a:xfrm>
          <a:custGeom>
            <a:avLst/>
            <a:gdLst/>
            <a:ahLst/>
            <a:cxnLst/>
            <a:rect l="l" t="t" r="r" b="b"/>
            <a:pathLst>
              <a:path w="9423" h="2823">
                <a:moveTo>
                  <a:pt x="9423" y="2823"/>
                </a:moveTo>
                <a:lnTo>
                  <a:pt x="0" y="0"/>
                </a:lnTo>
                <a:lnTo>
                  <a:pt x="5098" y="1546"/>
                </a:lnTo>
                <a:lnTo>
                  <a:pt x="9423" y="2823"/>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2" name="object 152"/>
          <p:cNvSpPr/>
          <p:nvPr/>
        </p:nvSpPr>
        <p:spPr>
          <a:xfrm>
            <a:off x="7971048" y="5672875"/>
            <a:ext cx="1259" cy="371"/>
          </a:xfrm>
          <a:custGeom>
            <a:avLst/>
            <a:gdLst/>
            <a:ahLst/>
            <a:cxnLst/>
            <a:rect l="l" t="t" r="r" b="b"/>
            <a:pathLst>
              <a:path w="1790" h="528">
                <a:moveTo>
                  <a:pt x="1790" y="528"/>
                </a:moveTo>
                <a:lnTo>
                  <a:pt x="0" y="0"/>
                </a:lnTo>
                <a:lnTo>
                  <a:pt x="763" y="228"/>
                </a:lnTo>
                <a:lnTo>
                  <a:pt x="1790" y="528"/>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3" name="object 153"/>
          <p:cNvSpPr/>
          <p:nvPr/>
        </p:nvSpPr>
        <p:spPr>
          <a:xfrm>
            <a:off x="7972308" y="5673247"/>
            <a:ext cx="4345" cy="1268"/>
          </a:xfrm>
          <a:custGeom>
            <a:avLst/>
            <a:gdLst/>
            <a:ahLst/>
            <a:cxnLst/>
            <a:rect l="l" t="t" r="r" b="b"/>
            <a:pathLst>
              <a:path w="6179" h="1804">
                <a:moveTo>
                  <a:pt x="6179" y="1804"/>
                </a:moveTo>
                <a:lnTo>
                  <a:pt x="0" y="0"/>
                </a:lnTo>
                <a:lnTo>
                  <a:pt x="6111" y="1804"/>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4" name="object 154"/>
          <p:cNvSpPr/>
          <p:nvPr/>
        </p:nvSpPr>
        <p:spPr>
          <a:xfrm>
            <a:off x="7954584" y="5667873"/>
            <a:ext cx="7371" cy="2269"/>
          </a:xfrm>
          <a:custGeom>
            <a:avLst/>
            <a:gdLst/>
            <a:ahLst/>
            <a:cxnLst/>
            <a:rect l="l" t="t" r="r" b="b"/>
            <a:pathLst>
              <a:path w="10483" h="3227">
                <a:moveTo>
                  <a:pt x="10483" y="3227"/>
                </a:moveTo>
                <a:lnTo>
                  <a:pt x="0" y="0"/>
                </a:lnTo>
                <a:lnTo>
                  <a:pt x="6953" y="2156"/>
                </a:lnTo>
                <a:lnTo>
                  <a:pt x="10483" y="3227"/>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5" name="object 155"/>
          <p:cNvSpPr/>
          <p:nvPr/>
        </p:nvSpPr>
        <p:spPr>
          <a:xfrm>
            <a:off x="8882378" y="5674757"/>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6" name="object 156"/>
          <p:cNvSpPr/>
          <p:nvPr/>
        </p:nvSpPr>
        <p:spPr>
          <a:xfrm>
            <a:off x="8019010" y="5682149"/>
            <a:ext cx="1981158" cy="113805"/>
          </a:xfrm>
          <a:custGeom>
            <a:avLst/>
            <a:gdLst/>
            <a:ahLst/>
            <a:cxnLst/>
            <a:rect l="l" t="t" r="r" b="b"/>
            <a:pathLst>
              <a:path w="2817647" h="161856">
                <a:moveTo>
                  <a:pt x="1590206" y="159902"/>
                </a:moveTo>
                <a:lnTo>
                  <a:pt x="1599985" y="159557"/>
                </a:lnTo>
                <a:lnTo>
                  <a:pt x="1599985" y="124294"/>
                </a:lnTo>
                <a:lnTo>
                  <a:pt x="1485772" y="124294"/>
                </a:lnTo>
                <a:lnTo>
                  <a:pt x="1485772" y="6096"/>
                </a:lnTo>
                <a:lnTo>
                  <a:pt x="1442123" y="6083"/>
                </a:lnTo>
                <a:lnTo>
                  <a:pt x="1442123" y="124294"/>
                </a:lnTo>
                <a:lnTo>
                  <a:pt x="1227899" y="124294"/>
                </a:lnTo>
                <a:lnTo>
                  <a:pt x="1227899" y="6032"/>
                </a:lnTo>
                <a:lnTo>
                  <a:pt x="0" y="5715"/>
                </a:lnTo>
                <a:lnTo>
                  <a:pt x="57612" y="19932"/>
                </a:lnTo>
                <a:lnTo>
                  <a:pt x="114673" y="32730"/>
                </a:lnTo>
                <a:lnTo>
                  <a:pt x="170166" y="44133"/>
                </a:lnTo>
                <a:lnTo>
                  <a:pt x="223076" y="54164"/>
                </a:lnTo>
                <a:lnTo>
                  <a:pt x="272386" y="62847"/>
                </a:lnTo>
                <a:lnTo>
                  <a:pt x="317081" y="70206"/>
                </a:lnTo>
                <a:lnTo>
                  <a:pt x="356144" y="76265"/>
                </a:lnTo>
                <a:lnTo>
                  <a:pt x="401958" y="82968"/>
                </a:lnTo>
                <a:lnTo>
                  <a:pt x="413313" y="84578"/>
                </a:lnTo>
                <a:lnTo>
                  <a:pt x="422498" y="85881"/>
                </a:lnTo>
                <a:lnTo>
                  <a:pt x="587688" y="108577"/>
                </a:lnTo>
                <a:lnTo>
                  <a:pt x="742379" y="126258"/>
                </a:lnTo>
                <a:lnTo>
                  <a:pt x="893380" y="140135"/>
                </a:lnTo>
                <a:lnTo>
                  <a:pt x="1040609" y="150421"/>
                </a:lnTo>
                <a:lnTo>
                  <a:pt x="1183987" y="157328"/>
                </a:lnTo>
                <a:lnTo>
                  <a:pt x="1323433" y="161069"/>
                </a:lnTo>
                <a:lnTo>
                  <a:pt x="1458866" y="161856"/>
                </a:lnTo>
                <a:lnTo>
                  <a:pt x="1590206" y="159902"/>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7" name="object 157"/>
          <p:cNvSpPr/>
          <p:nvPr/>
        </p:nvSpPr>
        <p:spPr>
          <a:xfrm>
            <a:off x="8338011" y="5311570"/>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8" name="object 158"/>
          <p:cNvSpPr/>
          <p:nvPr/>
        </p:nvSpPr>
        <p:spPr>
          <a:xfrm>
            <a:off x="8338011" y="5299935"/>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59" name="object 159"/>
          <p:cNvSpPr/>
          <p:nvPr/>
        </p:nvSpPr>
        <p:spPr>
          <a:xfrm>
            <a:off x="8519483" y="5393085"/>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0" name="object 160"/>
          <p:cNvSpPr/>
          <p:nvPr/>
        </p:nvSpPr>
        <p:spPr>
          <a:xfrm>
            <a:off x="8519483" y="5369753"/>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1" name="object 161"/>
          <p:cNvSpPr/>
          <p:nvPr/>
        </p:nvSpPr>
        <p:spPr>
          <a:xfrm>
            <a:off x="8519483" y="5404705"/>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2" name="object 162"/>
          <p:cNvSpPr/>
          <p:nvPr/>
        </p:nvSpPr>
        <p:spPr>
          <a:xfrm>
            <a:off x="8519483" y="5381405"/>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3" name="object 163"/>
          <p:cNvSpPr/>
          <p:nvPr/>
        </p:nvSpPr>
        <p:spPr>
          <a:xfrm>
            <a:off x="8519483" y="5416340"/>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4" name="object 164"/>
          <p:cNvSpPr/>
          <p:nvPr/>
        </p:nvSpPr>
        <p:spPr>
          <a:xfrm>
            <a:off x="7794599" y="4793367"/>
            <a:ext cx="3706838" cy="606897"/>
          </a:xfrm>
          <a:custGeom>
            <a:avLst/>
            <a:gdLst/>
            <a:ahLst/>
            <a:cxnLst/>
            <a:rect l="l" t="t" r="r" b="b"/>
            <a:pathLst>
              <a:path w="5271947" h="863142">
                <a:moveTo>
                  <a:pt x="1919147" y="803393"/>
                </a:moveTo>
                <a:lnTo>
                  <a:pt x="9423" y="803008"/>
                </a:lnTo>
                <a:lnTo>
                  <a:pt x="6184" y="805192"/>
                </a:lnTo>
                <a:lnTo>
                  <a:pt x="3035" y="807389"/>
                </a:lnTo>
                <a:lnTo>
                  <a:pt x="0" y="809561"/>
                </a:lnTo>
                <a:lnTo>
                  <a:pt x="1919147" y="809963"/>
                </a:lnTo>
                <a:lnTo>
                  <a:pt x="1919147" y="803393"/>
                </a:lnTo>
                <a:close/>
              </a:path>
              <a:path w="5271947" h="863142">
                <a:moveTo>
                  <a:pt x="1245273" y="179590"/>
                </a:moveTo>
                <a:lnTo>
                  <a:pt x="1245273" y="441642"/>
                </a:lnTo>
                <a:lnTo>
                  <a:pt x="1030947" y="441642"/>
                </a:lnTo>
                <a:lnTo>
                  <a:pt x="1030947" y="495160"/>
                </a:lnTo>
                <a:lnTo>
                  <a:pt x="1245273" y="495160"/>
                </a:lnTo>
                <a:lnTo>
                  <a:pt x="1245273" y="710603"/>
                </a:lnTo>
                <a:lnTo>
                  <a:pt x="1288910" y="710615"/>
                </a:lnTo>
                <a:lnTo>
                  <a:pt x="1245273" y="179590"/>
                </a:lnTo>
                <a:close/>
              </a:path>
              <a:path w="5271947" h="863142">
                <a:moveTo>
                  <a:pt x="1804936" y="495160"/>
                </a:moveTo>
                <a:lnTo>
                  <a:pt x="1919147" y="495160"/>
                </a:lnTo>
                <a:lnTo>
                  <a:pt x="1919147" y="470174"/>
                </a:lnTo>
                <a:lnTo>
                  <a:pt x="1804936" y="441642"/>
                </a:lnTo>
                <a:lnTo>
                  <a:pt x="1804936" y="179590"/>
                </a:lnTo>
                <a:lnTo>
                  <a:pt x="1919147" y="179590"/>
                </a:lnTo>
                <a:lnTo>
                  <a:pt x="1919147" y="113232"/>
                </a:lnTo>
                <a:lnTo>
                  <a:pt x="1502968" y="179590"/>
                </a:lnTo>
                <a:lnTo>
                  <a:pt x="1502968" y="441642"/>
                </a:lnTo>
                <a:lnTo>
                  <a:pt x="1288910" y="441642"/>
                </a:lnTo>
                <a:lnTo>
                  <a:pt x="1288910" y="495160"/>
                </a:lnTo>
                <a:lnTo>
                  <a:pt x="1502968" y="495160"/>
                </a:lnTo>
                <a:lnTo>
                  <a:pt x="1502968" y="710666"/>
                </a:lnTo>
                <a:lnTo>
                  <a:pt x="1547063" y="710666"/>
                </a:lnTo>
                <a:lnTo>
                  <a:pt x="1547063" y="179590"/>
                </a:lnTo>
                <a:lnTo>
                  <a:pt x="1761274" y="179590"/>
                </a:lnTo>
                <a:lnTo>
                  <a:pt x="1761286" y="710717"/>
                </a:lnTo>
                <a:lnTo>
                  <a:pt x="1804936" y="710730"/>
                </a:lnTo>
                <a:lnTo>
                  <a:pt x="1804936" y="495160"/>
                </a:lnTo>
                <a:close/>
              </a:path>
              <a:path w="5271947" h="863142">
                <a:moveTo>
                  <a:pt x="1919147" y="441642"/>
                </a:moveTo>
                <a:lnTo>
                  <a:pt x="1804936" y="441642"/>
                </a:lnTo>
                <a:lnTo>
                  <a:pt x="1919147" y="470174"/>
                </a:lnTo>
                <a:lnTo>
                  <a:pt x="1919147" y="441642"/>
                </a:lnTo>
                <a:close/>
              </a:path>
              <a:path w="5271947" h="863142">
                <a:moveTo>
                  <a:pt x="1761274" y="179590"/>
                </a:moveTo>
                <a:lnTo>
                  <a:pt x="1761274" y="441642"/>
                </a:lnTo>
                <a:lnTo>
                  <a:pt x="1547063" y="441642"/>
                </a:lnTo>
                <a:lnTo>
                  <a:pt x="1547063" y="495160"/>
                </a:lnTo>
                <a:lnTo>
                  <a:pt x="1761286" y="495160"/>
                </a:lnTo>
                <a:lnTo>
                  <a:pt x="1761274" y="179590"/>
                </a:lnTo>
                <a:close/>
              </a:path>
              <a:path w="5271947" h="863142">
                <a:moveTo>
                  <a:pt x="772858" y="179590"/>
                </a:moveTo>
                <a:lnTo>
                  <a:pt x="987272" y="179590"/>
                </a:lnTo>
                <a:lnTo>
                  <a:pt x="1919147" y="77670"/>
                </a:lnTo>
                <a:lnTo>
                  <a:pt x="1919147" y="2667"/>
                </a:lnTo>
                <a:lnTo>
                  <a:pt x="76222" y="2667"/>
                </a:lnTo>
                <a:lnTo>
                  <a:pt x="82650" y="6297"/>
                </a:lnTo>
                <a:lnTo>
                  <a:pt x="93234" y="13079"/>
                </a:lnTo>
                <a:lnTo>
                  <a:pt x="103296" y="20334"/>
                </a:lnTo>
                <a:lnTo>
                  <a:pt x="112878" y="28050"/>
                </a:lnTo>
                <a:lnTo>
                  <a:pt x="122026" y="36214"/>
                </a:lnTo>
                <a:lnTo>
                  <a:pt x="130781" y="44816"/>
                </a:lnTo>
                <a:lnTo>
                  <a:pt x="139189" y="53842"/>
                </a:lnTo>
                <a:lnTo>
                  <a:pt x="147292" y="63282"/>
                </a:lnTo>
                <a:lnTo>
                  <a:pt x="155133" y="73122"/>
                </a:lnTo>
                <a:lnTo>
                  <a:pt x="162757" y="83351"/>
                </a:lnTo>
                <a:lnTo>
                  <a:pt x="170207" y="93958"/>
                </a:lnTo>
                <a:lnTo>
                  <a:pt x="177527" y="104930"/>
                </a:lnTo>
                <a:lnTo>
                  <a:pt x="184760" y="116255"/>
                </a:lnTo>
                <a:lnTo>
                  <a:pt x="191949" y="127921"/>
                </a:lnTo>
                <a:lnTo>
                  <a:pt x="199138" y="139917"/>
                </a:lnTo>
                <a:lnTo>
                  <a:pt x="205447" y="150647"/>
                </a:lnTo>
                <a:lnTo>
                  <a:pt x="216712" y="169852"/>
                </a:lnTo>
                <a:lnTo>
                  <a:pt x="227060" y="187310"/>
                </a:lnTo>
                <a:lnTo>
                  <a:pt x="236594" y="203135"/>
                </a:lnTo>
                <a:lnTo>
                  <a:pt x="245419" y="217447"/>
                </a:lnTo>
                <a:lnTo>
                  <a:pt x="772858" y="179590"/>
                </a:lnTo>
                <a:close/>
              </a:path>
              <a:path w="5271947" h="863142">
                <a:moveTo>
                  <a:pt x="1288910" y="179590"/>
                </a:moveTo>
                <a:lnTo>
                  <a:pt x="1502968" y="179590"/>
                </a:lnTo>
                <a:lnTo>
                  <a:pt x="1919147" y="113232"/>
                </a:lnTo>
                <a:lnTo>
                  <a:pt x="1919147" y="77670"/>
                </a:lnTo>
                <a:lnTo>
                  <a:pt x="987272" y="179590"/>
                </a:lnTo>
                <a:lnTo>
                  <a:pt x="987272" y="441642"/>
                </a:lnTo>
                <a:lnTo>
                  <a:pt x="772858" y="441642"/>
                </a:lnTo>
                <a:lnTo>
                  <a:pt x="772858" y="179590"/>
                </a:lnTo>
                <a:lnTo>
                  <a:pt x="245419" y="217447"/>
                </a:lnTo>
                <a:lnTo>
                  <a:pt x="261353" y="241991"/>
                </a:lnTo>
                <a:lnTo>
                  <a:pt x="275688" y="261878"/>
                </a:lnTo>
                <a:lnTo>
                  <a:pt x="289250" y="278039"/>
                </a:lnTo>
                <a:lnTo>
                  <a:pt x="302866" y="291408"/>
                </a:lnTo>
                <a:lnTo>
                  <a:pt x="317364" y="302920"/>
                </a:lnTo>
                <a:lnTo>
                  <a:pt x="333569" y="313506"/>
                </a:lnTo>
                <a:lnTo>
                  <a:pt x="346392" y="320878"/>
                </a:lnTo>
                <a:lnTo>
                  <a:pt x="352018" y="332491"/>
                </a:lnTo>
                <a:lnTo>
                  <a:pt x="349755" y="342723"/>
                </a:lnTo>
                <a:lnTo>
                  <a:pt x="343387" y="349902"/>
                </a:lnTo>
                <a:lnTo>
                  <a:pt x="340499" y="351561"/>
                </a:lnTo>
                <a:lnTo>
                  <a:pt x="334110" y="354145"/>
                </a:lnTo>
                <a:lnTo>
                  <a:pt x="323068" y="359075"/>
                </a:lnTo>
                <a:lnTo>
                  <a:pt x="309932" y="366272"/>
                </a:lnTo>
                <a:lnTo>
                  <a:pt x="297258" y="375658"/>
                </a:lnTo>
                <a:lnTo>
                  <a:pt x="290258" y="383184"/>
                </a:lnTo>
                <a:lnTo>
                  <a:pt x="285459" y="392668"/>
                </a:lnTo>
                <a:lnTo>
                  <a:pt x="285895" y="402626"/>
                </a:lnTo>
                <a:lnTo>
                  <a:pt x="293074" y="412856"/>
                </a:lnTo>
                <a:lnTo>
                  <a:pt x="301764" y="419366"/>
                </a:lnTo>
                <a:lnTo>
                  <a:pt x="311918" y="427982"/>
                </a:lnTo>
                <a:lnTo>
                  <a:pt x="315549" y="437740"/>
                </a:lnTo>
                <a:lnTo>
                  <a:pt x="314221" y="447746"/>
                </a:lnTo>
                <a:lnTo>
                  <a:pt x="309495" y="457109"/>
                </a:lnTo>
                <a:lnTo>
                  <a:pt x="304355" y="463499"/>
                </a:lnTo>
                <a:lnTo>
                  <a:pt x="291166" y="474137"/>
                </a:lnTo>
                <a:lnTo>
                  <a:pt x="282231" y="479639"/>
                </a:lnTo>
                <a:lnTo>
                  <a:pt x="281952" y="479793"/>
                </a:lnTo>
                <a:lnTo>
                  <a:pt x="299137" y="478112"/>
                </a:lnTo>
                <a:lnTo>
                  <a:pt x="306975" y="481840"/>
                </a:lnTo>
                <a:lnTo>
                  <a:pt x="308929" y="494620"/>
                </a:lnTo>
                <a:lnTo>
                  <a:pt x="308724" y="507949"/>
                </a:lnTo>
                <a:lnTo>
                  <a:pt x="304307" y="519046"/>
                </a:lnTo>
                <a:lnTo>
                  <a:pt x="294814" y="528910"/>
                </a:lnTo>
                <a:lnTo>
                  <a:pt x="284912" y="538621"/>
                </a:lnTo>
                <a:lnTo>
                  <a:pt x="279267" y="549264"/>
                </a:lnTo>
                <a:lnTo>
                  <a:pt x="279069" y="552234"/>
                </a:lnTo>
                <a:lnTo>
                  <a:pt x="281636" y="560862"/>
                </a:lnTo>
                <a:lnTo>
                  <a:pt x="287586" y="569148"/>
                </a:lnTo>
                <a:lnTo>
                  <a:pt x="295441" y="578218"/>
                </a:lnTo>
                <a:lnTo>
                  <a:pt x="303722" y="589198"/>
                </a:lnTo>
                <a:lnTo>
                  <a:pt x="310951" y="603215"/>
                </a:lnTo>
                <a:lnTo>
                  <a:pt x="314515" y="615073"/>
                </a:lnTo>
                <a:lnTo>
                  <a:pt x="315935" y="625585"/>
                </a:lnTo>
                <a:lnTo>
                  <a:pt x="315565" y="636023"/>
                </a:lnTo>
                <a:lnTo>
                  <a:pt x="313350" y="646284"/>
                </a:lnTo>
                <a:lnTo>
                  <a:pt x="309236" y="656265"/>
                </a:lnTo>
                <a:lnTo>
                  <a:pt x="303169" y="665861"/>
                </a:lnTo>
                <a:lnTo>
                  <a:pt x="295095" y="674971"/>
                </a:lnTo>
                <a:lnTo>
                  <a:pt x="284960" y="683489"/>
                </a:lnTo>
                <a:lnTo>
                  <a:pt x="272710" y="691312"/>
                </a:lnTo>
                <a:lnTo>
                  <a:pt x="258290" y="698337"/>
                </a:lnTo>
                <a:lnTo>
                  <a:pt x="241648" y="704461"/>
                </a:lnTo>
                <a:lnTo>
                  <a:pt x="236562" y="706005"/>
                </a:lnTo>
                <a:lnTo>
                  <a:pt x="231559" y="707453"/>
                </a:lnTo>
                <a:lnTo>
                  <a:pt x="226796" y="708926"/>
                </a:lnTo>
                <a:lnTo>
                  <a:pt x="221919" y="710399"/>
                </a:lnTo>
                <a:lnTo>
                  <a:pt x="772858" y="710514"/>
                </a:lnTo>
                <a:lnTo>
                  <a:pt x="772858" y="495160"/>
                </a:lnTo>
                <a:lnTo>
                  <a:pt x="987272" y="495160"/>
                </a:lnTo>
                <a:lnTo>
                  <a:pt x="987272" y="710552"/>
                </a:lnTo>
                <a:lnTo>
                  <a:pt x="1030947" y="710565"/>
                </a:lnTo>
                <a:lnTo>
                  <a:pt x="1030947" y="179590"/>
                </a:lnTo>
                <a:lnTo>
                  <a:pt x="1245273" y="179590"/>
                </a:lnTo>
                <a:lnTo>
                  <a:pt x="1288910" y="710615"/>
                </a:lnTo>
                <a:lnTo>
                  <a:pt x="1288910" y="17959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5" name="object 165"/>
          <p:cNvSpPr/>
          <p:nvPr/>
        </p:nvSpPr>
        <p:spPr>
          <a:xfrm>
            <a:off x="8338015" y="4919641"/>
            <a:ext cx="0" cy="184255"/>
          </a:xfrm>
          <a:custGeom>
            <a:avLst/>
            <a:gdLst/>
            <a:ahLst/>
            <a:cxnLst/>
            <a:rect l="l" t="t" r="r" b="b"/>
            <a:pathLst>
              <a:path h="262051">
                <a:moveTo>
                  <a:pt x="0" y="262051"/>
                </a:moveTo>
                <a:lnTo>
                  <a:pt x="0" y="0"/>
                </a:lnTo>
                <a:lnTo>
                  <a:pt x="0" y="262051"/>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6" name="object 166"/>
          <p:cNvSpPr/>
          <p:nvPr/>
        </p:nvSpPr>
        <p:spPr>
          <a:xfrm>
            <a:off x="8519484" y="4919641"/>
            <a:ext cx="0" cy="184255"/>
          </a:xfrm>
          <a:custGeom>
            <a:avLst/>
            <a:gdLst/>
            <a:ahLst/>
            <a:cxnLst/>
            <a:rect l="l" t="t" r="r" b="b"/>
            <a:pathLst>
              <a:path h="262051">
                <a:moveTo>
                  <a:pt x="0" y="262051"/>
                </a:moveTo>
                <a:lnTo>
                  <a:pt x="0" y="0"/>
                </a:lnTo>
                <a:lnTo>
                  <a:pt x="0" y="262051"/>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7" name="object 167"/>
          <p:cNvSpPr/>
          <p:nvPr/>
        </p:nvSpPr>
        <p:spPr>
          <a:xfrm>
            <a:off x="8700864" y="4919641"/>
            <a:ext cx="0" cy="184255"/>
          </a:xfrm>
          <a:custGeom>
            <a:avLst/>
            <a:gdLst/>
            <a:ahLst/>
            <a:cxnLst/>
            <a:rect l="l" t="t" r="r" b="b"/>
            <a:pathLst>
              <a:path h="262051">
                <a:moveTo>
                  <a:pt x="0" y="262051"/>
                </a:moveTo>
                <a:lnTo>
                  <a:pt x="0" y="0"/>
                </a:lnTo>
                <a:lnTo>
                  <a:pt x="0" y="262051"/>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8" name="object 168"/>
          <p:cNvSpPr/>
          <p:nvPr/>
        </p:nvSpPr>
        <p:spPr>
          <a:xfrm>
            <a:off x="8882378" y="4919641"/>
            <a:ext cx="8" cy="184255"/>
          </a:xfrm>
          <a:custGeom>
            <a:avLst/>
            <a:gdLst/>
            <a:ahLst/>
            <a:cxnLst/>
            <a:rect l="l" t="t" r="r" b="b"/>
            <a:pathLst>
              <a:path w="12" h="262051">
                <a:moveTo>
                  <a:pt x="0" y="262051"/>
                </a:moveTo>
                <a:lnTo>
                  <a:pt x="12" y="0"/>
                </a:lnTo>
                <a:lnTo>
                  <a:pt x="0" y="262051"/>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69" name="object 169"/>
          <p:cNvSpPr/>
          <p:nvPr/>
        </p:nvSpPr>
        <p:spPr>
          <a:xfrm>
            <a:off x="9063695" y="4919641"/>
            <a:ext cx="8" cy="184255"/>
          </a:xfrm>
          <a:custGeom>
            <a:avLst/>
            <a:gdLst/>
            <a:ahLst/>
            <a:cxnLst/>
            <a:rect l="l" t="t" r="r" b="b"/>
            <a:pathLst>
              <a:path w="12" h="262051">
                <a:moveTo>
                  <a:pt x="0" y="262051"/>
                </a:moveTo>
                <a:lnTo>
                  <a:pt x="12" y="0"/>
                </a:lnTo>
                <a:lnTo>
                  <a:pt x="0" y="262051"/>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0" name="object 170"/>
          <p:cNvSpPr/>
          <p:nvPr/>
        </p:nvSpPr>
        <p:spPr>
          <a:xfrm>
            <a:off x="6113067" y="4793367"/>
            <a:ext cx="1386093" cy="1107281"/>
          </a:xfrm>
          <a:custGeom>
            <a:avLst/>
            <a:gdLst/>
            <a:ahLst/>
            <a:cxnLst/>
            <a:rect l="l" t="t" r="r" b="b"/>
            <a:pathLst>
              <a:path w="1971332" h="1574800">
                <a:moveTo>
                  <a:pt x="665873" y="954278"/>
                </a:moveTo>
                <a:lnTo>
                  <a:pt x="665873" y="1215085"/>
                </a:lnTo>
                <a:lnTo>
                  <a:pt x="405091" y="1215085"/>
                </a:lnTo>
                <a:lnTo>
                  <a:pt x="665873" y="1262519"/>
                </a:lnTo>
                <a:lnTo>
                  <a:pt x="665873" y="1523326"/>
                </a:lnTo>
                <a:lnTo>
                  <a:pt x="405091" y="1523326"/>
                </a:lnTo>
                <a:lnTo>
                  <a:pt x="405091" y="1552067"/>
                </a:lnTo>
                <a:lnTo>
                  <a:pt x="711582" y="1552067"/>
                </a:lnTo>
                <a:lnTo>
                  <a:pt x="665873" y="954278"/>
                </a:lnTo>
                <a:close/>
              </a:path>
              <a:path w="1971332" h="1574800">
                <a:moveTo>
                  <a:pt x="405091" y="1215085"/>
                </a:moveTo>
                <a:lnTo>
                  <a:pt x="405091" y="1262519"/>
                </a:lnTo>
                <a:lnTo>
                  <a:pt x="665873" y="1262519"/>
                </a:lnTo>
                <a:lnTo>
                  <a:pt x="405091" y="1215085"/>
                </a:lnTo>
                <a:close/>
              </a:path>
              <a:path w="1971332" h="1574800">
                <a:moveTo>
                  <a:pt x="665873" y="337832"/>
                </a:moveTo>
                <a:lnTo>
                  <a:pt x="665873" y="598639"/>
                </a:lnTo>
                <a:lnTo>
                  <a:pt x="665873" y="906868"/>
                </a:lnTo>
                <a:lnTo>
                  <a:pt x="405091" y="906868"/>
                </a:lnTo>
                <a:lnTo>
                  <a:pt x="405091" y="954278"/>
                </a:lnTo>
                <a:lnTo>
                  <a:pt x="665873" y="954278"/>
                </a:lnTo>
                <a:lnTo>
                  <a:pt x="711582" y="1552067"/>
                </a:lnTo>
                <a:lnTo>
                  <a:pt x="712448" y="1552067"/>
                </a:lnTo>
                <a:lnTo>
                  <a:pt x="665873" y="337832"/>
                </a:lnTo>
                <a:close/>
              </a:path>
              <a:path w="1971332" h="1574800">
                <a:moveTo>
                  <a:pt x="665873" y="598639"/>
                </a:moveTo>
                <a:lnTo>
                  <a:pt x="405091" y="598639"/>
                </a:lnTo>
                <a:lnTo>
                  <a:pt x="405091" y="646061"/>
                </a:lnTo>
                <a:lnTo>
                  <a:pt x="665873" y="646061"/>
                </a:lnTo>
                <a:lnTo>
                  <a:pt x="665873" y="598639"/>
                </a:lnTo>
                <a:close/>
              </a:path>
              <a:path w="1971332" h="1574800">
                <a:moveTo>
                  <a:pt x="665873" y="29629"/>
                </a:moveTo>
                <a:lnTo>
                  <a:pt x="665873" y="290436"/>
                </a:lnTo>
                <a:lnTo>
                  <a:pt x="405091" y="290436"/>
                </a:lnTo>
                <a:lnTo>
                  <a:pt x="405091" y="337832"/>
                </a:lnTo>
                <a:lnTo>
                  <a:pt x="665873" y="337832"/>
                </a:lnTo>
                <a:lnTo>
                  <a:pt x="712448" y="1552067"/>
                </a:lnTo>
                <a:lnTo>
                  <a:pt x="712622" y="1552067"/>
                </a:lnTo>
                <a:lnTo>
                  <a:pt x="665873" y="29629"/>
                </a:lnTo>
                <a:close/>
              </a:path>
              <a:path w="1971332" h="1574800">
                <a:moveTo>
                  <a:pt x="974102" y="646061"/>
                </a:moveTo>
                <a:lnTo>
                  <a:pt x="974102" y="906868"/>
                </a:lnTo>
                <a:lnTo>
                  <a:pt x="713320" y="906868"/>
                </a:lnTo>
                <a:lnTo>
                  <a:pt x="974102" y="954278"/>
                </a:lnTo>
                <a:lnTo>
                  <a:pt x="974102" y="1215085"/>
                </a:lnTo>
                <a:lnTo>
                  <a:pt x="713320" y="1215085"/>
                </a:lnTo>
                <a:lnTo>
                  <a:pt x="713320" y="1262519"/>
                </a:lnTo>
                <a:lnTo>
                  <a:pt x="974102" y="1262519"/>
                </a:lnTo>
                <a:lnTo>
                  <a:pt x="1021549" y="1523326"/>
                </a:lnTo>
                <a:lnTo>
                  <a:pt x="974102" y="646061"/>
                </a:lnTo>
                <a:close/>
              </a:path>
              <a:path w="1971332" h="1574800">
                <a:moveTo>
                  <a:pt x="974102" y="290436"/>
                </a:moveTo>
                <a:lnTo>
                  <a:pt x="713320" y="290436"/>
                </a:lnTo>
                <a:lnTo>
                  <a:pt x="713320" y="337832"/>
                </a:lnTo>
                <a:lnTo>
                  <a:pt x="974102" y="337832"/>
                </a:lnTo>
                <a:lnTo>
                  <a:pt x="974102" y="290436"/>
                </a:lnTo>
                <a:close/>
              </a:path>
              <a:path w="1971332" h="1574800">
                <a:moveTo>
                  <a:pt x="713320" y="906868"/>
                </a:moveTo>
                <a:lnTo>
                  <a:pt x="713320" y="954278"/>
                </a:lnTo>
                <a:lnTo>
                  <a:pt x="974102" y="954278"/>
                </a:lnTo>
                <a:lnTo>
                  <a:pt x="713320" y="906868"/>
                </a:lnTo>
                <a:close/>
              </a:path>
              <a:path w="1971332" h="1574800">
                <a:moveTo>
                  <a:pt x="1021549" y="1262519"/>
                </a:moveTo>
                <a:lnTo>
                  <a:pt x="1282344" y="1262519"/>
                </a:lnTo>
                <a:lnTo>
                  <a:pt x="1282344" y="1463954"/>
                </a:lnTo>
                <a:lnTo>
                  <a:pt x="1293655" y="1458096"/>
                </a:lnTo>
                <a:lnTo>
                  <a:pt x="1282357" y="646061"/>
                </a:lnTo>
                <a:lnTo>
                  <a:pt x="1282357" y="906868"/>
                </a:lnTo>
                <a:lnTo>
                  <a:pt x="1021549" y="906868"/>
                </a:lnTo>
                <a:lnTo>
                  <a:pt x="1282357" y="954278"/>
                </a:lnTo>
                <a:lnTo>
                  <a:pt x="1282357" y="1215085"/>
                </a:lnTo>
                <a:lnTo>
                  <a:pt x="1021549" y="1215085"/>
                </a:lnTo>
                <a:lnTo>
                  <a:pt x="1021549" y="29629"/>
                </a:lnTo>
                <a:lnTo>
                  <a:pt x="974102" y="29629"/>
                </a:lnTo>
                <a:lnTo>
                  <a:pt x="974102" y="598639"/>
                </a:lnTo>
                <a:lnTo>
                  <a:pt x="713320" y="598639"/>
                </a:lnTo>
                <a:lnTo>
                  <a:pt x="713320" y="646061"/>
                </a:lnTo>
                <a:lnTo>
                  <a:pt x="974102" y="646061"/>
                </a:lnTo>
                <a:lnTo>
                  <a:pt x="1021549" y="1523326"/>
                </a:lnTo>
                <a:lnTo>
                  <a:pt x="1021549" y="1262519"/>
                </a:lnTo>
                <a:close/>
              </a:path>
              <a:path w="1971332" h="1574800">
                <a:moveTo>
                  <a:pt x="1021549" y="906868"/>
                </a:moveTo>
                <a:lnTo>
                  <a:pt x="1021549" y="954278"/>
                </a:lnTo>
                <a:lnTo>
                  <a:pt x="1282357" y="954278"/>
                </a:lnTo>
                <a:lnTo>
                  <a:pt x="1021549" y="906868"/>
                </a:lnTo>
                <a:close/>
              </a:path>
              <a:path w="1971332" h="1574800">
                <a:moveTo>
                  <a:pt x="1282357" y="29629"/>
                </a:moveTo>
                <a:lnTo>
                  <a:pt x="1282357" y="290436"/>
                </a:lnTo>
                <a:lnTo>
                  <a:pt x="1282357" y="598639"/>
                </a:lnTo>
                <a:lnTo>
                  <a:pt x="1021549" y="598639"/>
                </a:lnTo>
                <a:lnTo>
                  <a:pt x="1021549" y="646061"/>
                </a:lnTo>
                <a:lnTo>
                  <a:pt x="1282357" y="646061"/>
                </a:lnTo>
                <a:lnTo>
                  <a:pt x="1293655" y="1458096"/>
                </a:lnTo>
                <a:lnTo>
                  <a:pt x="1282357" y="29629"/>
                </a:lnTo>
                <a:close/>
              </a:path>
              <a:path w="1971332" h="1574800">
                <a:moveTo>
                  <a:pt x="1282357" y="290436"/>
                </a:moveTo>
                <a:lnTo>
                  <a:pt x="1021549" y="290436"/>
                </a:lnTo>
                <a:lnTo>
                  <a:pt x="1021549" y="337832"/>
                </a:lnTo>
                <a:lnTo>
                  <a:pt x="1282357" y="337832"/>
                </a:lnTo>
                <a:lnTo>
                  <a:pt x="1282357" y="290436"/>
                </a:lnTo>
                <a:close/>
              </a:path>
              <a:path w="1971332" h="1574800">
                <a:moveTo>
                  <a:pt x="1873491" y="176377"/>
                </a:moveTo>
                <a:lnTo>
                  <a:pt x="1876488" y="169926"/>
                </a:lnTo>
                <a:lnTo>
                  <a:pt x="1882935" y="156840"/>
                </a:lnTo>
                <a:lnTo>
                  <a:pt x="1889863" y="144358"/>
                </a:lnTo>
                <a:lnTo>
                  <a:pt x="1897266" y="132404"/>
                </a:lnTo>
                <a:lnTo>
                  <a:pt x="1905125" y="120969"/>
                </a:lnTo>
                <a:lnTo>
                  <a:pt x="1913421" y="110042"/>
                </a:lnTo>
                <a:lnTo>
                  <a:pt x="1922135" y="99612"/>
                </a:lnTo>
                <a:lnTo>
                  <a:pt x="1931249" y="89670"/>
                </a:lnTo>
                <a:lnTo>
                  <a:pt x="1940745" y="80204"/>
                </a:lnTo>
                <a:lnTo>
                  <a:pt x="1950603" y="71205"/>
                </a:lnTo>
                <a:lnTo>
                  <a:pt x="1960805" y="62661"/>
                </a:lnTo>
                <a:lnTo>
                  <a:pt x="1971332" y="54563"/>
                </a:lnTo>
                <a:lnTo>
                  <a:pt x="1329766" y="337832"/>
                </a:lnTo>
                <a:lnTo>
                  <a:pt x="1590573" y="337832"/>
                </a:lnTo>
                <a:lnTo>
                  <a:pt x="1873491" y="176377"/>
                </a:lnTo>
                <a:close/>
              </a:path>
              <a:path w="1971332" h="1574800">
                <a:moveTo>
                  <a:pt x="1349659" y="1428058"/>
                </a:moveTo>
                <a:lnTo>
                  <a:pt x="1372679" y="1415211"/>
                </a:lnTo>
                <a:lnTo>
                  <a:pt x="1405794" y="1396194"/>
                </a:lnTo>
                <a:lnTo>
                  <a:pt x="1436780" y="1377750"/>
                </a:lnTo>
                <a:lnTo>
                  <a:pt x="1469731" y="1357425"/>
                </a:lnTo>
                <a:lnTo>
                  <a:pt x="1501749" y="1336971"/>
                </a:lnTo>
                <a:lnTo>
                  <a:pt x="1528750" y="1318978"/>
                </a:lnTo>
                <a:lnTo>
                  <a:pt x="1550306" y="1304115"/>
                </a:lnTo>
                <a:lnTo>
                  <a:pt x="1581683" y="1281616"/>
                </a:lnTo>
                <a:lnTo>
                  <a:pt x="1591875" y="1274067"/>
                </a:lnTo>
                <a:lnTo>
                  <a:pt x="1590573" y="646061"/>
                </a:lnTo>
                <a:lnTo>
                  <a:pt x="1590573" y="906868"/>
                </a:lnTo>
                <a:lnTo>
                  <a:pt x="1329766" y="906868"/>
                </a:lnTo>
                <a:lnTo>
                  <a:pt x="1338538" y="1434160"/>
                </a:lnTo>
                <a:lnTo>
                  <a:pt x="1349659" y="1428058"/>
                </a:lnTo>
                <a:close/>
              </a:path>
              <a:path w="1971332" h="1574800">
                <a:moveTo>
                  <a:pt x="357657" y="598639"/>
                </a:moveTo>
                <a:lnTo>
                  <a:pt x="96850" y="598639"/>
                </a:lnTo>
                <a:lnTo>
                  <a:pt x="96850" y="646061"/>
                </a:lnTo>
                <a:lnTo>
                  <a:pt x="357657" y="646061"/>
                </a:lnTo>
                <a:lnTo>
                  <a:pt x="357657" y="598639"/>
                </a:lnTo>
                <a:close/>
              </a:path>
              <a:path w="1971332" h="1574800">
                <a:moveTo>
                  <a:pt x="1102577" y="1550480"/>
                </a:moveTo>
                <a:lnTo>
                  <a:pt x="1114483" y="1544571"/>
                </a:lnTo>
                <a:lnTo>
                  <a:pt x="1125929" y="1539034"/>
                </a:lnTo>
                <a:lnTo>
                  <a:pt x="1136881" y="1533857"/>
                </a:lnTo>
                <a:lnTo>
                  <a:pt x="1147306" y="1529026"/>
                </a:lnTo>
                <a:lnTo>
                  <a:pt x="1156119" y="1525003"/>
                </a:lnTo>
                <a:lnTo>
                  <a:pt x="1159751" y="1523326"/>
                </a:lnTo>
                <a:lnTo>
                  <a:pt x="1021549" y="1523326"/>
                </a:lnTo>
                <a:lnTo>
                  <a:pt x="974102" y="1262519"/>
                </a:lnTo>
                <a:lnTo>
                  <a:pt x="974102" y="1523326"/>
                </a:lnTo>
                <a:lnTo>
                  <a:pt x="713320" y="1523326"/>
                </a:lnTo>
                <a:lnTo>
                  <a:pt x="713320" y="29629"/>
                </a:lnTo>
                <a:lnTo>
                  <a:pt x="1282357" y="29629"/>
                </a:lnTo>
                <a:lnTo>
                  <a:pt x="1293655" y="1458096"/>
                </a:lnTo>
                <a:lnTo>
                  <a:pt x="1304932" y="1452186"/>
                </a:lnTo>
                <a:lnTo>
                  <a:pt x="1316172" y="1446226"/>
                </a:lnTo>
                <a:lnTo>
                  <a:pt x="1327375" y="1440217"/>
                </a:lnTo>
                <a:lnTo>
                  <a:pt x="1338538" y="1434160"/>
                </a:lnTo>
                <a:lnTo>
                  <a:pt x="1329766" y="906868"/>
                </a:lnTo>
                <a:lnTo>
                  <a:pt x="1329766" y="646061"/>
                </a:lnTo>
                <a:lnTo>
                  <a:pt x="1590573" y="646061"/>
                </a:lnTo>
                <a:lnTo>
                  <a:pt x="1591875" y="1274067"/>
                </a:lnTo>
                <a:lnTo>
                  <a:pt x="1601928" y="1266497"/>
                </a:lnTo>
                <a:lnTo>
                  <a:pt x="1611839" y="1258907"/>
                </a:lnTo>
                <a:lnTo>
                  <a:pt x="1621606" y="1251299"/>
                </a:lnTo>
                <a:lnTo>
                  <a:pt x="1631223" y="1243674"/>
                </a:lnTo>
                <a:lnTo>
                  <a:pt x="1640690" y="1236033"/>
                </a:lnTo>
                <a:lnTo>
                  <a:pt x="1650002" y="1228379"/>
                </a:lnTo>
                <a:lnTo>
                  <a:pt x="1652320" y="1226439"/>
                </a:lnTo>
                <a:lnTo>
                  <a:pt x="1654937" y="1224241"/>
                </a:lnTo>
                <a:lnTo>
                  <a:pt x="1657591" y="1222057"/>
                </a:lnTo>
                <a:lnTo>
                  <a:pt x="1660169" y="1219860"/>
                </a:lnTo>
                <a:lnTo>
                  <a:pt x="1650504" y="1219847"/>
                </a:lnTo>
                <a:lnTo>
                  <a:pt x="1650504" y="1209890"/>
                </a:lnTo>
                <a:lnTo>
                  <a:pt x="1671853" y="1209916"/>
                </a:lnTo>
                <a:lnTo>
                  <a:pt x="1676730" y="1205522"/>
                </a:lnTo>
                <a:lnTo>
                  <a:pt x="1679194" y="1203337"/>
                </a:lnTo>
                <a:lnTo>
                  <a:pt x="1650542" y="1203312"/>
                </a:lnTo>
                <a:lnTo>
                  <a:pt x="1650542" y="1193355"/>
                </a:lnTo>
                <a:lnTo>
                  <a:pt x="1690331" y="1193380"/>
                </a:lnTo>
                <a:lnTo>
                  <a:pt x="1695208" y="1188999"/>
                </a:lnTo>
                <a:lnTo>
                  <a:pt x="1697570" y="1186815"/>
                </a:lnTo>
                <a:lnTo>
                  <a:pt x="1650542" y="1186789"/>
                </a:lnTo>
                <a:lnTo>
                  <a:pt x="1650542" y="1176807"/>
                </a:lnTo>
                <a:lnTo>
                  <a:pt x="1707934" y="1176832"/>
                </a:lnTo>
                <a:lnTo>
                  <a:pt x="1712556" y="1172438"/>
                </a:lnTo>
                <a:lnTo>
                  <a:pt x="1714804" y="1170241"/>
                </a:lnTo>
                <a:lnTo>
                  <a:pt x="1650542" y="1170216"/>
                </a:lnTo>
                <a:lnTo>
                  <a:pt x="1650542" y="1160272"/>
                </a:lnTo>
                <a:lnTo>
                  <a:pt x="1724672" y="1160284"/>
                </a:lnTo>
                <a:lnTo>
                  <a:pt x="1733212" y="1151036"/>
                </a:lnTo>
                <a:lnTo>
                  <a:pt x="1741363" y="1141357"/>
                </a:lnTo>
                <a:lnTo>
                  <a:pt x="1749120" y="1131255"/>
                </a:lnTo>
                <a:lnTo>
                  <a:pt x="1756475" y="1120737"/>
                </a:lnTo>
                <a:lnTo>
                  <a:pt x="1758835" y="1117142"/>
                </a:lnTo>
                <a:lnTo>
                  <a:pt x="1650542" y="1117117"/>
                </a:lnTo>
                <a:lnTo>
                  <a:pt x="1650542" y="1107173"/>
                </a:lnTo>
                <a:lnTo>
                  <a:pt x="1764652" y="1107186"/>
                </a:lnTo>
                <a:lnTo>
                  <a:pt x="1767230" y="1102829"/>
                </a:lnTo>
                <a:lnTo>
                  <a:pt x="1768475" y="1100620"/>
                </a:lnTo>
                <a:lnTo>
                  <a:pt x="1650542" y="1100594"/>
                </a:lnTo>
                <a:lnTo>
                  <a:pt x="1650542" y="1090650"/>
                </a:lnTo>
                <a:lnTo>
                  <a:pt x="1774278" y="1090663"/>
                </a:lnTo>
                <a:lnTo>
                  <a:pt x="1776374" y="1086231"/>
                </a:lnTo>
                <a:lnTo>
                  <a:pt x="1777492" y="1084046"/>
                </a:lnTo>
                <a:lnTo>
                  <a:pt x="1650542" y="1084033"/>
                </a:lnTo>
                <a:lnTo>
                  <a:pt x="1650542" y="1074077"/>
                </a:lnTo>
                <a:lnTo>
                  <a:pt x="1782279" y="1074102"/>
                </a:lnTo>
                <a:lnTo>
                  <a:pt x="1784464" y="1069746"/>
                </a:lnTo>
                <a:lnTo>
                  <a:pt x="1785480" y="1067511"/>
                </a:lnTo>
                <a:lnTo>
                  <a:pt x="1650568" y="1067498"/>
                </a:lnTo>
                <a:lnTo>
                  <a:pt x="1650568" y="1057541"/>
                </a:lnTo>
                <a:lnTo>
                  <a:pt x="1789823" y="1057579"/>
                </a:lnTo>
                <a:lnTo>
                  <a:pt x="1791576" y="1053185"/>
                </a:lnTo>
                <a:lnTo>
                  <a:pt x="1792477" y="1051001"/>
                </a:lnTo>
                <a:lnTo>
                  <a:pt x="1650568" y="1050963"/>
                </a:lnTo>
                <a:lnTo>
                  <a:pt x="1650568" y="1041006"/>
                </a:lnTo>
                <a:lnTo>
                  <a:pt x="1796478" y="1041069"/>
                </a:lnTo>
                <a:lnTo>
                  <a:pt x="1798307" y="1036713"/>
                </a:lnTo>
                <a:lnTo>
                  <a:pt x="1799120" y="1034465"/>
                </a:lnTo>
                <a:lnTo>
                  <a:pt x="1650568" y="1034427"/>
                </a:lnTo>
                <a:lnTo>
                  <a:pt x="1650568" y="1024470"/>
                </a:lnTo>
                <a:lnTo>
                  <a:pt x="1802511" y="1024521"/>
                </a:lnTo>
                <a:lnTo>
                  <a:pt x="1803984" y="1020127"/>
                </a:lnTo>
                <a:lnTo>
                  <a:pt x="1804720" y="1017930"/>
                </a:lnTo>
                <a:lnTo>
                  <a:pt x="1650568" y="1017892"/>
                </a:lnTo>
                <a:lnTo>
                  <a:pt x="1650568" y="1007935"/>
                </a:lnTo>
                <a:lnTo>
                  <a:pt x="1808073" y="1007986"/>
                </a:lnTo>
                <a:lnTo>
                  <a:pt x="1809470" y="1003579"/>
                </a:lnTo>
                <a:lnTo>
                  <a:pt x="1810143" y="1001369"/>
                </a:lnTo>
                <a:lnTo>
                  <a:pt x="1650568" y="1001318"/>
                </a:lnTo>
                <a:lnTo>
                  <a:pt x="1650568" y="991374"/>
                </a:lnTo>
                <a:lnTo>
                  <a:pt x="1812950" y="991412"/>
                </a:lnTo>
                <a:lnTo>
                  <a:pt x="1814195" y="987031"/>
                </a:lnTo>
                <a:lnTo>
                  <a:pt x="1814804" y="984846"/>
                </a:lnTo>
                <a:lnTo>
                  <a:pt x="1650568" y="984796"/>
                </a:lnTo>
                <a:lnTo>
                  <a:pt x="1650568" y="974852"/>
                </a:lnTo>
                <a:lnTo>
                  <a:pt x="1817598" y="974890"/>
                </a:lnTo>
                <a:lnTo>
                  <a:pt x="1818652" y="970483"/>
                </a:lnTo>
                <a:lnTo>
                  <a:pt x="1819198" y="968286"/>
                </a:lnTo>
                <a:lnTo>
                  <a:pt x="1650568" y="968235"/>
                </a:lnTo>
                <a:lnTo>
                  <a:pt x="1650568" y="958291"/>
                </a:lnTo>
                <a:lnTo>
                  <a:pt x="1821561" y="958329"/>
                </a:lnTo>
                <a:lnTo>
                  <a:pt x="1822615" y="953947"/>
                </a:lnTo>
                <a:lnTo>
                  <a:pt x="1823110" y="951750"/>
                </a:lnTo>
                <a:lnTo>
                  <a:pt x="1650568" y="951712"/>
                </a:lnTo>
                <a:lnTo>
                  <a:pt x="1650568" y="941755"/>
                </a:lnTo>
                <a:lnTo>
                  <a:pt x="1825396" y="941793"/>
                </a:lnTo>
                <a:lnTo>
                  <a:pt x="1826247" y="937412"/>
                </a:lnTo>
                <a:lnTo>
                  <a:pt x="1826704" y="935215"/>
                </a:lnTo>
                <a:lnTo>
                  <a:pt x="1650568" y="935164"/>
                </a:lnTo>
                <a:lnTo>
                  <a:pt x="1650568" y="925220"/>
                </a:lnTo>
                <a:lnTo>
                  <a:pt x="1828673" y="925258"/>
                </a:lnTo>
                <a:lnTo>
                  <a:pt x="1829574" y="920877"/>
                </a:lnTo>
                <a:lnTo>
                  <a:pt x="1829955" y="918692"/>
                </a:lnTo>
                <a:lnTo>
                  <a:pt x="1650593" y="918629"/>
                </a:lnTo>
                <a:lnTo>
                  <a:pt x="1650593" y="908685"/>
                </a:lnTo>
                <a:lnTo>
                  <a:pt x="1831771" y="908748"/>
                </a:lnTo>
                <a:lnTo>
                  <a:pt x="1832495" y="904354"/>
                </a:lnTo>
                <a:lnTo>
                  <a:pt x="1832851" y="902157"/>
                </a:lnTo>
                <a:lnTo>
                  <a:pt x="1650593" y="902106"/>
                </a:lnTo>
                <a:lnTo>
                  <a:pt x="1650593" y="892162"/>
                </a:lnTo>
                <a:lnTo>
                  <a:pt x="1834515" y="892200"/>
                </a:lnTo>
                <a:lnTo>
                  <a:pt x="1835251" y="887768"/>
                </a:lnTo>
                <a:lnTo>
                  <a:pt x="1835581" y="885609"/>
                </a:lnTo>
                <a:lnTo>
                  <a:pt x="1650593" y="885545"/>
                </a:lnTo>
                <a:lnTo>
                  <a:pt x="1650593" y="875588"/>
                </a:lnTo>
                <a:lnTo>
                  <a:pt x="1837004" y="875626"/>
                </a:lnTo>
                <a:lnTo>
                  <a:pt x="1837601" y="871245"/>
                </a:lnTo>
                <a:lnTo>
                  <a:pt x="1837905" y="869061"/>
                </a:lnTo>
                <a:lnTo>
                  <a:pt x="1650593" y="869010"/>
                </a:lnTo>
                <a:lnTo>
                  <a:pt x="1650593" y="859066"/>
                </a:lnTo>
                <a:lnTo>
                  <a:pt x="1839277" y="859104"/>
                </a:lnTo>
                <a:lnTo>
                  <a:pt x="1839823" y="854722"/>
                </a:lnTo>
                <a:lnTo>
                  <a:pt x="1840090" y="852551"/>
                </a:lnTo>
                <a:lnTo>
                  <a:pt x="1650593" y="852474"/>
                </a:lnTo>
                <a:lnTo>
                  <a:pt x="1650593" y="842530"/>
                </a:lnTo>
                <a:lnTo>
                  <a:pt x="1841220" y="842568"/>
                </a:lnTo>
                <a:lnTo>
                  <a:pt x="1841753" y="838161"/>
                </a:lnTo>
                <a:lnTo>
                  <a:pt x="1841969" y="836002"/>
                </a:lnTo>
                <a:lnTo>
                  <a:pt x="1650593" y="835952"/>
                </a:lnTo>
                <a:lnTo>
                  <a:pt x="1650593" y="825982"/>
                </a:lnTo>
                <a:lnTo>
                  <a:pt x="1843036" y="826046"/>
                </a:lnTo>
                <a:lnTo>
                  <a:pt x="1843455" y="821651"/>
                </a:lnTo>
                <a:lnTo>
                  <a:pt x="1843671" y="819404"/>
                </a:lnTo>
                <a:lnTo>
                  <a:pt x="1650593" y="819391"/>
                </a:lnTo>
                <a:lnTo>
                  <a:pt x="1650593" y="809409"/>
                </a:lnTo>
                <a:lnTo>
                  <a:pt x="1844611" y="809459"/>
                </a:lnTo>
                <a:lnTo>
                  <a:pt x="1845030" y="805014"/>
                </a:lnTo>
                <a:lnTo>
                  <a:pt x="1845233" y="802894"/>
                </a:lnTo>
                <a:lnTo>
                  <a:pt x="1650593" y="802855"/>
                </a:lnTo>
                <a:lnTo>
                  <a:pt x="1650593" y="792899"/>
                </a:lnTo>
                <a:lnTo>
                  <a:pt x="1846021" y="792924"/>
                </a:lnTo>
                <a:lnTo>
                  <a:pt x="1846364" y="788492"/>
                </a:lnTo>
                <a:lnTo>
                  <a:pt x="1846541" y="786371"/>
                </a:lnTo>
                <a:lnTo>
                  <a:pt x="1650593" y="786320"/>
                </a:lnTo>
                <a:lnTo>
                  <a:pt x="1650593" y="776351"/>
                </a:lnTo>
                <a:lnTo>
                  <a:pt x="1847265" y="776414"/>
                </a:lnTo>
                <a:lnTo>
                  <a:pt x="1847570" y="771994"/>
                </a:lnTo>
                <a:lnTo>
                  <a:pt x="1847723" y="769810"/>
                </a:lnTo>
                <a:lnTo>
                  <a:pt x="1650593" y="769759"/>
                </a:lnTo>
                <a:lnTo>
                  <a:pt x="1650593" y="759790"/>
                </a:lnTo>
                <a:lnTo>
                  <a:pt x="1848396" y="759853"/>
                </a:lnTo>
                <a:lnTo>
                  <a:pt x="1848688" y="755497"/>
                </a:lnTo>
                <a:lnTo>
                  <a:pt x="1848815" y="753275"/>
                </a:lnTo>
                <a:lnTo>
                  <a:pt x="1650631" y="753237"/>
                </a:lnTo>
                <a:lnTo>
                  <a:pt x="1650631" y="743267"/>
                </a:lnTo>
                <a:lnTo>
                  <a:pt x="1849450" y="743305"/>
                </a:lnTo>
                <a:lnTo>
                  <a:pt x="1849627" y="739825"/>
                </a:lnTo>
                <a:lnTo>
                  <a:pt x="1849754" y="736739"/>
                </a:lnTo>
                <a:lnTo>
                  <a:pt x="1650631" y="736701"/>
                </a:lnTo>
                <a:lnTo>
                  <a:pt x="1650631" y="726719"/>
                </a:lnTo>
                <a:lnTo>
                  <a:pt x="1850174" y="726795"/>
                </a:lnTo>
                <a:lnTo>
                  <a:pt x="1850326" y="722388"/>
                </a:lnTo>
                <a:lnTo>
                  <a:pt x="1850453" y="720191"/>
                </a:lnTo>
                <a:lnTo>
                  <a:pt x="1650631" y="720153"/>
                </a:lnTo>
                <a:lnTo>
                  <a:pt x="1650631" y="710196"/>
                </a:lnTo>
                <a:lnTo>
                  <a:pt x="1850872" y="710247"/>
                </a:lnTo>
                <a:lnTo>
                  <a:pt x="1851489" y="697582"/>
                </a:lnTo>
                <a:lnTo>
                  <a:pt x="1852083" y="684913"/>
                </a:lnTo>
                <a:lnTo>
                  <a:pt x="1852599" y="672220"/>
                </a:lnTo>
                <a:lnTo>
                  <a:pt x="1852942" y="660984"/>
                </a:lnTo>
                <a:lnTo>
                  <a:pt x="1853165" y="648291"/>
                </a:lnTo>
                <a:lnTo>
                  <a:pt x="1853316" y="635585"/>
                </a:lnTo>
                <a:lnTo>
                  <a:pt x="1853349" y="633336"/>
                </a:lnTo>
                <a:lnTo>
                  <a:pt x="1853492" y="620658"/>
                </a:lnTo>
                <a:lnTo>
                  <a:pt x="1853379" y="569949"/>
                </a:lnTo>
                <a:lnTo>
                  <a:pt x="1853184" y="557262"/>
                </a:lnTo>
                <a:lnTo>
                  <a:pt x="1852922" y="544566"/>
                </a:lnTo>
                <a:lnTo>
                  <a:pt x="1852604" y="531861"/>
                </a:lnTo>
                <a:lnTo>
                  <a:pt x="1852235" y="519149"/>
                </a:lnTo>
                <a:lnTo>
                  <a:pt x="1852015" y="512178"/>
                </a:lnTo>
                <a:lnTo>
                  <a:pt x="1851646" y="499484"/>
                </a:lnTo>
                <a:lnTo>
                  <a:pt x="1851264" y="486792"/>
                </a:lnTo>
                <a:lnTo>
                  <a:pt x="1850999" y="480148"/>
                </a:lnTo>
                <a:lnTo>
                  <a:pt x="1850424" y="467454"/>
                </a:lnTo>
                <a:lnTo>
                  <a:pt x="1849801" y="454761"/>
                </a:lnTo>
                <a:lnTo>
                  <a:pt x="1849128" y="442072"/>
                </a:lnTo>
                <a:lnTo>
                  <a:pt x="1848405" y="429387"/>
                </a:lnTo>
                <a:lnTo>
                  <a:pt x="1847633" y="416709"/>
                </a:lnTo>
                <a:lnTo>
                  <a:pt x="1846810" y="404039"/>
                </a:lnTo>
                <a:lnTo>
                  <a:pt x="1845935" y="391379"/>
                </a:lnTo>
                <a:lnTo>
                  <a:pt x="1845246" y="381901"/>
                </a:lnTo>
                <a:lnTo>
                  <a:pt x="1845055" y="378790"/>
                </a:lnTo>
                <a:lnTo>
                  <a:pt x="1844878" y="376224"/>
                </a:lnTo>
                <a:lnTo>
                  <a:pt x="1844700" y="373583"/>
                </a:lnTo>
                <a:lnTo>
                  <a:pt x="1844573" y="371729"/>
                </a:lnTo>
                <a:lnTo>
                  <a:pt x="1844357" y="368338"/>
                </a:lnTo>
                <a:lnTo>
                  <a:pt x="1844357" y="365137"/>
                </a:lnTo>
                <a:lnTo>
                  <a:pt x="1844179" y="361797"/>
                </a:lnTo>
                <a:lnTo>
                  <a:pt x="1843913" y="356235"/>
                </a:lnTo>
                <a:lnTo>
                  <a:pt x="1843659" y="350685"/>
                </a:lnTo>
                <a:lnTo>
                  <a:pt x="1843481" y="341122"/>
                </a:lnTo>
                <a:lnTo>
                  <a:pt x="1843608" y="321995"/>
                </a:lnTo>
                <a:lnTo>
                  <a:pt x="1843786" y="316611"/>
                </a:lnTo>
                <a:lnTo>
                  <a:pt x="1843913" y="313016"/>
                </a:lnTo>
                <a:lnTo>
                  <a:pt x="1844141" y="309499"/>
                </a:lnTo>
                <a:lnTo>
                  <a:pt x="1844357" y="305968"/>
                </a:lnTo>
                <a:lnTo>
                  <a:pt x="1844687" y="300266"/>
                </a:lnTo>
                <a:lnTo>
                  <a:pt x="1845055" y="294614"/>
                </a:lnTo>
                <a:lnTo>
                  <a:pt x="1845576" y="289090"/>
                </a:lnTo>
                <a:lnTo>
                  <a:pt x="1845868" y="286156"/>
                </a:lnTo>
                <a:lnTo>
                  <a:pt x="1846186" y="283273"/>
                </a:lnTo>
                <a:lnTo>
                  <a:pt x="1846516" y="280390"/>
                </a:lnTo>
                <a:lnTo>
                  <a:pt x="1847215" y="274421"/>
                </a:lnTo>
                <a:lnTo>
                  <a:pt x="1847989" y="268528"/>
                </a:lnTo>
                <a:lnTo>
                  <a:pt x="1848878" y="262775"/>
                </a:lnTo>
                <a:lnTo>
                  <a:pt x="1849627" y="258292"/>
                </a:lnTo>
                <a:lnTo>
                  <a:pt x="1850021" y="256070"/>
                </a:lnTo>
                <a:lnTo>
                  <a:pt x="1851113" y="249796"/>
                </a:lnTo>
                <a:lnTo>
                  <a:pt x="1852333" y="243649"/>
                </a:lnTo>
                <a:lnTo>
                  <a:pt x="1853692" y="237629"/>
                </a:lnTo>
                <a:lnTo>
                  <a:pt x="1854415" y="234492"/>
                </a:lnTo>
                <a:lnTo>
                  <a:pt x="1856359" y="226390"/>
                </a:lnTo>
                <a:lnTo>
                  <a:pt x="1858073" y="220002"/>
                </a:lnTo>
                <a:lnTo>
                  <a:pt x="1859927" y="213766"/>
                </a:lnTo>
                <a:lnTo>
                  <a:pt x="1860803" y="210858"/>
                </a:lnTo>
                <a:lnTo>
                  <a:pt x="1862899" y="204114"/>
                </a:lnTo>
                <a:lnTo>
                  <a:pt x="1865160" y="197535"/>
                </a:lnTo>
                <a:lnTo>
                  <a:pt x="1867560" y="191147"/>
                </a:lnTo>
                <a:lnTo>
                  <a:pt x="1868068" y="189865"/>
                </a:lnTo>
                <a:lnTo>
                  <a:pt x="1870671" y="183019"/>
                </a:lnTo>
                <a:lnTo>
                  <a:pt x="1873491" y="176377"/>
                </a:lnTo>
                <a:lnTo>
                  <a:pt x="1590573" y="337832"/>
                </a:lnTo>
                <a:lnTo>
                  <a:pt x="1590573" y="598639"/>
                </a:lnTo>
                <a:lnTo>
                  <a:pt x="1329766" y="598639"/>
                </a:lnTo>
                <a:lnTo>
                  <a:pt x="1329766" y="337832"/>
                </a:lnTo>
                <a:lnTo>
                  <a:pt x="1971332" y="54563"/>
                </a:lnTo>
                <a:lnTo>
                  <a:pt x="1982165" y="46900"/>
                </a:lnTo>
                <a:lnTo>
                  <a:pt x="1993286" y="39661"/>
                </a:lnTo>
                <a:lnTo>
                  <a:pt x="2004676" y="32837"/>
                </a:lnTo>
                <a:lnTo>
                  <a:pt x="2016316" y="26416"/>
                </a:lnTo>
                <a:lnTo>
                  <a:pt x="2028188" y="20388"/>
                </a:lnTo>
                <a:lnTo>
                  <a:pt x="2040273" y="14743"/>
                </a:lnTo>
                <a:lnTo>
                  <a:pt x="2052552" y="9470"/>
                </a:lnTo>
                <a:lnTo>
                  <a:pt x="2065007" y="4559"/>
                </a:lnTo>
                <a:lnTo>
                  <a:pt x="2070241" y="2667"/>
                </a:lnTo>
                <a:lnTo>
                  <a:pt x="1922799" y="2667"/>
                </a:lnTo>
                <a:lnTo>
                  <a:pt x="357657" y="29629"/>
                </a:lnTo>
                <a:lnTo>
                  <a:pt x="357657" y="290436"/>
                </a:lnTo>
                <a:lnTo>
                  <a:pt x="96850" y="290436"/>
                </a:lnTo>
                <a:lnTo>
                  <a:pt x="96850" y="337832"/>
                </a:lnTo>
                <a:lnTo>
                  <a:pt x="357657" y="337832"/>
                </a:lnTo>
                <a:lnTo>
                  <a:pt x="404220" y="1552067"/>
                </a:lnTo>
                <a:lnTo>
                  <a:pt x="405091" y="1552067"/>
                </a:lnTo>
                <a:lnTo>
                  <a:pt x="405091" y="29629"/>
                </a:lnTo>
                <a:lnTo>
                  <a:pt x="665873" y="29629"/>
                </a:lnTo>
                <a:lnTo>
                  <a:pt x="712622" y="1552067"/>
                </a:lnTo>
                <a:lnTo>
                  <a:pt x="1099468" y="1552067"/>
                </a:lnTo>
                <a:lnTo>
                  <a:pt x="1102577" y="1550480"/>
                </a:lnTo>
                <a:close/>
              </a:path>
              <a:path w="1971332" h="1574800">
                <a:moveTo>
                  <a:pt x="357657" y="954278"/>
                </a:moveTo>
                <a:lnTo>
                  <a:pt x="357657" y="1215085"/>
                </a:lnTo>
                <a:lnTo>
                  <a:pt x="96850" y="1215085"/>
                </a:lnTo>
                <a:lnTo>
                  <a:pt x="357657" y="1262519"/>
                </a:lnTo>
                <a:lnTo>
                  <a:pt x="357657" y="1523326"/>
                </a:lnTo>
                <a:lnTo>
                  <a:pt x="96850" y="1523326"/>
                </a:lnTo>
                <a:lnTo>
                  <a:pt x="96850" y="29629"/>
                </a:lnTo>
                <a:lnTo>
                  <a:pt x="357657" y="29629"/>
                </a:lnTo>
                <a:lnTo>
                  <a:pt x="1922799" y="2667"/>
                </a:lnTo>
                <a:lnTo>
                  <a:pt x="0" y="2667"/>
                </a:lnTo>
                <a:lnTo>
                  <a:pt x="0" y="1552067"/>
                </a:lnTo>
                <a:lnTo>
                  <a:pt x="403354" y="1552067"/>
                </a:lnTo>
                <a:lnTo>
                  <a:pt x="357657" y="954278"/>
                </a:lnTo>
                <a:close/>
              </a:path>
              <a:path w="1971332" h="1574800">
                <a:moveTo>
                  <a:pt x="96850" y="1215085"/>
                </a:moveTo>
                <a:lnTo>
                  <a:pt x="96850" y="1262519"/>
                </a:lnTo>
                <a:lnTo>
                  <a:pt x="357657" y="1262519"/>
                </a:lnTo>
                <a:lnTo>
                  <a:pt x="96850" y="1215085"/>
                </a:lnTo>
                <a:close/>
              </a:path>
              <a:path w="1971332" h="1574800">
                <a:moveTo>
                  <a:pt x="357657" y="337832"/>
                </a:moveTo>
                <a:lnTo>
                  <a:pt x="357657" y="598639"/>
                </a:lnTo>
                <a:lnTo>
                  <a:pt x="357657" y="906868"/>
                </a:lnTo>
                <a:lnTo>
                  <a:pt x="96850" y="906868"/>
                </a:lnTo>
                <a:lnTo>
                  <a:pt x="96850" y="954278"/>
                </a:lnTo>
                <a:lnTo>
                  <a:pt x="357657" y="954278"/>
                </a:lnTo>
                <a:lnTo>
                  <a:pt x="403354" y="1552067"/>
                </a:lnTo>
                <a:lnTo>
                  <a:pt x="404220" y="1552067"/>
                </a:lnTo>
                <a:lnTo>
                  <a:pt x="357657" y="337832"/>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1" name="object 171"/>
          <p:cNvSpPr/>
          <p:nvPr/>
        </p:nvSpPr>
        <p:spPr>
          <a:xfrm>
            <a:off x="6831336" y="5464344"/>
            <a:ext cx="8" cy="183380"/>
          </a:xfrm>
          <a:custGeom>
            <a:avLst/>
            <a:gdLst/>
            <a:ahLst/>
            <a:cxnLst/>
            <a:rect l="l" t="t" r="r" b="b"/>
            <a:pathLst>
              <a:path w="12" h="260807">
                <a:moveTo>
                  <a:pt x="0" y="260807"/>
                </a:moveTo>
                <a:lnTo>
                  <a:pt x="12" y="0"/>
                </a:lnTo>
                <a:lnTo>
                  <a:pt x="0" y="260807"/>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2" name="object 172"/>
          <p:cNvSpPr/>
          <p:nvPr/>
        </p:nvSpPr>
        <p:spPr>
          <a:xfrm>
            <a:off x="6831336" y="5247629"/>
            <a:ext cx="8" cy="183380"/>
          </a:xfrm>
          <a:custGeom>
            <a:avLst/>
            <a:gdLst/>
            <a:ahLst/>
            <a:cxnLst/>
            <a:rect l="l" t="t" r="r" b="b"/>
            <a:pathLst>
              <a:path w="12" h="260807">
                <a:moveTo>
                  <a:pt x="0" y="260807"/>
                </a:moveTo>
                <a:lnTo>
                  <a:pt x="12" y="0"/>
                </a:lnTo>
                <a:lnTo>
                  <a:pt x="0" y="260807"/>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3" name="object 173"/>
          <p:cNvSpPr/>
          <p:nvPr/>
        </p:nvSpPr>
        <p:spPr>
          <a:xfrm>
            <a:off x="6831336" y="5030905"/>
            <a:ext cx="8" cy="183380"/>
          </a:xfrm>
          <a:custGeom>
            <a:avLst/>
            <a:gdLst/>
            <a:ahLst/>
            <a:cxnLst/>
            <a:rect l="l" t="t" r="r" b="b"/>
            <a:pathLst>
              <a:path w="12" h="260807">
                <a:moveTo>
                  <a:pt x="0" y="260807"/>
                </a:moveTo>
                <a:lnTo>
                  <a:pt x="12" y="0"/>
                </a:lnTo>
                <a:lnTo>
                  <a:pt x="0" y="260807"/>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4" name="object 174"/>
          <p:cNvSpPr/>
          <p:nvPr/>
        </p:nvSpPr>
        <p:spPr>
          <a:xfrm>
            <a:off x="6831336" y="4814200"/>
            <a:ext cx="8" cy="183380"/>
          </a:xfrm>
          <a:custGeom>
            <a:avLst/>
            <a:gdLst/>
            <a:ahLst/>
            <a:cxnLst/>
            <a:rect l="l" t="t" r="r" b="b"/>
            <a:pathLst>
              <a:path w="12" h="260807">
                <a:moveTo>
                  <a:pt x="0" y="260807"/>
                </a:moveTo>
                <a:lnTo>
                  <a:pt x="12" y="0"/>
                </a:lnTo>
                <a:lnTo>
                  <a:pt x="0" y="260807"/>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5" name="object 175"/>
          <p:cNvSpPr/>
          <p:nvPr/>
        </p:nvSpPr>
        <p:spPr>
          <a:xfrm>
            <a:off x="7048059" y="5247629"/>
            <a:ext cx="0" cy="183380"/>
          </a:xfrm>
          <a:custGeom>
            <a:avLst/>
            <a:gdLst/>
            <a:ahLst/>
            <a:cxnLst/>
            <a:rect l="l" t="t" r="r" b="b"/>
            <a:pathLst>
              <a:path h="260807">
                <a:moveTo>
                  <a:pt x="0" y="260807"/>
                </a:moveTo>
                <a:lnTo>
                  <a:pt x="0" y="0"/>
                </a:lnTo>
                <a:lnTo>
                  <a:pt x="0" y="260807"/>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6" name="object 176"/>
          <p:cNvSpPr/>
          <p:nvPr/>
        </p:nvSpPr>
        <p:spPr>
          <a:xfrm>
            <a:off x="7048059" y="5030905"/>
            <a:ext cx="0" cy="183380"/>
          </a:xfrm>
          <a:custGeom>
            <a:avLst/>
            <a:gdLst/>
            <a:ahLst/>
            <a:cxnLst/>
            <a:rect l="l" t="t" r="r" b="b"/>
            <a:pathLst>
              <a:path h="260807">
                <a:moveTo>
                  <a:pt x="0" y="260807"/>
                </a:moveTo>
                <a:lnTo>
                  <a:pt x="0" y="0"/>
                </a:lnTo>
                <a:lnTo>
                  <a:pt x="0" y="260807"/>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7" name="object 177"/>
          <p:cNvSpPr/>
          <p:nvPr/>
        </p:nvSpPr>
        <p:spPr>
          <a:xfrm>
            <a:off x="5517862" y="5339435"/>
            <a:ext cx="14484" cy="19386"/>
          </a:xfrm>
          <a:custGeom>
            <a:avLst/>
            <a:gdLst/>
            <a:ahLst/>
            <a:cxnLst/>
            <a:rect l="l" t="t" r="r" b="b"/>
            <a:pathLst>
              <a:path w="20599" h="27571">
                <a:moveTo>
                  <a:pt x="6275" y="8864"/>
                </a:moveTo>
                <a:lnTo>
                  <a:pt x="0" y="0"/>
                </a:lnTo>
                <a:lnTo>
                  <a:pt x="5150" y="7342"/>
                </a:lnTo>
                <a:lnTo>
                  <a:pt x="6275" y="8864"/>
                </a:lnTo>
                <a:close/>
              </a:path>
              <a:path w="20599" h="27571">
                <a:moveTo>
                  <a:pt x="20573" y="27520"/>
                </a:moveTo>
                <a:lnTo>
                  <a:pt x="13760" y="18903"/>
                </a:lnTo>
                <a:lnTo>
                  <a:pt x="14978" y="20523"/>
                </a:lnTo>
                <a:lnTo>
                  <a:pt x="20599" y="27571"/>
                </a:lnTo>
                <a:close/>
              </a:path>
              <a:path w="20599" h="27571">
                <a:moveTo>
                  <a:pt x="9899" y="13771"/>
                </a:moveTo>
                <a:lnTo>
                  <a:pt x="6275" y="8864"/>
                </a:lnTo>
                <a:lnTo>
                  <a:pt x="7343" y="10374"/>
                </a:lnTo>
                <a:lnTo>
                  <a:pt x="9899" y="13771"/>
                </a:lnTo>
                <a:close/>
              </a:path>
              <a:path w="20599" h="27571">
                <a:moveTo>
                  <a:pt x="13760" y="18903"/>
                </a:moveTo>
                <a:lnTo>
                  <a:pt x="9899" y="13771"/>
                </a:lnTo>
                <a:lnTo>
                  <a:pt x="12696" y="17558"/>
                </a:lnTo>
                <a:lnTo>
                  <a:pt x="13760" y="18903"/>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8" name="object 178"/>
          <p:cNvSpPr/>
          <p:nvPr/>
        </p:nvSpPr>
        <p:spPr>
          <a:xfrm>
            <a:off x="5533193" y="5359890"/>
            <a:ext cx="12502" cy="14216"/>
          </a:xfrm>
          <a:custGeom>
            <a:avLst/>
            <a:gdLst/>
            <a:ahLst/>
            <a:cxnLst/>
            <a:rect l="l" t="t" r="r" b="b"/>
            <a:pathLst>
              <a:path w="17779" h="20218">
                <a:moveTo>
                  <a:pt x="8535" y="10016"/>
                </a:moveTo>
                <a:lnTo>
                  <a:pt x="5973" y="7024"/>
                </a:lnTo>
                <a:lnTo>
                  <a:pt x="8230" y="9678"/>
                </a:lnTo>
                <a:lnTo>
                  <a:pt x="8535" y="10016"/>
                </a:lnTo>
                <a:close/>
              </a:path>
              <a:path w="17779" h="20218">
                <a:moveTo>
                  <a:pt x="13535" y="15557"/>
                </a:moveTo>
                <a:lnTo>
                  <a:pt x="8535" y="10016"/>
                </a:lnTo>
                <a:lnTo>
                  <a:pt x="9233" y="10831"/>
                </a:lnTo>
                <a:lnTo>
                  <a:pt x="13535" y="15557"/>
                </a:lnTo>
                <a:close/>
              </a:path>
              <a:path w="17779" h="20218">
                <a:moveTo>
                  <a:pt x="17779" y="20218"/>
                </a:moveTo>
                <a:lnTo>
                  <a:pt x="13535" y="15557"/>
                </a:lnTo>
                <a:lnTo>
                  <a:pt x="16738" y="19105"/>
                </a:lnTo>
                <a:lnTo>
                  <a:pt x="17779" y="20218"/>
                </a:lnTo>
                <a:close/>
              </a:path>
              <a:path w="17779" h="20218">
                <a:moveTo>
                  <a:pt x="5973" y="7024"/>
                </a:moveTo>
                <a:lnTo>
                  <a:pt x="0" y="0"/>
                </a:lnTo>
                <a:lnTo>
                  <a:pt x="968" y="1179"/>
                </a:lnTo>
                <a:lnTo>
                  <a:pt x="5973" y="7024"/>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79" name="object 179"/>
          <p:cNvSpPr/>
          <p:nvPr/>
        </p:nvSpPr>
        <p:spPr>
          <a:xfrm>
            <a:off x="4802570" y="4803321"/>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0" name="object 180"/>
          <p:cNvSpPr/>
          <p:nvPr/>
        </p:nvSpPr>
        <p:spPr>
          <a:xfrm>
            <a:off x="4802570" y="4826567"/>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1" name="object 181"/>
          <p:cNvSpPr/>
          <p:nvPr/>
        </p:nvSpPr>
        <p:spPr>
          <a:xfrm>
            <a:off x="4802570" y="4849835"/>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2" name="object 182"/>
          <p:cNvSpPr/>
          <p:nvPr/>
        </p:nvSpPr>
        <p:spPr>
          <a:xfrm>
            <a:off x="4802570" y="4861463"/>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3" name="object 183"/>
          <p:cNvSpPr/>
          <p:nvPr/>
        </p:nvSpPr>
        <p:spPr>
          <a:xfrm>
            <a:off x="4802570" y="4873091"/>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4" name="object 184"/>
          <p:cNvSpPr/>
          <p:nvPr/>
        </p:nvSpPr>
        <p:spPr>
          <a:xfrm>
            <a:off x="4802572" y="4793367"/>
            <a:ext cx="1310494" cy="1059066"/>
          </a:xfrm>
          <a:custGeom>
            <a:avLst/>
            <a:gdLst/>
            <a:ahLst/>
            <a:cxnLst/>
            <a:rect l="l" t="t" r="r" b="b"/>
            <a:pathLst>
              <a:path w="1863813" h="1506227">
                <a:moveTo>
                  <a:pt x="656892" y="1106065"/>
                </a:moveTo>
                <a:lnTo>
                  <a:pt x="659080" y="1106313"/>
                </a:lnTo>
                <a:lnTo>
                  <a:pt x="663364" y="1106690"/>
                </a:lnTo>
                <a:lnTo>
                  <a:pt x="656892" y="1106065"/>
                </a:lnTo>
                <a:close/>
              </a:path>
              <a:path w="1863813" h="1506227">
                <a:moveTo>
                  <a:pt x="663364" y="1106690"/>
                </a:moveTo>
                <a:lnTo>
                  <a:pt x="667659" y="1107104"/>
                </a:lnTo>
                <a:lnTo>
                  <a:pt x="669860" y="1107261"/>
                </a:lnTo>
                <a:lnTo>
                  <a:pt x="663364" y="1106690"/>
                </a:lnTo>
                <a:close/>
              </a:path>
              <a:path w="1863813" h="1506227">
                <a:moveTo>
                  <a:pt x="669860" y="1107261"/>
                </a:moveTo>
                <a:lnTo>
                  <a:pt x="672065" y="1107455"/>
                </a:lnTo>
                <a:lnTo>
                  <a:pt x="676377" y="1107726"/>
                </a:lnTo>
                <a:lnTo>
                  <a:pt x="669860" y="1107261"/>
                </a:lnTo>
                <a:close/>
              </a:path>
              <a:path w="1863813" h="1506227">
                <a:moveTo>
                  <a:pt x="676377" y="1107726"/>
                </a:moveTo>
                <a:lnTo>
                  <a:pt x="680703" y="1108034"/>
                </a:lnTo>
                <a:lnTo>
                  <a:pt x="682918" y="1108137"/>
                </a:lnTo>
                <a:lnTo>
                  <a:pt x="676377" y="1107726"/>
                </a:lnTo>
                <a:close/>
              </a:path>
              <a:path w="1863813" h="1506227">
                <a:moveTo>
                  <a:pt x="682918" y="1108137"/>
                </a:moveTo>
                <a:lnTo>
                  <a:pt x="685139" y="1108276"/>
                </a:lnTo>
                <a:lnTo>
                  <a:pt x="689480" y="1108440"/>
                </a:lnTo>
                <a:lnTo>
                  <a:pt x="682918" y="1108137"/>
                </a:lnTo>
                <a:close/>
              </a:path>
              <a:path w="1863813" h="1506227">
                <a:moveTo>
                  <a:pt x="689480" y="1108440"/>
                </a:moveTo>
                <a:lnTo>
                  <a:pt x="693835" y="1108641"/>
                </a:lnTo>
                <a:lnTo>
                  <a:pt x="696064" y="1108688"/>
                </a:lnTo>
                <a:lnTo>
                  <a:pt x="689480" y="1108440"/>
                </a:lnTo>
                <a:close/>
              </a:path>
              <a:path w="1863813" h="1506227">
                <a:moveTo>
                  <a:pt x="702667" y="1108827"/>
                </a:moveTo>
                <a:lnTo>
                  <a:pt x="696064" y="1108688"/>
                </a:lnTo>
                <a:lnTo>
                  <a:pt x="702667" y="1108828"/>
                </a:lnTo>
                <a:close/>
              </a:path>
              <a:path w="1863813" h="1506227">
                <a:moveTo>
                  <a:pt x="711542" y="1108938"/>
                </a:moveTo>
                <a:lnTo>
                  <a:pt x="702667" y="1108827"/>
                </a:lnTo>
                <a:lnTo>
                  <a:pt x="711542" y="1108939"/>
                </a:lnTo>
                <a:close/>
              </a:path>
              <a:path w="1863813" h="1506227">
                <a:moveTo>
                  <a:pt x="855397" y="1457286"/>
                </a:moveTo>
                <a:lnTo>
                  <a:pt x="857055" y="1456078"/>
                </a:lnTo>
                <a:lnTo>
                  <a:pt x="851732" y="1459767"/>
                </a:lnTo>
                <a:lnTo>
                  <a:pt x="855397" y="1457286"/>
                </a:lnTo>
                <a:close/>
              </a:path>
              <a:path w="1863813" h="1506227">
                <a:moveTo>
                  <a:pt x="858519" y="1455063"/>
                </a:moveTo>
                <a:lnTo>
                  <a:pt x="861893" y="1452551"/>
                </a:lnTo>
                <a:lnTo>
                  <a:pt x="857055" y="1456078"/>
                </a:lnTo>
                <a:lnTo>
                  <a:pt x="858519" y="1455063"/>
                </a:lnTo>
                <a:close/>
              </a:path>
              <a:path w="1863813" h="1506227">
                <a:moveTo>
                  <a:pt x="865670" y="1449797"/>
                </a:moveTo>
                <a:lnTo>
                  <a:pt x="867311" y="1448517"/>
                </a:lnTo>
                <a:lnTo>
                  <a:pt x="861893" y="1452551"/>
                </a:lnTo>
                <a:lnTo>
                  <a:pt x="865670" y="1449797"/>
                </a:lnTo>
                <a:close/>
              </a:path>
              <a:path w="1863813" h="1506227">
                <a:moveTo>
                  <a:pt x="868713" y="1447473"/>
                </a:moveTo>
                <a:lnTo>
                  <a:pt x="872042" y="1444825"/>
                </a:lnTo>
                <a:lnTo>
                  <a:pt x="867311" y="1448517"/>
                </a:lnTo>
                <a:lnTo>
                  <a:pt x="868713" y="1447473"/>
                </a:lnTo>
                <a:close/>
              </a:path>
              <a:path w="1863813" h="1506227">
                <a:moveTo>
                  <a:pt x="875685" y="1441983"/>
                </a:moveTo>
                <a:lnTo>
                  <a:pt x="877238" y="1440692"/>
                </a:lnTo>
                <a:lnTo>
                  <a:pt x="872042" y="1444825"/>
                </a:lnTo>
                <a:lnTo>
                  <a:pt x="875685" y="1441983"/>
                </a:lnTo>
                <a:close/>
              </a:path>
              <a:path w="1863813" h="1506227">
                <a:moveTo>
                  <a:pt x="878654" y="1439566"/>
                </a:moveTo>
                <a:lnTo>
                  <a:pt x="882027" y="1436714"/>
                </a:lnTo>
                <a:lnTo>
                  <a:pt x="877238" y="1440692"/>
                </a:lnTo>
                <a:lnTo>
                  <a:pt x="878654" y="1439566"/>
                </a:lnTo>
                <a:close/>
              </a:path>
              <a:path w="1863813" h="1506227">
                <a:moveTo>
                  <a:pt x="885451" y="1433870"/>
                </a:moveTo>
                <a:lnTo>
                  <a:pt x="888352" y="1431366"/>
                </a:lnTo>
                <a:lnTo>
                  <a:pt x="882027" y="1436714"/>
                </a:lnTo>
                <a:lnTo>
                  <a:pt x="885451" y="1433870"/>
                </a:lnTo>
                <a:close/>
              </a:path>
              <a:path w="1863813" h="1506227">
                <a:moveTo>
                  <a:pt x="496303" y="1062469"/>
                </a:moveTo>
                <a:lnTo>
                  <a:pt x="500156" y="1064196"/>
                </a:lnTo>
                <a:lnTo>
                  <a:pt x="503946" y="1065822"/>
                </a:lnTo>
                <a:lnTo>
                  <a:pt x="496303" y="1062469"/>
                </a:lnTo>
                <a:close/>
              </a:path>
              <a:path w="1863813" h="1506227">
                <a:moveTo>
                  <a:pt x="844880" y="1464411"/>
                </a:moveTo>
                <a:lnTo>
                  <a:pt x="848065" y="1462310"/>
                </a:lnTo>
                <a:lnTo>
                  <a:pt x="851732" y="1459767"/>
                </a:lnTo>
                <a:lnTo>
                  <a:pt x="844854" y="1464424"/>
                </a:lnTo>
                <a:close/>
              </a:path>
              <a:path w="1863813" h="1506227">
                <a:moveTo>
                  <a:pt x="727827" y="1108689"/>
                </a:moveTo>
                <a:lnTo>
                  <a:pt x="743987" y="1107948"/>
                </a:lnTo>
                <a:lnTo>
                  <a:pt x="760015" y="1106721"/>
                </a:lnTo>
                <a:lnTo>
                  <a:pt x="775904" y="1105016"/>
                </a:lnTo>
                <a:lnTo>
                  <a:pt x="791646" y="1102840"/>
                </a:lnTo>
                <a:lnTo>
                  <a:pt x="807235" y="1100200"/>
                </a:lnTo>
                <a:lnTo>
                  <a:pt x="822663" y="1097103"/>
                </a:lnTo>
                <a:lnTo>
                  <a:pt x="837924" y="1093557"/>
                </a:lnTo>
                <a:lnTo>
                  <a:pt x="853009" y="1089568"/>
                </a:lnTo>
                <a:lnTo>
                  <a:pt x="867913" y="1085145"/>
                </a:lnTo>
                <a:lnTo>
                  <a:pt x="882627" y="1080293"/>
                </a:lnTo>
                <a:lnTo>
                  <a:pt x="897145" y="1075021"/>
                </a:lnTo>
                <a:lnTo>
                  <a:pt x="911459" y="1069336"/>
                </a:lnTo>
                <a:lnTo>
                  <a:pt x="925562" y="1063244"/>
                </a:lnTo>
                <a:lnTo>
                  <a:pt x="939448" y="1056753"/>
                </a:lnTo>
                <a:lnTo>
                  <a:pt x="953108" y="1049870"/>
                </a:lnTo>
                <a:lnTo>
                  <a:pt x="966537" y="1042603"/>
                </a:lnTo>
                <a:lnTo>
                  <a:pt x="979726" y="1034958"/>
                </a:lnTo>
                <a:lnTo>
                  <a:pt x="992668" y="1026943"/>
                </a:lnTo>
                <a:lnTo>
                  <a:pt x="1005357" y="1018565"/>
                </a:lnTo>
                <a:lnTo>
                  <a:pt x="992668" y="1026941"/>
                </a:lnTo>
                <a:lnTo>
                  <a:pt x="979725" y="1034955"/>
                </a:lnTo>
                <a:lnTo>
                  <a:pt x="966535" y="1042599"/>
                </a:lnTo>
                <a:lnTo>
                  <a:pt x="953106" y="1049865"/>
                </a:lnTo>
                <a:lnTo>
                  <a:pt x="939444" y="1056748"/>
                </a:lnTo>
                <a:lnTo>
                  <a:pt x="925557" y="1063238"/>
                </a:lnTo>
                <a:lnTo>
                  <a:pt x="911453" y="1069330"/>
                </a:lnTo>
                <a:lnTo>
                  <a:pt x="897137" y="1075016"/>
                </a:lnTo>
                <a:lnTo>
                  <a:pt x="882618" y="1080288"/>
                </a:lnTo>
                <a:lnTo>
                  <a:pt x="867903" y="1085140"/>
                </a:lnTo>
                <a:lnTo>
                  <a:pt x="852999" y="1089564"/>
                </a:lnTo>
                <a:lnTo>
                  <a:pt x="837913" y="1093553"/>
                </a:lnTo>
                <a:lnTo>
                  <a:pt x="822652" y="1097100"/>
                </a:lnTo>
                <a:lnTo>
                  <a:pt x="807224" y="1100197"/>
                </a:lnTo>
                <a:lnTo>
                  <a:pt x="791636" y="1102838"/>
                </a:lnTo>
                <a:lnTo>
                  <a:pt x="775894" y="1105015"/>
                </a:lnTo>
                <a:lnTo>
                  <a:pt x="760007" y="1106720"/>
                </a:lnTo>
                <a:lnTo>
                  <a:pt x="743981" y="1107948"/>
                </a:lnTo>
                <a:lnTo>
                  <a:pt x="727824" y="1108689"/>
                </a:lnTo>
                <a:lnTo>
                  <a:pt x="711542" y="1108938"/>
                </a:lnTo>
                <a:lnTo>
                  <a:pt x="727827" y="1108689"/>
                </a:lnTo>
                <a:close/>
              </a:path>
              <a:path w="1863813" h="1506227">
                <a:moveTo>
                  <a:pt x="1779384" y="539521"/>
                </a:moveTo>
                <a:lnTo>
                  <a:pt x="1777998" y="573804"/>
                </a:lnTo>
                <a:lnTo>
                  <a:pt x="1773912" y="607324"/>
                </a:lnTo>
                <a:lnTo>
                  <a:pt x="1767235" y="639973"/>
                </a:lnTo>
                <a:lnTo>
                  <a:pt x="1758072" y="671643"/>
                </a:lnTo>
                <a:lnTo>
                  <a:pt x="1746533" y="702227"/>
                </a:lnTo>
                <a:lnTo>
                  <a:pt x="1732725" y="731617"/>
                </a:lnTo>
                <a:lnTo>
                  <a:pt x="1716754" y="759707"/>
                </a:lnTo>
                <a:lnTo>
                  <a:pt x="1698730" y="786387"/>
                </a:lnTo>
                <a:lnTo>
                  <a:pt x="1678759" y="811551"/>
                </a:lnTo>
                <a:lnTo>
                  <a:pt x="1656949" y="835091"/>
                </a:lnTo>
                <a:lnTo>
                  <a:pt x="1633408" y="856900"/>
                </a:lnTo>
                <a:lnTo>
                  <a:pt x="1608244" y="876870"/>
                </a:lnTo>
                <a:lnTo>
                  <a:pt x="1581563" y="894893"/>
                </a:lnTo>
                <a:lnTo>
                  <a:pt x="1553474" y="910862"/>
                </a:lnTo>
                <a:lnTo>
                  <a:pt x="1524084" y="924669"/>
                </a:lnTo>
                <a:lnTo>
                  <a:pt x="1493501" y="936207"/>
                </a:lnTo>
                <a:lnTo>
                  <a:pt x="1461832" y="945368"/>
                </a:lnTo>
                <a:lnTo>
                  <a:pt x="1429186" y="952045"/>
                </a:lnTo>
                <a:lnTo>
                  <a:pt x="1395668" y="956130"/>
                </a:lnTo>
                <a:lnTo>
                  <a:pt x="1361389" y="957516"/>
                </a:lnTo>
                <a:lnTo>
                  <a:pt x="1347966" y="957302"/>
                </a:lnTo>
                <a:lnTo>
                  <a:pt x="1321454" y="955611"/>
                </a:lnTo>
                <a:lnTo>
                  <a:pt x="1295425" y="952283"/>
                </a:lnTo>
                <a:lnTo>
                  <a:pt x="1269928" y="947372"/>
                </a:lnTo>
                <a:lnTo>
                  <a:pt x="1245010" y="940933"/>
                </a:lnTo>
                <a:lnTo>
                  <a:pt x="1220717" y="933023"/>
                </a:lnTo>
                <a:lnTo>
                  <a:pt x="1197096" y="923696"/>
                </a:lnTo>
                <a:lnTo>
                  <a:pt x="1174196" y="913007"/>
                </a:lnTo>
                <a:lnTo>
                  <a:pt x="1152063" y="901012"/>
                </a:lnTo>
                <a:lnTo>
                  <a:pt x="1136002" y="891197"/>
                </a:lnTo>
                <a:lnTo>
                  <a:pt x="1135773" y="891514"/>
                </a:lnTo>
                <a:lnTo>
                  <a:pt x="1128182" y="901791"/>
                </a:lnTo>
                <a:lnTo>
                  <a:pt x="1120346" y="911874"/>
                </a:lnTo>
                <a:lnTo>
                  <a:pt x="1112271" y="921759"/>
                </a:lnTo>
                <a:lnTo>
                  <a:pt x="1103960" y="931441"/>
                </a:lnTo>
                <a:lnTo>
                  <a:pt x="1095418" y="940916"/>
                </a:lnTo>
                <a:lnTo>
                  <a:pt x="1086651" y="950179"/>
                </a:lnTo>
                <a:lnTo>
                  <a:pt x="1077661" y="959226"/>
                </a:lnTo>
                <a:lnTo>
                  <a:pt x="1068454" y="968052"/>
                </a:lnTo>
                <a:lnTo>
                  <a:pt x="1059035" y="976653"/>
                </a:lnTo>
                <a:lnTo>
                  <a:pt x="1049407" y="985025"/>
                </a:lnTo>
                <a:lnTo>
                  <a:pt x="1039575" y="993163"/>
                </a:lnTo>
                <a:lnTo>
                  <a:pt x="1029544" y="1001063"/>
                </a:lnTo>
                <a:lnTo>
                  <a:pt x="1019319" y="1008719"/>
                </a:lnTo>
                <a:lnTo>
                  <a:pt x="1008903" y="1016129"/>
                </a:lnTo>
                <a:lnTo>
                  <a:pt x="1005357" y="1018565"/>
                </a:lnTo>
                <a:lnTo>
                  <a:pt x="1008891" y="1030542"/>
                </a:lnTo>
                <a:lnTo>
                  <a:pt x="1012052" y="1042673"/>
                </a:lnTo>
                <a:lnTo>
                  <a:pt x="1014831" y="1054952"/>
                </a:lnTo>
                <a:lnTo>
                  <a:pt x="1017223" y="1067374"/>
                </a:lnTo>
                <a:lnTo>
                  <a:pt x="1019221" y="1079930"/>
                </a:lnTo>
                <a:lnTo>
                  <a:pt x="1020819" y="1092616"/>
                </a:lnTo>
                <a:lnTo>
                  <a:pt x="1022008" y="1105425"/>
                </a:lnTo>
                <a:lnTo>
                  <a:pt x="1022784" y="1118350"/>
                </a:lnTo>
                <a:lnTo>
                  <a:pt x="1023139" y="1131385"/>
                </a:lnTo>
                <a:lnTo>
                  <a:pt x="1023162" y="1135735"/>
                </a:lnTo>
                <a:lnTo>
                  <a:pt x="1022961" y="1148501"/>
                </a:lnTo>
                <a:lnTo>
                  <a:pt x="1022356" y="1161158"/>
                </a:lnTo>
                <a:lnTo>
                  <a:pt x="1021981" y="1166456"/>
                </a:lnTo>
                <a:lnTo>
                  <a:pt x="1034490" y="1171566"/>
                </a:lnTo>
                <a:lnTo>
                  <a:pt x="1046499" y="1177585"/>
                </a:lnTo>
                <a:lnTo>
                  <a:pt x="1057965" y="1184470"/>
                </a:lnTo>
                <a:lnTo>
                  <a:pt x="1068844" y="1192177"/>
                </a:lnTo>
                <a:lnTo>
                  <a:pt x="1079093" y="1200665"/>
                </a:lnTo>
                <a:lnTo>
                  <a:pt x="1088671" y="1209889"/>
                </a:lnTo>
                <a:lnTo>
                  <a:pt x="1097533" y="1219807"/>
                </a:lnTo>
                <a:lnTo>
                  <a:pt x="1105636" y="1230375"/>
                </a:lnTo>
                <a:lnTo>
                  <a:pt x="1112938" y="1241552"/>
                </a:lnTo>
                <a:lnTo>
                  <a:pt x="1119396" y="1253294"/>
                </a:lnTo>
                <a:lnTo>
                  <a:pt x="1124967" y="1265557"/>
                </a:lnTo>
                <a:lnTo>
                  <a:pt x="1129607" y="1278300"/>
                </a:lnTo>
                <a:lnTo>
                  <a:pt x="1133274" y="1291478"/>
                </a:lnTo>
                <a:lnTo>
                  <a:pt x="1135925" y="1305049"/>
                </a:lnTo>
                <a:lnTo>
                  <a:pt x="1137517" y="1318970"/>
                </a:lnTo>
                <a:lnTo>
                  <a:pt x="1138008" y="1332242"/>
                </a:lnTo>
                <a:lnTo>
                  <a:pt x="1137402" y="1346970"/>
                </a:lnTo>
                <a:lnTo>
                  <a:pt x="1135615" y="1361362"/>
                </a:lnTo>
                <a:lnTo>
                  <a:pt x="1132696" y="1375372"/>
                </a:lnTo>
                <a:lnTo>
                  <a:pt x="1128692" y="1388951"/>
                </a:lnTo>
                <a:lnTo>
                  <a:pt x="1123652" y="1402052"/>
                </a:lnTo>
                <a:lnTo>
                  <a:pt x="1117623" y="1414626"/>
                </a:lnTo>
                <a:lnTo>
                  <a:pt x="1110653" y="1426626"/>
                </a:lnTo>
                <a:lnTo>
                  <a:pt x="1102790" y="1438003"/>
                </a:lnTo>
                <a:lnTo>
                  <a:pt x="1094083" y="1448710"/>
                </a:lnTo>
                <a:lnTo>
                  <a:pt x="1084579" y="1458699"/>
                </a:lnTo>
                <a:lnTo>
                  <a:pt x="1347270" y="1503308"/>
                </a:lnTo>
                <a:lnTo>
                  <a:pt x="1320591" y="1494263"/>
                </a:lnTo>
                <a:lnTo>
                  <a:pt x="1296017" y="1481264"/>
                </a:lnTo>
                <a:lnTo>
                  <a:pt x="1273932" y="1464694"/>
                </a:lnTo>
                <a:lnTo>
                  <a:pt x="1254720" y="1444937"/>
                </a:lnTo>
                <a:lnTo>
                  <a:pt x="1238763" y="1422377"/>
                </a:lnTo>
                <a:lnTo>
                  <a:pt x="1226447" y="1397396"/>
                </a:lnTo>
                <a:lnTo>
                  <a:pt x="1218154" y="1370380"/>
                </a:lnTo>
                <a:lnTo>
                  <a:pt x="1214268" y="1341711"/>
                </a:lnTo>
                <a:lnTo>
                  <a:pt x="1214624" y="1317517"/>
                </a:lnTo>
                <a:lnTo>
                  <a:pt x="1219330" y="1289117"/>
                </a:lnTo>
                <a:lnTo>
                  <a:pt x="1228375" y="1262438"/>
                </a:lnTo>
                <a:lnTo>
                  <a:pt x="1241374" y="1237864"/>
                </a:lnTo>
                <a:lnTo>
                  <a:pt x="1257943" y="1215779"/>
                </a:lnTo>
                <a:lnTo>
                  <a:pt x="1277701" y="1196566"/>
                </a:lnTo>
                <a:lnTo>
                  <a:pt x="1300261" y="1180610"/>
                </a:lnTo>
                <a:lnTo>
                  <a:pt x="1325241" y="1168293"/>
                </a:lnTo>
                <a:lnTo>
                  <a:pt x="1352258" y="1160000"/>
                </a:lnTo>
                <a:lnTo>
                  <a:pt x="1380926" y="1156115"/>
                </a:lnTo>
                <a:lnTo>
                  <a:pt x="1390396" y="1155865"/>
                </a:lnTo>
                <a:lnTo>
                  <a:pt x="1405121" y="1156471"/>
                </a:lnTo>
                <a:lnTo>
                  <a:pt x="1433521" y="1161177"/>
                </a:lnTo>
                <a:lnTo>
                  <a:pt x="1460200" y="1170221"/>
                </a:lnTo>
                <a:lnTo>
                  <a:pt x="1484774" y="1183220"/>
                </a:lnTo>
                <a:lnTo>
                  <a:pt x="1506859" y="1199790"/>
                </a:lnTo>
                <a:lnTo>
                  <a:pt x="1526071" y="1219547"/>
                </a:lnTo>
                <a:lnTo>
                  <a:pt x="1542028" y="1242108"/>
                </a:lnTo>
                <a:lnTo>
                  <a:pt x="1554344" y="1267088"/>
                </a:lnTo>
                <a:lnTo>
                  <a:pt x="1562637" y="1294104"/>
                </a:lnTo>
                <a:lnTo>
                  <a:pt x="1566523" y="1322773"/>
                </a:lnTo>
                <a:lnTo>
                  <a:pt x="1566773" y="1332242"/>
                </a:lnTo>
                <a:lnTo>
                  <a:pt x="1566167" y="1346968"/>
                </a:lnTo>
                <a:lnTo>
                  <a:pt x="1561461" y="1375368"/>
                </a:lnTo>
                <a:lnTo>
                  <a:pt x="1552416" y="1402047"/>
                </a:lnTo>
                <a:lnTo>
                  <a:pt x="1539417" y="1426620"/>
                </a:lnTo>
                <a:lnTo>
                  <a:pt x="1522848" y="1448705"/>
                </a:lnTo>
                <a:lnTo>
                  <a:pt x="1503090" y="1467918"/>
                </a:lnTo>
                <a:lnTo>
                  <a:pt x="1480530" y="1483874"/>
                </a:lnTo>
                <a:lnTo>
                  <a:pt x="1455550" y="1496191"/>
                </a:lnTo>
                <a:lnTo>
                  <a:pt x="1428533" y="1504484"/>
                </a:lnTo>
                <a:lnTo>
                  <a:pt x="1399865" y="1508370"/>
                </a:lnTo>
                <a:lnTo>
                  <a:pt x="1390396" y="1508620"/>
                </a:lnTo>
                <a:lnTo>
                  <a:pt x="1375670" y="1508014"/>
                </a:lnTo>
                <a:lnTo>
                  <a:pt x="1361279" y="1506227"/>
                </a:lnTo>
                <a:lnTo>
                  <a:pt x="1074326" y="1467922"/>
                </a:lnTo>
                <a:lnTo>
                  <a:pt x="1063372" y="1476331"/>
                </a:lnTo>
                <a:lnTo>
                  <a:pt x="1051765" y="1483877"/>
                </a:lnTo>
                <a:lnTo>
                  <a:pt x="1039554" y="1490514"/>
                </a:lnTo>
                <a:lnTo>
                  <a:pt x="1026785" y="1496193"/>
                </a:lnTo>
                <a:lnTo>
                  <a:pt x="1013507" y="1500866"/>
                </a:lnTo>
                <a:lnTo>
                  <a:pt x="999769" y="1504485"/>
                </a:lnTo>
                <a:lnTo>
                  <a:pt x="985617" y="1507002"/>
                </a:lnTo>
                <a:lnTo>
                  <a:pt x="971100" y="1508370"/>
                </a:lnTo>
                <a:lnTo>
                  <a:pt x="961631" y="1508620"/>
                </a:lnTo>
                <a:lnTo>
                  <a:pt x="948096" y="1508108"/>
                </a:lnTo>
                <a:lnTo>
                  <a:pt x="934839" y="1506596"/>
                </a:lnTo>
                <a:lnTo>
                  <a:pt x="921897" y="1504123"/>
                </a:lnTo>
                <a:lnTo>
                  <a:pt x="909307" y="1500724"/>
                </a:lnTo>
                <a:lnTo>
                  <a:pt x="897106" y="1496438"/>
                </a:lnTo>
                <a:lnTo>
                  <a:pt x="885333" y="1491302"/>
                </a:lnTo>
                <a:lnTo>
                  <a:pt x="874025" y="1485353"/>
                </a:lnTo>
                <a:lnTo>
                  <a:pt x="863219" y="1478628"/>
                </a:lnTo>
                <a:lnTo>
                  <a:pt x="852953" y="1471165"/>
                </a:lnTo>
                <a:lnTo>
                  <a:pt x="844857" y="1464426"/>
                </a:lnTo>
                <a:lnTo>
                  <a:pt x="834256" y="1471091"/>
                </a:lnTo>
                <a:lnTo>
                  <a:pt x="812340" y="1483443"/>
                </a:lnTo>
                <a:lnTo>
                  <a:pt x="789582" y="1494402"/>
                </a:lnTo>
                <a:lnTo>
                  <a:pt x="766039" y="1503910"/>
                </a:lnTo>
                <a:lnTo>
                  <a:pt x="741769" y="1511909"/>
                </a:lnTo>
                <a:lnTo>
                  <a:pt x="716830" y="1518342"/>
                </a:lnTo>
                <a:lnTo>
                  <a:pt x="691279" y="1523151"/>
                </a:lnTo>
                <a:lnTo>
                  <a:pt x="665175" y="1526278"/>
                </a:lnTo>
                <a:lnTo>
                  <a:pt x="638574" y="1527665"/>
                </a:lnTo>
                <a:lnTo>
                  <a:pt x="631164" y="1527733"/>
                </a:lnTo>
                <a:lnTo>
                  <a:pt x="599017" y="1526434"/>
                </a:lnTo>
                <a:lnTo>
                  <a:pt x="567586" y="1522603"/>
                </a:lnTo>
                <a:lnTo>
                  <a:pt x="536970" y="1516341"/>
                </a:lnTo>
                <a:lnTo>
                  <a:pt x="507271" y="1507749"/>
                </a:lnTo>
                <a:lnTo>
                  <a:pt x="478590" y="1496928"/>
                </a:lnTo>
                <a:lnTo>
                  <a:pt x="451029" y="1483980"/>
                </a:lnTo>
                <a:lnTo>
                  <a:pt x="424686" y="1469004"/>
                </a:lnTo>
                <a:lnTo>
                  <a:pt x="399665" y="1452101"/>
                </a:lnTo>
                <a:lnTo>
                  <a:pt x="376065" y="1433373"/>
                </a:lnTo>
                <a:lnTo>
                  <a:pt x="353988" y="1412921"/>
                </a:lnTo>
                <a:lnTo>
                  <a:pt x="333535" y="1390844"/>
                </a:lnTo>
                <a:lnTo>
                  <a:pt x="314805" y="1367245"/>
                </a:lnTo>
                <a:lnTo>
                  <a:pt x="297902" y="1342224"/>
                </a:lnTo>
                <a:lnTo>
                  <a:pt x="282924" y="1315882"/>
                </a:lnTo>
                <a:lnTo>
                  <a:pt x="269974" y="1288319"/>
                </a:lnTo>
                <a:lnTo>
                  <a:pt x="259152" y="1259638"/>
                </a:lnTo>
                <a:lnTo>
                  <a:pt x="250560" y="1229938"/>
                </a:lnTo>
                <a:lnTo>
                  <a:pt x="244297" y="1199320"/>
                </a:lnTo>
                <a:lnTo>
                  <a:pt x="14790" y="1552067"/>
                </a:lnTo>
                <a:lnTo>
                  <a:pt x="1861959" y="1552067"/>
                </a:lnTo>
                <a:lnTo>
                  <a:pt x="1779384" y="539521"/>
                </a:lnTo>
                <a:close/>
              </a:path>
              <a:path w="1863813" h="1506227">
                <a:moveTo>
                  <a:pt x="1347270" y="1503308"/>
                </a:moveTo>
                <a:lnTo>
                  <a:pt x="1084579" y="1458699"/>
                </a:lnTo>
                <a:lnTo>
                  <a:pt x="1074326" y="1467922"/>
                </a:lnTo>
                <a:lnTo>
                  <a:pt x="1361279" y="1506227"/>
                </a:lnTo>
                <a:lnTo>
                  <a:pt x="1347270" y="1503308"/>
                </a:lnTo>
                <a:close/>
              </a:path>
              <a:path w="1863813" h="1506227">
                <a:moveTo>
                  <a:pt x="995576" y="991370"/>
                </a:moveTo>
                <a:lnTo>
                  <a:pt x="1003947" y="1014615"/>
                </a:lnTo>
                <a:lnTo>
                  <a:pt x="995576" y="991370"/>
                </a:lnTo>
                <a:close/>
              </a:path>
              <a:path w="1863813" h="1506227">
                <a:moveTo>
                  <a:pt x="1863813" y="2667"/>
                </a:moveTo>
                <a:lnTo>
                  <a:pt x="0" y="2667"/>
                </a:lnTo>
                <a:lnTo>
                  <a:pt x="0" y="1552067"/>
                </a:lnTo>
                <a:lnTo>
                  <a:pt x="14790" y="1552067"/>
                </a:lnTo>
                <a:lnTo>
                  <a:pt x="244297" y="1199320"/>
                </a:lnTo>
                <a:lnTo>
                  <a:pt x="240466" y="1167885"/>
                </a:lnTo>
                <a:lnTo>
                  <a:pt x="239166" y="1135735"/>
                </a:lnTo>
                <a:lnTo>
                  <a:pt x="239392" y="1122290"/>
                </a:lnTo>
                <a:lnTo>
                  <a:pt x="240066" y="1108959"/>
                </a:lnTo>
                <a:lnTo>
                  <a:pt x="241181" y="1095749"/>
                </a:lnTo>
                <a:lnTo>
                  <a:pt x="242729" y="1082667"/>
                </a:lnTo>
                <a:lnTo>
                  <a:pt x="244703" y="1069721"/>
                </a:lnTo>
                <a:lnTo>
                  <a:pt x="247096" y="1056917"/>
                </a:lnTo>
                <a:lnTo>
                  <a:pt x="249900" y="1044263"/>
                </a:lnTo>
                <a:lnTo>
                  <a:pt x="253109" y="1031766"/>
                </a:lnTo>
                <a:lnTo>
                  <a:pt x="256714" y="1019434"/>
                </a:lnTo>
                <a:lnTo>
                  <a:pt x="260709" y="1007272"/>
                </a:lnTo>
                <a:lnTo>
                  <a:pt x="265086" y="995290"/>
                </a:lnTo>
                <a:lnTo>
                  <a:pt x="269838" y="983493"/>
                </a:lnTo>
                <a:lnTo>
                  <a:pt x="274957" y="971889"/>
                </a:lnTo>
                <a:lnTo>
                  <a:pt x="280438" y="960486"/>
                </a:lnTo>
                <a:lnTo>
                  <a:pt x="286271" y="949290"/>
                </a:lnTo>
                <a:lnTo>
                  <a:pt x="305817" y="917017"/>
                </a:lnTo>
                <a:lnTo>
                  <a:pt x="306294" y="916299"/>
                </a:lnTo>
                <a:lnTo>
                  <a:pt x="317230" y="900961"/>
                </a:lnTo>
                <a:lnTo>
                  <a:pt x="354003" y="858557"/>
                </a:lnTo>
                <a:lnTo>
                  <a:pt x="341189" y="871960"/>
                </a:lnTo>
                <a:lnTo>
                  <a:pt x="328869" y="886161"/>
                </a:lnTo>
                <a:lnTo>
                  <a:pt x="317230" y="900946"/>
                </a:lnTo>
                <a:lnTo>
                  <a:pt x="306298" y="916292"/>
                </a:lnTo>
                <a:lnTo>
                  <a:pt x="295526" y="902617"/>
                </a:lnTo>
                <a:lnTo>
                  <a:pt x="275344" y="874191"/>
                </a:lnTo>
                <a:lnTo>
                  <a:pt x="257052" y="844401"/>
                </a:lnTo>
                <a:lnTo>
                  <a:pt x="240739" y="813335"/>
                </a:lnTo>
                <a:lnTo>
                  <a:pt x="226492" y="781083"/>
                </a:lnTo>
                <a:lnTo>
                  <a:pt x="214400" y="747732"/>
                </a:lnTo>
                <a:lnTo>
                  <a:pt x="204551" y="713371"/>
                </a:lnTo>
                <a:lnTo>
                  <a:pt x="197033" y="678087"/>
                </a:lnTo>
                <a:lnTo>
                  <a:pt x="191934" y="641969"/>
                </a:lnTo>
                <a:lnTo>
                  <a:pt x="189342" y="605106"/>
                </a:lnTo>
                <a:lnTo>
                  <a:pt x="189014" y="586422"/>
                </a:lnTo>
                <a:lnTo>
                  <a:pt x="190746" y="543563"/>
                </a:lnTo>
                <a:lnTo>
                  <a:pt x="195853" y="501659"/>
                </a:lnTo>
                <a:lnTo>
                  <a:pt x="204200" y="460843"/>
                </a:lnTo>
                <a:lnTo>
                  <a:pt x="215653" y="421251"/>
                </a:lnTo>
                <a:lnTo>
                  <a:pt x="230077" y="383017"/>
                </a:lnTo>
                <a:lnTo>
                  <a:pt x="247338" y="346274"/>
                </a:lnTo>
                <a:lnTo>
                  <a:pt x="267301" y="311159"/>
                </a:lnTo>
                <a:lnTo>
                  <a:pt x="289832" y="277804"/>
                </a:lnTo>
                <a:lnTo>
                  <a:pt x="314796" y="246346"/>
                </a:lnTo>
                <a:lnTo>
                  <a:pt x="342060" y="216917"/>
                </a:lnTo>
                <a:lnTo>
                  <a:pt x="371487" y="189653"/>
                </a:lnTo>
                <a:lnTo>
                  <a:pt x="402945" y="164688"/>
                </a:lnTo>
                <a:lnTo>
                  <a:pt x="436298" y="142156"/>
                </a:lnTo>
                <a:lnTo>
                  <a:pt x="471411" y="122193"/>
                </a:lnTo>
                <a:lnTo>
                  <a:pt x="508152" y="104931"/>
                </a:lnTo>
                <a:lnTo>
                  <a:pt x="546384" y="90507"/>
                </a:lnTo>
                <a:lnTo>
                  <a:pt x="585974" y="79054"/>
                </a:lnTo>
                <a:lnTo>
                  <a:pt x="626786" y="70707"/>
                </a:lnTo>
                <a:lnTo>
                  <a:pt x="668687" y="65600"/>
                </a:lnTo>
                <a:lnTo>
                  <a:pt x="711542" y="63868"/>
                </a:lnTo>
                <a:lnTo>
                  <a:pt x="733581" y="64324"/>
                </a:lnTo>
                <a:lnTo>
                  <a:pt x="776944" y="67922"/>
                </a:lnTo>
                <a:lnTo>
                  <a:pt x="819231" y="74979"/>
                </a:lnTo>
                <a:lnTo>
                  <a:pt x="860299" y="85351"/>
                </a:lnTo>
                <a:lnTo>
                  <a:pt x="900005" y="98893"/>
                </a:lnTo>
                <a:lnTo>
                  <a:pt x="938204" y="115462"/>
                </a:lnTo>
                <a:lnTo>
                  <a:pt x="974752" y="134912"/>
                </a:lnTo>
                <a:lnTo>
                  <a:pt x="1009505" y="157099"/>
                </a:lnTo>
                <a:lnTo>
                  <a:pt x="1042319" y="181879"/>
                </a:lnTo>
                <a:lnTo>
                  <a:pt x="1073050" y="209108"/>
                </a:lnTo>
                <a:lnTo>
                  <a:pt x="1087831" y="223875"/>
                </a:lnTo>
                <a:lnTo>
                  <a:pt x="1098997" y="214519"/>
                </a:lnTo>
                <a:lnTo>
                  <a:pt x="1122286" y="196968"/>
                </a:lnTo>
                <a:lnTo>
                  <a:pt x="1146789" y="181032"/>
                </a:lnTo>
                <a:lnTo>
                  <a:pt x="1172426" y="166797"/>
                </a:lnTo>
                <a:lnTo>
                  <a:pt x="1199122" y="154346"/>
                </a:lnTo>
                <a:lnTo>
                  <a:pt x="1226797" y="143761"/>
                </a:lnTo>
                <a:lnTo>
                  <a:pt x="1255375" y="135127"/>
                </a:lnTo>
                <a:lnTo>
                  <a:pt x="1284779" y="128527"/>
                </a:lnTo>
                <a:lnTo>
                  <a:pt x="1314930" y="124045"/>
                </a:lnTo>
                <a:lnTo>
                  <a:pt x="1345751" y="121764"/>
                </a:lnTo>
                <a:lnTo>
                  <a:pt x="1361389" y="121475"/>
                </a:lnTo>
                <a:lnTo>
                  <a:pt x="1395668" y="122861"/>
                </a:lnTo>
                <a:lnTo>
                  <a:pt x="1429186" y="126947"/>
                </a:lnTo>
                <a:lnTo>
                  <a:pt x="1461832" y="133626"/>
                </a:lnTo>
                <a:lnTo>
                  <a:pt x="1493501" y="142789"/>
                </a:lnTo>
                <a:lnTo>
                  <a:pt x="1524084" y="154330"/>
                </a:lnTo>
                <a:lnTo>
                  <a:pt x="1553474" y="168140"/>
                </a:lnTo>
                <a:lnTo>
                  <a:pt x="1581563" y="184113"/>
                </a:lnTo>
                <a:lnTo>
                  <a:pt x="1608244" y="202139"/>
                </a:lnTo>
                <a:lnTo>
                  <a:pt x="1633408" y="222113"/>
                </a:lnTo>
                <a:lnTo>
                  <a:pt x="1656949" y="243925"/>
                </a:lnTo>
                <a:lnTo>
                  <a:pt x="1678759" y="267469"/>
                </a:lnTo>
                <a:lnTo>
                  <a:pt x="1698730" y="292637"/>
                </a:lnTo>
                <a:lnTo>
                  <a:pt x="1716754" y="319321"/>
                </a:lnTo>
                <a:lnTo>
                  <a:pt x="1732725" y="347413"/>
                </a:lnTo>
                <a:lnTo>
                  <a:pt x="1746533" y="376807"/>
                </a:lnTo>
                <a:lnTo>
                  <a:pt x="1758072" y="407394"/>
                </a:lnTo>
                <a:lnTo>
                  <a:pt x="1767235" y="439066"/>
                </a:lnTo>
                <a:lnTo>
                  <a:pt x="1773912" y="471716"/>
                </a:lnTo>
                <a:lnTo>
                  <a:pt x="1777998" y="505237"/>
                </a:lnTo>
                <a:lnTo>
                  <a:pt x="1779384" y="539521"/>
                </a:lnTo>
                <a:lnTo>
                  <a:pt x="1861959" y="1552067"/>
                </a:lnTo>
                <a:lnTo>
                  <a:pt x="1863813" y="1552067"/>
                </a:lnTo>
                <a:lnTo>
                  <a:pt x="1863813" y="2667"/>
                </a:lnTo>
                <a:close/>
              </a:path>
              <a:path w="1863813" h="1506227">
                <a:moveTo>
                  <a:pt x="354167" y="858385"/>
                </a:moveTo>
                <a:lnTo>
                  <a:pt x="367778" y="845427"/>
                </a:lnTo>
                <a:lnTo>
                  <a:pt x="381996" y="833108"/>
                </a:lnTo>
                <a:lnTo>
                  <a:pt x="367778" y="845409"/>
                </a:lnTo>
                <a:lnTo>
                  <a:pt x="354167" y="858367"/>
                </a:lnTo>
                <a:lnTo>
                  <a:pt x="354003" y="858557"/>
                </a:lnTo>
                <a:lnTo>
                  <a:pt x="354167" y="858385"/>
                </a:lnTo>
                <a:close/>
              </a:path>
              <a:path w="1863813" h="1506227">
                <a:moveTo>
                  <a:pt x="985810" y="968838"/>
                </a:moveTo>
                <a:lnTo>
                  <a:pt x="974702" y="947050"/>
                </a:lnTo>
                <a:lnTo>
                  <a:pt x="962304" y="926080"/>
                </a:lnTo>
                <a:lnTo>
                  <a:pt x="948668" y="905973"/>
                </a:lnTo>
                <a:lnTo>
                  <a:pt x="933847" y="886783"/>
                </a:lnTo>
                <a:lnTo>
                  <a:pt x="917892" y="868561"/>
                </a:lnTo>
                <a:lnTo>
                  <a:pt x="900856" y="851360"/>
                </a:lnTo>
                <a:lnTo>
                  <a:pt x="882792" y="835233"/>
                </a:lnTo>
                <a:lnTo>
                  <a:pt x="863752" y="820232"/>
                </a:lnTo>
                <a:lnTo>
                  <a:pt x="843788" y="806411"/>
                </a:lnTo>
                <a:lnTo>
                  <a:pt x="822952" y="793821"/>
                </a:lnTo>
                <a:lnTo>
                  <a:pt x="822755" y="793733"/>
                </a:lnTo>
                <a:lnTo>
                  <a:pt x="822952" y="793836"/>
                </a:lnTo>
                <a:lnTo>
                  <a:pt x="843788" y="806426"/>
                </a:lnTo>
                <a:lnTo>
                  <a:pt x="863752" y="820248"/>
                </a:lnTo>
                <a:lnTo>
                  <a:pt x="882792" y="835249"/>
                </a:lnTo>
                <a:lnTo>
                  <a:pt x="900856" y="851375"/>
                </a:lnTo>
                <a:lnTo>
                  <a:pt x="917892" y="868576"/>
                </a:lnTo>
                <a:lnTo>
                  <a:pt x="933847" y="886797"/>
                </a:lnTo>
                <a:lnTo>
                  <a:pt x="948668" y="905986"/>
                </a:lnTo>
                <a:lnTo>
                  <a:pt x="962304" y="926091"/>
                </a:lnTo>
                <a:lnTo>
                  <a:pt x="995566" y="991350"/>
                </a:lnTo>
                <a:lnTo>
                  <a:pt x="985810" y="968838"/>
                </a:lnTo>
                <a:close/>
              </a:path>
              <a:path w="1863813" h="1506227">
                <a:moveTo>
                  <a:pt x="381996" y="833108"/>
                </a:moveTo>
                <a:lnTo>
                  <a:pt x="396799" y="821509"/>
                </a:lnTo>
                <a:lnTo>
                  <a:pt x="412160" y="810598"/>
                </a:lnTo>
                <a:lnTo>
                  <a:pt x="428056" y="800418"/>
                </a:lnTo>
                <a:lnTo>
                  <a:pt x="461353" y="782353"/>
                </a:lnTo>
                <a:lnTo>
                  <a:pt x="470181" y="778357"/>
                </a:lnTo>
                <a:lnTo>
                  <a:pt x="461353" y="782336"/>
                </a:lnTo>
                <a:lnTo>
                  <a:pt x="444461" y="790978"/>
                </a:lnTo>
                <a:lnTo>
                  <a:pt x="428056" y="800400"/>
                </a:lnTo>
                <a:lnTo>
                  <a:pt x="412160" y="810579"/>
                </a:lnTo>
                <a:lnTo>
                  <a:pt x="396799" y="821490"/>
                </a:lnTo>
                <a:lnTo>
                  <a:pt x="381996" y="833108"/>
                </a:lnTo>
                <a:close/>
              </a:path>
              <a:path w="1863813" h="1506227">
                <a:moveTo>
                  <a:pt x="801297" y="782515"/>
                </a:moveTo>
                <a:lnTo>
                  <a:pt x="778874" y="772546"/>
                </a:lnTo>
                <a:lnTo>
                  <a:pt x="755738" y="763966"/>
                </a:lnTo>
                <a:lnTo>
                  <a:pt x="731938" y="756828"/>
                </a:lnTo>
                <a:lnTo>
                  <a:pt x="731735" y="756795"/>
                </a:lnTo>
                <a:lnTo>
                  <a:pt x="731938" y="756842"/>
                </a:lnTo>
                <a:lnTo>
                  <a:pt x="755738" y="763980"/>
                </a:lnTo>
                <a:lnTo>
                  <a:pt x="822755" y="793733"/>
                </a:lnTo>
                <a:lnTo>
                  <a:pt x="801297" y="782515"/>
                </a:lnTo>
                <a:close/>
              </a:path>
              <a:path w="1863813" h="1506227">
                <a:moveTo>
                  <a:pt x="478705" y="774516"/>
                </a:moveTo>
                <a:lnTo>
                  <a:pt x="496493" y="767509"/>
                </a:lnTo>
                <a:lnTo>
                  <a:pt x="514693" y="761356"/>
                </a:lnTo>
                <a:lnTo>
                  <a:pt x="533280" y="756083"/>
                </a:lnTo>
                <a:lnTo>
                  <a:pt x="542944" y="753847"/>
                </a:lnTo>
                <a:lnTo>
                  <a:pt x="533280" y="756068"/>
                </a:lnTo>
                <a:lnTo>
                  <a:pt x="514693" y="761341"/>
                </a:lnTo>
                <a:lnTo>
                  <a:pt x="496493" y="767493"/>
                </a:lnTo>
                <a:lnTo>
                  <a:pt x="478705" y="774499"/>
                </a:lnTo>
                <a:lnTo>
                  <a:pt x="470181" y="778357"/>
                </a:lnTo>
                <a:lnTo>
                  <a:pt x="478705" y="774516"/>
                </a:lnTo>
                <a:close/>
              </a:path>
              <a:path w="1863813" h="1506227">
                <a:moveTo>
                  <a:pt x="552230" y="751713"/>
                </a:moveTo>
                <a:lnTo>
                  <a:pt x="571518" y="748271"/>
                </a:lnTo>
                <a:lnTo>
                  <a:pt x="591119" y="745783"/>
                </a:lnTo>
                <a:lnTo>
                  <a:pt x="601161" y="745013"/>
                </a:lnTo>
                <a:lnTo>
                  <a:pt x="591119" y="745770"/>
                </a:lnTo>
                <a:lnTo>
                  <a:pt x="571518" y="748258"/>
                </a:lnTo>
                <a:lnTo>
                  <a:pt x="552230" y="751699"/>
                </a:lnTo>
                <a:lnTo>
                  <a:pt x="542944" y="753847"/>
                </a:lnTo>
                <a:lnTo>
                  <a:pt x="552230" y="751713"/>
                </a:lnTo>
                <a:close/>
              </a:path>
              <a:path w="1863813" h="1506227">
                <a:moveTo>
                  <a:pt x="707529" y="751199"/>
                </a:moveTo>
                <a:lnTo>
                  <a:pt x="682562" y="747089"/>
                </a:lnTo>
                <a:lnTo>
                  <a:pt x="657090" y="744593"/>
                </a:lnTo>
                <a:lnTo>
                  <a:pt x="631164" y="743750"/>
                </a:lnTo>
                <a:lnTo>
                  <a:pt x="611009" y="744259"/>
                </a:lnTo>
                <a:lnTo>
                  <a:pt x="601161" y="745013"/>
                </a:lnTo>
                <a:lnTo>
                  <a:pt x="611009" y="744272"/>
                </a:lnTo>
                <a:lnTo>
                  <a:pt x="631164" y="743762"/>
                </a:lnTo>
                <a:lnTo>
                  <a:pt x="657090" y="744606"/>
                </a:lnTo>
                <a:lnTo>
                  <a:pt x="731735" y="756795"/>
                </a:lnTo>
                <a:lnTo>
                  <a:pt x="707529" y="751199"/>
                </a:lnTo>
                <a:close/>
              </a:path>
              <a:path w="1863813" h="1506227">
                <a:moveTo>
                  <a:pt x="503946" y="1065822"/>
                </a:moveTo>
                <a:lnTo>
                  <a:pt x="507734" y="1067485"/>
                </a:lnTo>
                <a:lnTo>
                  <a:pt x="509688" y="1068287"/>
                </a:lnTo>
                <a:lnTo>
                  <a:pt x="503946" y="1065822"/>
                </a:lnTo>
                <a:close/>
              </a:path>
              <a:path w="1863813" h="1506227">
                <a:moveTo>
                  <a:pt x="509688" y="1068287"/>
                </a:moveTo>
                <a:lnTo>
                  <a:pt x="511635" y="1069123"/>
                </a:lnTo>
                <a:lnTo>
                  <a:pt x="515470" y="1070662"/>
                </a:lnTo>
                <a:lnTo>
                  <a:pt x="509688" y="1068287"/>
                </a:lnTo>
                <a:close/>
              </a:path>
              <a:path w="1863813" h="1506227">
                <a:moveTo>
                  <a:pt x="515470" y="1070662"/>
                </a:moveTo>
                <a:lnTo>
                  <a:pt x="519305" y="1072236"/>
                </a:lnTo>
                <a:lnTo>
                  <a:pt x="521281" y="1072993"/>
                </a:lnTo>
                <a:lnTo>
                  <a:pt x="515470" y="1070662"/>
                </a:lnTo>
                <a:close/>
              </a:path>
              <a:path w="1863813" h="1506227">
                <a:moveTo>
                  <a:pt x="521281" y="1072993"/>
                </a:moveTo>
                <a:lnTo>
                  <a:pt x="523252" y="1073784"/>
                </a:lnTo>
                <a:lnTo>
                  <a:pt x="527131" y="1075234"/>
                </a:lnTo>
                <a:lnTo>
                  <a:pt x="521281" y="1072993"/>
                </a:lnTo>
                <a:close/>
              </a:path>
              <a:path w="1863813" h="1506227">
                <a:moveTo>
                  <a:pt x="527131" y="1075234"/>
                </a:moveTo>
                <a:lnTo>
                  <a:pt x="531011" y="1076720"/>
                </a:lnTo>
                <a:lnTo>
                  <a:pt x="533009" y="1077430"/>
                </a:lnTo>
                <a:lnTo>
                  <a:pt x="527131" y="1075234"/>
                </a:lnTo>
                <a:close/>
              </a:path>
              <a:path w="1863813" h="1506227">
                <a:moveTo>
                  <a:pt x="533009" y="1077430"/>
                </a:moveTo>
                <a:lnTo>
                  <a:pt x="535003" y="1078176"/>
                </a:lnTo>
                <a:lnTo>
                  <a:pt x="538925" y="1079535"/>
                </a:lnTo>
                <a:lnTo>
                  <a:pt x="533009" y="1077430"/>
                </a:lnTo>
                <a:close/>
              </a:path>
              <a:path w="1863813" h="1506227">
                <a:moveTo>
                  <a:pt x="538925" y="1079535"/>
                </a:moveTo>
                <a:lnTo>
                  <a:pt x="542848" y="1080930"/>
                </a:lnTo>
                <a:lnTo>
                  <a:pt x="544868" y="1081594"/>
                </a:lnTo>
                <a:lnTo>
                  <a:pt x="538925" y="1079535"/>
                </a:lnTo>
                <a:close/>
              </a:path>
              <a:path w="1863813" h="1506227">
                <a:moveTo>
                  <a:pt x="544868" y="1081594"/>
                </a:moveTo>
                <a:lnTo>
                  <a:pt x="546884" y="1082293"/>
                </a:lnTo>
                <a:lnTo>
                  <a:pt x="550847" y="1083560"/>
                </a:lnTo>
                <a:lnTo>
                  <a:pt x="544868" y="1081594"/>
                </a:lnTo>
                <a:close/>
              </a:path>
              <a:path w="1863813" h="1506227">
                <a:moveTo>
                  <a:pt x="550847" y="1083560"/>
                </a:moveTo>
                <a:lnTo>
                  <a:pt x="554814" y="1084864"/>
                </a:lnTo>
                <a:lnTo>
                  <a:pt x="556854" y="1085481"/>
                </a:lnTo>
                <a:lnTo>
                  <a:pt x="550847" y="1083560"/>
                </a:lnTo>
                <a:close/>
              </a:path>
              <a:path w="1863813" h="1506227">
                <a:moveTo>
                  <a:pt x="556854" y="1085481"/>
                </a:moveTo>
                <a:lnTo>
                  <a:pt x="558892" y="1086132"/>
                </a:lnTo>
                <a:lnTo>
                  <a:pt x="562896" y="1087306"/>
                </a:lnTo>
                <a:lnTo>
                  <a:pt x="556854" y="1085481"/>
                </a:lnTo>
                <a:close/>
              </a:path>
              <a:path w="1863813" h="1506227">
                <a:moveTo>
                  <a:pt x="562896" y="1087306"/>
                </a:moveTo>
                <a:lnTo>
                  <a:pt x="566903" y="1088517"/>
                </a:lnTo>
                <a:lnTo>
                  <a:pt x="568964" y="1089085"/>
                </a:lnTo>
                <a:lnTo>
                  <a:pt x="562896" y="1087306"/>
                </a:lnTo>
                <a:close/>
              </a:path>
              <a:path w="1863813" h="1506227">
                <a:moveTo>
                  <a:pt x="568964" y="1089085"/>
                </a:moveTo>
                <a:lnTo>
                  <a:pt x="571023" y="1089689"/>
                </a:lnTo>
                <a:lnTo>
                  <a:pt x="575066" y="1090768"/>
                </a:lnTo>
                <a:lnTo>
                  <a:pt x="568964" y="1089085"/>
                </a:lnTo>
                <a:close/>
              </a:path>
              <a:path w="1863813" h="1506227">
                <a:moveTo>
                  <a:pt x="575066" y="1090768"/>
                </a:moveTo>
                <a:lnTo>
                  <a:pt x="579114" y="1091884"/>
                </a:lnTo>
                <a:lnTo>
                  <a:pt x="581195" y="1092403"/>
                </a:lnTo>
                <a:lnTo>
                  <a:pt x="575066" y="1090768"/>
                </a:lnTo>
                <a:close/>
              </a:path>
              <a:path w="1863813" h="1506227">
                <a:moveTo>
                  <a:pt x="581195" y="1092403"/>
                </a:moveTo>
                <a:lnTo>
                  <a:pt x="583274" y="1092958"/>
                </a:lnTo>
                <a:lnTo>
                  <a:pt x="587355" y="1093941"/>
                </a:lnTo>
                <a:lnTo>
                  <a:pt x="581195" y="1092403"/>
                </a:lnTo>
                <a:close/>
              </a:path>
              <a:path w="1863813" h="1506227">
                <a:moveTo>
                  <a:pt x="587355" y="1093941"/>
                </a:moveTo>
                <a:lnTo>
                  <a:pt x="591442" y="1094962"/>
                </a:lnTo>
                <a:lnTo>
                  <a:pt x="593541" y="1095431"/>
                </a:lnTo>
                <a:lnTo>
                  <a:pt x="587355" y="1093941"/>
                </a:lnTo>
                <a:close/>
              </a:path>
              <a:path w="1863813" h="1506227">
                <a:moveTo>
                  <a:pt x="593541" y="1095431"/>
                </a:moveTo>
                <a:lnTo>
                  <a:pt x="595640" y="1095937"/>
                </a:lnTo>
                <a:lnTo>
                  <a:pt x="599758" y="1096822"/>
                </a:lnTo>
                <a:lnTo>
                  <a:pt x="593541" y="1095431"/>
                </a:lnTo>
                <a:close/>
              </a:path>
              <a:path w="1863813" h="1506227">
                <a:moveTo>
                  <a:pt x="599758" y="1096822"/>
                </a:moveTo>
                <a:lnTo>
                  <a:pt x="603883" y="1097745"/>
                </a:lnTo>
                <a:lnTo>
                  <a:pt x="606000" y="1098164"/>
                </a:lnTo>
                <a:lnTo>
                  <a:pt x="599758" y="1096822"/>
                </a:lnTo>
                <a:close/>
              </a:path>
              <a:path w="1863813" h="1506227">
                <a:moveTo>
                  <a:pt x="606000" y="1098164"/>
                </a:moveTo>
                <a:lnTo>
                  <a:pt x="608119" y="1098620"/>
                </a:lnTo>
                <a:lnTo>
                  <a:pt x="612272" y="1099406"/>
                </a:lnTo>
                <a:lnTo>
                  <a:pt x="606000" y="1098164"/>
                </a:lnTo>
                <a:close/>
              </a:path>
              <a:path w="1863813" h="1506227">
                <a:moveTo>
                  <a:pt x="612272" y="1099406"/>
                </a:moveTo>
                <a:lnTo>
                  <a:pt x="616433" y="1100230"/>
                </a:lnTo>
                <a:lnTo>
                  <a:pt x="618569" y="1100599"/>
                </a:lnTo>
                <a:lnTo>
                  <a:pt x="612272" y="1099406"/>
                </a:lnTo>
                <a:close/>
              </a:path>
              <a:path w="1863813" h="1506227">
                <a:moveTo>
                  <a:pt x="618569" y="1100599"/>
                </a:moveTo>
                <a:lnTo>
                  <a:pt x="620706" y="1101003"/>
                </a:lnTo>
                <a:lnTo>
                  <a:pt x="624893" y="1101690"/>
                </a:lnTo>
                <a:lnTo>
                  <a:pt x="618569" y="1100599"/>
                </a:lnTo>
                <a:close/>
              </a:path>
              <a:path w="1863813" h="1506227">
                <a:moveTo>
                  <a:pt x="624893" y="1101690"/>
                </a:moveTo>
                <a:lnTo>
                  <a:pt x="629090" y="1102413"/>
                </a:lnTo>
                <a:lnTo>
                  <a:pt x="631243" y="1102730"/>
                </a:lnTo>
                <a:lnTo>
                  <a:pt x="624893" y="1101690"/>
                </a:lnTo>
                <a:close/>
              </a:path>
              <a:path w="1863813" h="1506227">
                <a:moveTo>
                  <a:pt x="631243" y="1102730"/>
                </a:moveTo>
                <a:lnTo>
                  <a:pt x="633397" y="1103083"/>
                </a:lnTo>
                <a:lnTo>
                  <a:pt x="637618" y="1103667"/>
                </a:lnTo>
                <a:lnTo>
                  <a:pt x="631243" y="1102730"/>
                </a:lnTo>
                <a:close/>
              </a:path>
              <a:path w="1863813" h="1506227">
                <a:moveTo>
                  <a:pt x="637618" y="1103667"/>
                </a:moveTo>
                <a:lnTo>
                  <a:pt x="641849" y="1104289"/>
                </a:lnTo>
                <a:lnTo>
                  <a:pt x="644018" y="1104553"/>
                </a:lnTo>
                <a:lnTo>
                  <a:pt x="637618" y="1103667"/>
                </a:lnTo>
                <a:close/>
              </a:path>
              <a:path w="1863813" h="1506227">
                <a:moveTo>
                  <a:pt x="644018" y="1104553"/>
                </a:moveTo>
                <a:lnTo>
                  <a:pt x="646190" y="1104854"/>
                </a:lnTo>
                <a:lnTo>
                  <a:pt x="650443" y="1105335"/>
                </a:lnTo>
                <a:lnTo>
                  <a:pt x="644018" y="1104553"/>
                </a:lnTo>
                <a:close/>
              </a:path>
              <a:path w="1863813" h="1506227">
                <a:moveTo>
                  <a:pt x="650443" y="1105335"/>
                </a:moveTo>
                <a:lnTo>
                  <a:pt x="654707" y="1105855"/>
                </a:lnTo>
                <a:lnTo>
                  <a:pt x="656892" y="1106065"/>
                </a:lnTo>
                <a:lnTo>
                  <a:pt x="650443" y="1105335"/>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5" name="object 185"/>
          <p:cNvSpPr/>
          <p:nvPr/>
        </p:nvSpPr>
        <p:spPr>
          <a:xfrm>
            <a:off x="5419618" y="5619875"/>
            <a:ext cx="2473" cy="1188"/>
          </a:xfrm>
          <a:custGeom>
            <a:avLst/>
            <a:gdLst/>
            <a:ahLst/>
            <a:cxnLst/>
            <a:rect l="l" t="t" r="r" b="b"/>
            <a:pathLst>
              <a:path w="3517" h="1689">
                <a:moveTo>
                  <a:pt x="0" y="1689"/>
                </a:moveTo>
                <a:lnTo>
                  <a:pt x="1155" y="1066"/>
                </a:lnTo>
                <a:lnTo>
                  <a:pt x="2362" y="584"/>
                </a:lnTo>
                <a:lnTo>
                  <a:pt x="3517" y="0"/>
                </a:lnTo>
                <a:lnTo>
                  <a:pt x="2362" y="584"/>
                </a:lnTo>
                <a:lnTo>
                  <a:pt x="1155" y="1066"/>
                </a:lnTo>
                <a:lnTo>
                  <a:pt x="0" y="1689"/>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6" name="object 186"/>
          <p:cNvSpPr/>
          <p:nvPr/>
        </p:nvSpPr>
        <p:spPr>
          <a:xfrm>
            <a:off x="5387476" y="5814071"/>
            <a:ext cx="0" cy="0"/>
          </a:xfrm>
          <a:custGeom>
            <a:avLst/>
            <a:gdLst/>
            <a:ahLst/>
            <a:cxnLst/>
            <a:rect l="l" t="t" r="r" b="b"/>
            <a:pathLst>
              <a:path>
                <a:moveTo>
                  <a:pt x="0" y="0"/>
                </a:moveTo>
                <a:lnTo>
                  <a:pt x="0" y="0"/>
                </a:lnTo>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7" name="object 187"/>
          <p:cNvSpPr/>
          <p:nvPr/>
        </p:nvSpPr>
        <p:spPr>
          <a:xfrm>
            <a:off x="5363981" y="5776731"/>
            <a:ext cx="22726" cy="36415"/>
          </a:xfrm>
          <a:custGeom>
            <a:avLst/>
            <a:gdLst/>
            <a:ahLst/>
            <a:cxnLst/>
            <a:rect l="l" t="t" r="r" b="b"/>
            <a:pathLst>
              <a:path w="32321" h="51790">
                <a:moveTo>
                  <a:pt x="7701" y="16282"/>
                </a:moveTo>
                <a:lnTo>
                  <a:pt x="4752" y="10602"/>
                </a:lnTo>
                <a:lnTo>
                  <a:pt x="5260" y="11735"/>
                </a:lnTo>
                <a:lnTo>
                  <a:pt x="7701" y="16282"/>
                </a:lnTo>
                <a:close/>
              </a:path>
              <a:path w="32321" h="51790">
                <a:moveTo>
                  <a:pt x="10725" y="21918"/>
                </a:moveTo>
                <a:lnTo>
                  <a:pt x="7701" y="16282"/>
                </a:lnTo>
                <a:lnTo>
                  <a:pt x="10082" y="20870"/>
                </a:lnTo>
                <a:lnTo>
                  <a:pt x="10725" y="21918"/>
                </a:lnTo>
                <a:close/>
              </a:path>
              <a:path w="32321" h="51790">
                <a:moveTo>
                  <a:pt x="14058" y="27346"/>
                </a:moveTo>
                <a:lnTo>
                  <a:pt x="10725" y="21918"/>
                </a:lnTo>
                <a:lnTo>
                  <a:pt x="11310" y="23007"/>
                </a:lnTo>
                <a:lnTo>
                  <a:pt x="14058" y="27346"/>
                </a:lnTo>
                <a:close/>
              </a:path>
              <a:path w="32321" h="51790">
                <a:moveTo>
                  <a:pt x="17467" y="32730"/>
                </a:moveTo>
                <a:lnTo>
                  <a:pt x="14058" y="27346"/>
                </a:lnTo>
                <a:lnTo>
                  <a:pt x="16753" y="31735"/>
                </a:lnTo>
                <a:lnTo>
                  <a:pt x="17467" y="32730"/>
                </a:lnTo>
                <a:close/>
              </a:path>
              <a:path w="32321" h="51790">
                <a:moveTo>
                  <a:pt x="21173" y="37884"/>
                </a:moveTo>
                <a:lnTo>
                  <a:pt x="17467" y="32730"/>
                </a:lnTo>
                <a:lnTo>
                  <a:pt x="18127" y="33771"/>
                </a:lnTo>
                <a:lnTo>
                  <a:pt x="21173" y="37884"/>
                </a:lnTo>
                <a:close/>
              </a:path>
              <a:path w="32321" h="51790">
                <a:moveTo>
                  <a:pt x="24957" y="42994"/>
                </a:moveTo>
                <a:lnTo>
                  <a:pt x="21173" y="37884"/>
                </a:lnTo>
                <a:lnTo>
                  <a:pt x="24173" y="42057"/>
                </a:lnTo>
                <a:lnTo>
                  <a:pt x="24957" y="42994"/>
                </a:lnTo>
                <a:close/>
              </a:path>
              <a:path w="32321" h="51790">
                <a:moveTo>
                  <a:pt x="32321" y="51790"/>
                </a:moveTo>
                <a:lnTo>
                  <a:pt x="24957" y="42994"/>
                </a:lnTo>
                <a:lnTo>
                  <a:pt x="25690" y="43983"/>
                </a:lnTo>
                <a:lnTo>
                  <a:pt x="32321" y="51790"/>
                </a:lnTo>
                <a:close/>
              </a:path>
              <a:path w="32321" h="51790">
                <a:moveTo>
                  <a:pt x="4752" y="10602"/>
                </a:moveTo>
                <a:lnTo>
                  <a:pt x="0" y="0"/>
                </a:lnTo>
                <a:lnTo>
                  <a:pt x="4183" y="9505"/>
                </a:lnTo>
                <a:lnTo>
                  <a:pt x="4752" y="10602"/>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8" name="object 188"/>
          <p:cNvSpPr/>
          <p:nvPr/>
        </p:nvSpPr>
        <p:spPr>
          <a:xfrm>
            <a:off x="5502878" y="5315587"/>
            <a:ext cx="12073" cy="19618"/>
          </a:xfrm>
          <a:custGeom>
            <a:avLst/>
            <a:gdLst/>
            <a:ahLst/>
            <a:cxnLst/>
            <a:rect l="l" t="t" r="r" b="b"/>
            <a:pathLst>
              <a:path w="17170" h="27901">
                <a:moveTo>
                  <a:pt x="17170" y="27889"/>
                </a:moveTo>
                <a:lnTo>
                  <a:pt x="11617" y="19326"/>
                </a:lnTo>
                <a:lnTo>
                  <a:pt x="13139" y="21753"/>
                </a:lnTo>
                <a:lnTo>
                  <a:pt x="17170" y="27901"/>
                </a:lnTo>
                <a:close/>
              </a:path>
              <a:path w="17170" h="27901">
                <a:moveTo>
                  <a:pt x="8713" y="14694"/>
                </a:moveTo>
                <a:lnTo>
                  <a:pt x="5037" y="8662"/>
                </a:lnTo>
                <a:lnTo>
                  <a:pt x="6395" y="10996"/>
                </a:lnTo>
                <a:lnTo>
                  <a:pt x="8713" y="14694"/>
                </a:lnTo>
                <a:close/>
              </a:path>
              <a:path w="17170" h="27901">
                <a:moveTo>
                  <a:pt x="11617" y="19326"/>
                </a:moveTo>
                <a:lnTo>
                  <a:pt x="8713" y="14694"/>
                </a:lnTo>
                <a:lnTo>
                  <a:pt x="10266" y="17242"/>
                </a:lnTo>
                <a:lnTo>
                  <a:pt x="11617" y="19326"/>
                </a:lnTo>
                <a:close/>
              </a:path>
              <a:path w="17170" h="27901">
                <a:moveTo>
                  <a:pt x="5037" y="8662"/>
                </a:moveTo>
                <a:lnTo>
                  <a:pt x="0" y="0"/>
                </a:lnTo>
                <a:lnTo>
                  <a:pt x="3654" y="6393"/>
                </a:lnTo>
                <a:lnTo>
                  <a:pt x="5037" y="8662"/>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89" name="object 189"/>
          <p:cNvSpPr/>
          <p:nvPr/>
        </p:nvSpPr>
        <p:spPr>
          <a:xfrm>
            <a:off x="5430463" y="5606095"/>
            <a:ext cx="90671" cy="9751"/>
          </a:xfrm>
          <a:custGeom>
            <a:avLst/>
            <a:gdLst/>
            <a:ahLst/>
            <a:cxnLst/>
            <a:rect l="l" t="t" r="r" b="b"/>
            <a:pathLst>
              <a:path w="128955" h="13868">
                <a:moveTo>
                  <a:pt x="8833" y="10497"/>
                </a:moveTo>
                <a:lnTo>
                  <a:pt x="5968" y="11471"/>
                </a:lnTo>
                <a:lnTo>
                  <a:pt x="0" y="13868"/>
                </a:lnTo>
                <a:lnTo>
                  <a:pt x="8833" y="10497"/>
                </a:lnTo>
                <a:close/>
              </a:path>
              <a:path w="128955" h="13868">
                <a:moveTo>
                  <a:pt x="14771" y="8478"/>
                </a:moveTo>
                <a:lnTo>
                  <a:pt x="11684" y="9409"/>
                </a:lnTo>
                <a:lnTo>
                  <a:pt x="8833" y="10497"/>
                </a:lnTo>
                <a:lnTo>
                  <a:pt x="14771" y="8478"/>
                </a:lnTo>
                <a:close/>
              </a:path>
              <a:path w="128955" h="13868">
                <a:moveTo>
                  <a:pt x="20792" y="6662"/>
                </a:moveTo>
                <a:lnTo>
                  <a:pt x="17847" y="7432"/>
                </a:lnTo>
                <a:lnTo>
                  <a:pt x="14771" y="8478"/>
                </a:lnTo>
                <a:lnTo>
                  <a:pt x="20792" y="6662"/>
                </a:lnTo>
                <a:close/>
              </a:path>
              <a:path w="128955" h="13868">
                <a:moveTo>
                  <a:pt x="26926" y="5058"/>
                </a:moveTo>
                <a:lnTo>
                  <a:pt x="23745" y="5771"/>
                </a:lnTo>
                <a:lnTo>
                  <a:pt x="20792" y="6662"/>
                </a:lnTo>
                <a:lnTo>
                  <a:pt x="26926" y="5058"/>
                </a:lnTo>
                <a:close/>
              </a:path>
              <a:path w="128955" h="13868">
                <a:moveTo>
                  <a:pt x="33099" y="3673"/>
                </a:moveTo>
                <a:lnTo>
                  <a:pt x="30086" y="4231"/>
                </a:lnTo>
                <a:lnTo>
                  <a:pt x="26926" y="5058"/>
                </a:lnTo>
                <a:lnTo>
                  <a:pt x="33099" y="3673"/>
                </a:lnTo>
                <a:close/>
              </a:path>
              <a:path w="128955" h="13868">
                <a:moveTo>
                  <a:pt x="39420" y="2502"/>
                </a:moveTo>
                <a:lnTo>
                  <a:pt x="36150" y="2989"/>
                </a:lnTo>
                <a:lnTo>
                  <a:pt x="33099" y="3673"/>
                </a:lnTo>
                <a:lnTo>
                  <a:pt x="39420" y="2502"/>
                </a:lnTo>
                <a:close/>
              </a:path>
              <a:path w="128955" h="13868">
                <a:moveTo>
                  <a:pt x="45728" y="1564"/>
                </a:moveTo>
                <a:lnTo>
                  <a:pt x="42655" y="1903"/>
                </a:lnTo>
                <a:lnTo>
                  <a:pt x="39420" y="2502"/>
                </a:lnTo>
                <a:lnTo>
                  <a:pt x="45728" y="1564"/>
                </a:lnTo>
                <a:close/>
              </a:path>
              <a:path w="128955" h="13868">
                <a:moveTo>
                  <a:pt x="52213" y="847"/>
                </a:moveTo>
                <a:lnTo>
                  <a:pt x="48866" y="1096"/>
                </a:lnTo>
                <a:lnTo>
                  <a:pt x="45728" y="1564"/>
                </a:lnTo>
                <a:lnTo>
                  <a:pt x="52213" y="847"/>
                </a:lnTo>
                <a:close/>
              </a:path>
              <a:path w="128955" h="13868">
                <a:moveTo>
                  <a:pt x="58659" y="366"/>
                </a:moveTo>
                <a:lnTo>
                  <a:pt x="55522" y="481"/>
                </a:lnTo>
                <a:lnTo>
                  <a:pt x="52213" y="847"/>
                </a:lnTo>
                <a:lnTo>
                  <a:pt x="58659" y="366"/>
                </a:lnTo>
                <a:close/>
              </a:path>
              <a:path w="128955" h="13868">
                <a:moveTo>
                  <a:pt x="86851" y="1044"/>
                </a:moveTo>
                <a:lnTo>
                  <a:pt x="81697" y="477"/>
                </a:lnTo>
                <a:lnTo>
                  <a:pt x="80576" y="436"/>
                </a:lnTo>
                <a:lnTo>
                  <a:pt x="86851" y="1044"/>
                </a:lnTo>
                <a:close/>
              </a:path>
              <a:path w="128955" h="13868">
                <a:moveTo>
                  <a:pt x="93417" y="1767"/>
                </a:moveTo>
                <a:lnTo>
                  <a:pt x="92255" y="1568"/>
                </a:lnTo>
                <a:lnTo>
                  <a:pt x="86851" y="1044"/>
                </a:lnTo>
                <a:lnTo>
                  <a:pt x="93417" y="1767"/>
                </a:lnTo>
                <a:close/>
              </a:path>
              <a:path w="128955" h="13868">
                <a:moveTo>
                  <a:pt x="99519" y="2811"/>
                </a:moveTo>
                <a:lnTo>
                  <a:pt x="94504" y="1886"/>
                </a:lnTo>
                <a:lnTo>
                  <a:pt x="93417" y="1767"/>
                </a:lnTo>
                <a:lnTo>
                  <a:pt x="99519" y="2811"/>
                </a:lnTo>
                <a:close/>
              </a:path>
              <a:path w="128955" h="13868">
                <a:moveTo>
                  <a:pt x="105946" y="3996"/>
                </a:moveTo>
                <a:lnTo>
                  <a:pt x="104820" y="3718"/>
                </a:lnTo>
                <a:lnTo>
                  <a:pt x="99519" y="2811"/>
                </a:lnTo>
                <a:lnTo>
                  <a:pt x="105946" y="3996"/>
                </a:lnTo>
                <a:close/>
              </a:path>
              <a:path w="128955" h="13868">
                <a:moveTo>
                  <a:pt x="111958" y="5478"/>
                </a:moveTo>
                <a:lnTo>
                  <a:pt x="107016" y="4193"/>
                </a:lnTo>
                <a:lnTo>
                  <a:pt x="105946" y="3996"/>
                </a:lnTo>
                <a:lnTo>
                  <a:pt x="111958" y="5478"/>
                </a:lnTo>
                <a:close/>
              </a:path>
              <a:path w="128955" h="13868">
                <a:moveTo>
                  <a:pt x="118139" y="7086"/>
                </a:moveTo>
                <a:lnTo>
                  <a:pt x="117064" y="6737"/>
                </a:lnTo>
                <a:lnTo>
                  <a:pt x="111958" y="5478"/>
                </a:lnTo>
                <a:lnTo>
                  <a:pt x="118139" y="7086"/>
                </a:lnTo>
                <a:close/>
              </a:path>
              <a:path w="128955" h="13868">
                <a:moveTo>
                  <a:pt x="128955" y="10591"/>
                </a:moveTo>
                <a:lnTo>
                  <a:pt x="119201" y="7362"/>
                </a:lnTo>
                <a:lnTo>
                  <a:pt x="118139" y="7086"/>
                </a:lnTo>
                <a:lnTo>
                  <a:pt x="128955" y="10591"/>
                </a:lnTo>
                <a:close/>
              </a:path>
              <a:path w="128955" h="13868">
                <a:moveTo>
                  <a:pt x="68656" y="0"/>
                </a:moveTo>
                <a:lnTo>
                  <a:pt x="61862" y="127"/>
                </a:lnTo>
                <a:lnTo>
                  <a:pt x="68643" y="0"/>
                </a:lnTo>
                <a:lnTo>
                  <a:pt x="80576" y="436"/>
                </a:lnTo>
                <a:lnTo>
                  <a:pt x="79400" y="322"/>
                </a:lnTo>
                <a:lnTo>
                  <a:pt x="68656"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0" name="object 190"/>
          <p:cNvSpPr/>
          <p:nvPr/>
        </p:nvSpPr>
        <p:spPr>
          <a:xfrm>
            <a:off x="5567454" y="4878777"/>
            <a:ext cx="486248" cy="587841"/>
          </a:xfrm>
          <a:custGeom>
            <a:avLst/>
            <a:gdLst/>
            <a:ahLst/>
            <a:cxnLst/>
            <a:rect l="l" t="t" r="r" b="b"/>
            <a:pathLst>
              <a:path w="691553" h="836041">
                <a:moveTo>
                  <a:pt x="96578" y="687564"/>
                </a:moveTo>
                <a:lnTo>
                  <a:pt x="89537" y="701913"/>
                </a:lnTo>
                <a:lnTo>
                  <a:pt x="82074" y="716012"/>
                </a:lnTo>
                <a:lnTo>
                  <a:pt x="74197" y="729852"/>
                </a:lnTo>
                <a:lnTo>
                  <a:pt x="65916" y="743424"/>
                </a:lnTo>
                <a:lnTo>
                  <a:pt x="57237" y="756721"/>
                </a:lnTo>
                <a:lnTo>
                  <a:pt x="48171" y="769734"/>
                </a:lnTo>
                <a:lnTo>
                  <a:pt x="58831" y="776357"/>
                </a:lnTo>
                <a:lnTo>
                  <a:pt x="92028" y="794343"/>
                </a:lnTo>
                <a:lnTo>
                  <a:pt x="126925" y="809358"/>
                </a:lnTo>
                <a:lnTo>
                  <a:pt x="163362" y="821216"/>
                </a:lnTo>
                <a:lnTo>
                  <a:pt x="201179" y="829730"/>
                </a:lnTo>
                <a:lnTo>
                  <a:pt x="240219" y="834716"/>
                </a:lnTo>
                <a:lnTo>
                  <a:pt x="273557" y="836041"/>
                </a:lnTo>
                <a:lnTo>
                  <a:pt x="307837" y="834655"/>
                </a:lnTo>
                <a:lnTo>
                  <a:pt x="341354" y="830570"/>
                </a:lnTo>
                <a:lnTo>
                  <a:pt x="374001" y="823893"/>
                </a:lnTo>
                <a:lnTo>
                  <a:pt x="405670" y="814732"/>
                </a:lnTo>
                <a:lnTo>
                  <a:pt x="436253" y="803194"/>
                </a:lnTo>
                <a:lnTo>
                  <a:pt x="465643" y="789386"/>
                </a:lnTo>
                <a:lnTo>
                  <a:pt x="493732" y="773417"/>
                </a:lnTo>
                <a:lnTo>
                  <a:pt x="520413" y="755394"/>
                </a:lnTo>
                <a:lnTo>
                  <a:pt x="545577" y="735424"/>
                </a:lnTo>
                <a:lnTo>
                  <a:pt x="569118" y="713616"/>
                </a:lnTo>
                <a:lnTo>
                  <a:pt x="590928" y="690076"/>
                </a:lnTo>
                <a:lnTo>
                  <a:pt x="610899" y="664911"/>
                </a:lnTo>
                <a:lnTo>
                  <a:pt x="628923" y="638231"/>
                </a:lnTo>
                <a:lnTo>
                  <a:pt x="644894" y="610142"/>
                </a:lnTo>
                <a:lnTo>
                  <a:pt x="658702" y="580751"/>
                </a:lnTo>
                <a:lnTo>
                  <a:pt x="670241" y="550167"/>
                </a:lnTo>
                <a:lnTo>
                  <a:pt x="679404" y="518497"/>
                </a:lnTo>
                <a:lnTo>
                  <a:pt x="686081" y="485848"/>
                </a:lnTo>
                <a:lnTo>
                  <a:pt x="690167" y="452329"/>
                </a:lnTo>
                <a:lnTo>
                  <a:pt x="691553" y="418045"/>
                </a:lnTo>
                <a:lnTo>
                  <a:pt x="690167" y="383762"/>
                </a:lnTo>
                <a:lnTo>
                  <a:pt x="686081" y="350241"/>
                </a:lnTo>
                <a:lnTo>
                  <a:pt x="679404" y="317591"/>
                </a:lnTo>
                <a:lnTo>
                  <a:pt x="670241" y="285918"/>
                </a:lnTo>
                <a:lnTo>
                  <a:pt x="658702" y="255331"/>
                </a:lnTo>
                <a:lnTo>
                  <a:pt x="644894" y="225938"/>
                </a:lnTo>
                <a:lnTo>
                  <a:pt x="628923" y="197845"/>
                </a:lnTo>
                <a:lnTo>
                  <a:pt x="610899" y="171161"/>
                </a:lnTo>
                <a:lnTo>
                  <a:pt x="590928" y="145994"/>
                </a:lnTo>
                <a:lnTo>
                  <a:pt x="569118" y="122450"/>
                </a:lnTo>
                <a:lnTo>
                  <a:pt x="545577" y="100637"/>
                </a:lnTo>
                <a:lnTo>
                  <a:pt x="520413" y="80664"/>
                </a:lnTo>
                <a:lnTo>
                  <a:pt x="493732" y="62637"/>
                </a:lnTo>
                <a:lnTo>
                  <a:pt x="465643" y="46665"/>
                </a:lnTo>
                <a:lnTo>
                  <a:pt x="436253" y="32854"/>
                </a:lnTo>
                <a:lnTo>
                  <a:pt x="405670" y="21314"/>
                </a:lnTo>
                <a:lnTo>
                  <a:pt x="374001" y="12150"/>
                </a:lnTo>
                <a:lnTo>
                  <a:pt x="341354" y="5472"/>
                </a:lnTo>
                <a:lnTo>
                  <a:pt x="307837" y="1385"/>
                </a:lnTo>
                <a:lnTo>
                  <a:pt x="273557" y="0"/>
                </a:lnTo>
                <a:lnTo>
                  <a:pt x="257920" y="289"/>
                </a:lnTo>
                <a:lnTo>
                  <a:pt x="227098" y="2570"/>
                </a:lnTo>
                <a:lnTo>
                  <a:pt x="196947" y="7054"/>
                </a:lnTo>
                <a:lnTo>
                  <a:pt x="167544" y="13655"/>
                </a:lnTo>
                <a:lnTo>
                  <a:pt x="138966" y="22291"/>
                </a:lnTo>
                <a:lnTo>
                  <a:pt x="111290" y="32878"/>
                </a:lnTo>
                <a:lnTo>
                  <a:pt x="84595" y="45331"/>
                </a:lnTo>
                <a:lnTo>
                  <a:pt x="58957" y="59568"/>
                </a:lnTo>
                <a:lnTo>
                  <a:pt x="34455" y="75504"/>
                </a:lnTo>
                <a:lnTo>
                  <a:pt x="11165" y="93056"/>
                </a:lnTo>
                <a:lnTo>
                  <a:pt x="0" y="102412"/>
                </a:lnTo>
                <a:lnTo>
                  <a:pt x="13318" y="116757"/>
                </a:lnTo>
                <a:lnTo>
                  <a:pt x="26099" y="131592"/>
                </a:lnTo>
                <a:lnTo>
                  <a:pt x="38326" y="146905"/>
                </a:lnTo>
                <a:lnTo>
                  <a:pt x="49983" y="162677"/>
                </a:lnTo>
                <a:lnTo>
                  <a:pt x="61055" y="178894"/>
                </a:lnTo>
                <a:lnTo>
                  <a:pt x="71526" y="195541"/>
                </a:lnTo>
                <a:lnTo>
                  <a:pt x="81381" y="212602"/>
                </a:lnTo>
                <a:lnTo>
                  <a:pt x="90603" y="230060"/>
                </a:lnTo>
                <a:lnTo>
                  <a:pt x="99178" y="247901"/>
                </a:lnTo>
                <a:lnTo>
                  <a:pt x="107089" y="266109"/>
                </a:lnTo>
                <a:lnTo>
                  <a:pt x="114321" y="284668"/>
                </a:lnTo>
                <a:lnTo>
                  <a:pt x="120858" y="303563"/>
                </a:lnTo>
                <a:lnTo>
                  <a:pt x="126685" y="322778"/>
                </a:lnTo>
                <a:lnTo>
                  <a:pt x="131786" y="342297"/>
                </a:lnTo>
                <a:lnTo>
                  <a:pt x="136145" y="362105"/>
                </a:lnTo>
                <a:lnTo>
                  <a:pt x="139747" y="382187"/>
                </a:lnTo>
                <a:lnTo>
                  <a:pt x="142575" y="402526"/>
                </a:lnTo>
                <a:lnTo>
                  <a:pt x="144615" y="423107"/>
                </a:lnTo>
                <a:lnTo>
                  <a:pt x="145850" y="443915"/>
                </a:lnTo>
                <a:lnTo>
                  <a:pt x="146265" y="464934"/>
                </a:lnTo>
                <a:lnTo>
                  <a:pt x="145994" y="481932"/>
                </a:lnTo>
                <a:lnTo>
                  <a:pt x="143847" y="515513"/>
                </a:lnTo>
                <a:lnTo>
                  <a:pt x="139618" y="548485"/>
                </a:lnTo>
                <a:lnTo>
                  <a:pt x="133371" y="580783"/>
                </a:lnTo>
                <a:lnTo>
                  <a:pt x="125173" y="612340"/>
                </a:lnTo>
                <a:lnTo>
                  <a:pt x="115091" y="643092"/>
                </a:lnTo>
                <a:lnTo>
                  <a:pt x="103190" y="672971"/>
                </a:lnTo>
                <a:lnTo>
                  <a:pt x="96578" y="687564"/>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1" name="object 191"/>
          <p:cNvSpPr/>
          <p:nvPr/>
        </p:nvSpPr>
        <p:spPr>
          <a:xfrm>
            <a:off x="5532334" y="5358783"/>
            <a:ext cx="857" cy="1116"/>
          </a:xfrm>
          <a:custGeom>
            <a:avLst/>
            <a:gdLst/>
            <a:ahLst/>
            <a:cxnLst/>
            <a:rect l="l" t="t" r="r" b="b"/>
            <a:pathLst>
              <a:path w="1219" h="1587">
                <a:moveTo>
                  <a:pt x="1219" y="1574"/>
                </a:moveTo>
                <a:lnTo>
                  <a:pt x="800" y="1066"/>
                </a:lnTo>
                <a:lnTo>
                  <a:pt x="406" y="520"/>
                </a:lnTo>
                <a:lnTo>
                  <a:pt x="0" y="0"/>
                </a:lnTo>
                <a:lnTo>
                  <a:pt x="431" y="546"/>
                </a:lnTo>
                <a:lnTo>
                  <a:pt x="800" y="1079"/>
                </a:lnTo>
                <a:lnTo>
                  <a:pt x="1219" y="1574"/>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2" name="object 192"/>
          <p:cNvSpPr/>
          <p:nvPr/>
        </p:nvSpPr>
        <p:spPr>
          <a:xfrm>
            <a:off x="5514947" y="5335196"/>
            <a:ext cx="2929" cy="4259"/>
          </a:xfrm>
          <a:custGeom>
            <a:avLst/>
            <a:gdLst/>
            <a:ahLst/>
            <a:cxnLst/>
            <a:rect l="l" t="t" r="r" b="b"/>
            <a:pathLst>
              <a:path w="4165" h="6057">
                <a:moveTo>
                  <a:pt x="4140" y="6032"/>
                </a:moveTo>
                <a:lnTo>
                  <a:pt x="2768" y="4038"/>
                </a:lnTo>
                <a:lnTo>
                  <a:pt x="1358" y="2044"/>
                </a:lnTo>
                <a:lnTo>
                  <a:pt x="0" y="0"/>
                </a:lnTo>
                <a:lnTo>
                  <a:pt x="1358" y="2044"/>
                </a:lnTo>
                <a:lnTo>
                  <a:pt x="2768" y="4025"/>
                </a:lnTo>
                <a:lnTo>
                  <a:pt x="4140" y="6032"/>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3" name="object 193"/>
          <p:cNvSpPr/>
          <p:nvPr/>
        </p:nvSpPr>
        <p:spPr>
          <a:xfrm>
            <a:off x="4935476" y="4838272"/>
            <a:ext cx="665690" cy="671280"/>
          </a:xfrm>
          <a:custGeom>
            <a:avLst/>
            <a:gdLst/>
            <a:ahLst/>
            <a:cxnLst/>
            <a:rect l="l" t="t" r="r" b="b"/>
            <a:pathLst>
              <a:path w="946759" h="954709">
                <a:moveTo>
                  <a:pt x="773290" y="862212"/>
                </a:moveTo>
                <a:lnTo>
                  <a:pt x="785688" y="883182"/>
                </a:lnTo>
                <a:lnTo>
                  <a:pt x="796796" y="904963"/>
                </a:lnTo>
                <a:lnTo>
                  <a:pt x="806562" y="927502"/>
                </a:lnTo>
                <a:lnTo>
                  <a:pt x="814933" y="950747"/>
                </a:lnTo>
                <a:lnTo>
                  <a:pt x="815924" y="953350"/>
                </a:lnTo>
                <a:lnTo>
                  <a:pt x="826810" y="947385"/>
                </a:lnTo>
                <a:lnTo>
                  <a:pt x="837101" y="939811"/>
                </a:lnTo>
                <a:lnTo>
                  <a:pt x="847198" y="931993"/>
                </a:lnTo>
                <a:lnTo>
                  <a:pt x="857097" y="923934"/>
                </a:lnTo>
                <a:lnTo>
                  <a:pt x="866794" y="915641"/>
                </a:lnTo>
                <a:lnTo>
                  <a:pt x="876283" y="907116"/>
                </a:lnTo>
                <a:lnTo>
                  <a:pt x="885561" y="898364"/>
                </a:lnTo>
                <a:lnTo>
                  <a:pt x="894624" y="889391"/>
                </a:lnTo>
                <a:lnTo>
                  <a:pt x="903466" y="880200"/>
                </a:lnTo>
                <a:lnTo>
                  <a:pt x="912084" y="870796"/>
                </a:lnTo>
                <a:lnTo>
                  <a:pt x="920473" y="861183"/>
                </a:lnTo>
                <a:lnTo>
                  <a:pt x="928628" y="851366"/>
                </a:lnTo>
                <a:lnTo>
                  <a:pt x="936546" y="841350"/>
                </a:lnTo>
                <a:lnTo>
                  <a:pt x="944222" y="831139"/>
                </a:lnTo>
                <a:lnTo>
                  <a:pt x="946759" y="827646"/>
                </a:lnTo>
                <a:lnTo>
                  <a:pt x="936127" y="820587"/>
                </a:lnTo>
                <a:lnTo>
                  <a:pt x="925727" y="813215"/>
                </a:lnTo>
                <a:lnTo>
                  <a:pt x="905644" y="797562"/>
                </a:lnTo>
                <a:lnTo>
                  <a:pt x="886565" y="780737"/>
                </a:lnTo>
                <a:lnTo>
                  <a:pt x="868543" y="762793"/>
                </a:lnTo>
                <a:lnTo>
                  <a:pt x="851061" y="743031"/>
                </a:lnTo>
                <a:lnTo>
                  <a:pt x="833462" y="720150"/>
                </a:lnTo>
                <a:lnTo>
                  <a:pt x="817239" y="696107"/>
                </a:lnTo>
                <a:lnTo>
                  <a:pt x="801044" y="667834"/>
                </a:lnTo>
                <a:lnTo>
                  <a:pt x="790167" y="645221"/>
                </a:lnTo>
                <a:lnTo>
                  <a:pt x="780631" y="621881"/>
                </a:lnTo>
                <a:lnTo>
                  <a:pt x="772486" y="597862"/>
                </a:lnTo>
                <a:lnTo>
                  <a:pt x="765782" y="573214"/>
                </a:lnTo>
                <a:lnTo>
                  <a:pt x="760569" y="547987"/>
                </a:lnTo>
                <a:lnTo>
                  <a:pt x="756897" y="522230"/>
                </a:lnTo>
                <a:lnTo>
                  <a:pt x="754816" y="495993"/>
                </a:lnTo>
                <a:lnTo>
                  <a:pt x="754329" y="475640"/>
                </a:lnTo>
                <a:lnTo>
                  <a:pt x="754745" y="456818"/>
                </a:lnTo>
                <a:lnTo>
                  <a:pt x="758022" y="419832"/>
                </a:lnTo>
                <a:lnTo>
                  <a:pt x="764441" y="383840"/>
                </a:lnTo>
                <a:lnTo>
                  <a:pt x="773862" y="348981"/>
                </a:lnTo>
                <a:lnTo>
                  <a:pt x="786144" y="315396"/>
                </a:lnTo>
                <a:lnTo>
                  <a:pt x="801148" y="283227"/>
                </a:lnTo>
                <a:lnTo>
                  <a:pt x="818732" y="252612"/>
                </a:lnTo>
                <a:lnTo>
                  <a:pt x="838757" y="223694"/>
                </a:lnTo>
                <a:lnTo>
                  <a:pt x="861082" y="196612"/>
                </a:lnTo>
                <a:lnTo>
                  <a:pt x="885567" y="171507"/>
                </a:lnTo>
                <a:lnTo>
                  <a:pt x="898575" y="159740"/>
                </a:lnTo>
                <a:lnTo>
                  <a:pt x="884036" y="145251"/>
                </a:lnTo>
                <a:lnTo>
                  <a:pt x="853305" y="118019"/>
                </a:lnTo>
                <a:lnTo>
                  <a:pt x="820491" y="93236"/>
                </a:lnTo>
                <a:lnTo>
                  <a:pt x="785738" y="71047"/>
                </a:lnTo>
                <a:lnTo>
                  <a:pt x="749190" y="51595"/>
                </a:lnTo>
                <a:lnTo>
                  <a:pt x="710991" y="35026"/>
                </a:lnTo>
                <a:lnTo>
                  <a:pt x="671285" y="21483"/>
                </a:lnTo>
                <a:lnTo>
                  <a:pt x="630217" y="11111"/>
                </a:lnTo>
                <a:lnTo>
                  <a:pt x="587929" y="4054"/>
                </a:lnTo>
                <a:lnTo>
                  <a:pt x="544567" y="456"/>
                </a:lnTo>
                <a:lnTo>
                  <a:pt x="522528" y="0"/>
                </a:lnTo>
                <a:lnTo>
                  <a:pt x="479673" y="1732"/>
                </a:lnTo>
                <a:lnTo>
                  <a:pt x="437772" y="6839"/>
                </a:lnTo>
                <a:lnTo>
                  <a:pt x="396959" y="15186"/>
                </a:lnTo>
                <a:lnTo>
                  <a:pt x="357370" y="26639"/>
                </a:lnTo>
                <a:lnTo>
                  <a:pt x="319138" y="41063"/>
                </a:lnTo>
                <a:lnTo>
                  <a:pt x="282397" y="58324"/>
                </a:lnTo>
                <a:lnTo>
                  <a:pt x="247284" y="78288"/>
                </a:lnTo>
                <a:lnTo>
                  <a:pt x="213931" y="100820"/>
                </a:lnTo>
                <a:lnTo>
                  <a:pt x="182473" y="125785"/>
                </a:lnTo>
                <a:lnTo>
                  <a:pt x="153046" y="153049"/>
                </a:lnTo>
                <a:lnTo>
                  <a:pt x="125782" y="182477"/>
                </a:lnTo>
                <a:lnTo>
                  <a:pt x="100818" y="213936"/>
                </a:lnTo>
                <a:lnTo>
                  <a:pt x="78287" y="247291"/>
                </a:lnTo>
                <a:lnTo>
                  <a:pt x="58324" y="282406"/>
                </a:lnTo>
                <a:lnTo>
                  <a:pt x="41063" y="319148"/>
                </a:lnTo>
                <a:lnTo>
                  <a:pt x="26639" y="357383"/>
                </a:lnTo>
                <a:lnTo>
                  <a:pt x="15186" y="396975"/>
                </a:lnTo>
                <a:lnTo>
                  <a:pt x="6839" y="437791"/>
                </a:lnTo>
                <a:lnTo>
                  <a:pt x="1732" y="479695"/>
                </a:lnTo>
                <a:lnTo>
                  <a:pt x="0" y="522554"/>
                </a:lnTo>
                <a:lnTo>
                  <a:pt x="328" y="541238"/>
                </a:lnTo>
                <a:lnTo>
                  <a:pt x="2919" y="578101"/>
                </a:lnTo>
                <a:lnTo>
                  <a:pt x="8017" y="614219"/>
                </a:lnTo>
                <a:lnTo>
                  <a:pt x="15533" y="649503"/>
                </a:lnTo>
                <a:lnTo>
                  <a:pt x="25381" y="683865"/>
                </a:lnTo>
                <a:lnTo>
                  <a:pt x="37471" y="717217"/>
                </a:lnTo>
                <a:lnTo>
                  <a:pt x="51716" y="749471"/>
                </a:lnTo>
                <a:lnTo>
                  <a:pt x="68028" y="780538"/>
                </a:lnTo>
                <a:lnTo>
                  <a:pt x="86318" y="810330"/>
                </a:lnTo>
                <a:lnTo>
                  <a:pt x="106499" y="838760"/>
                </a:lnTo>
                <a:lnTo>
                  <a:pt x="117271" y="852436"/>
                </a:lnTo>
                <a:lnTo>
                  <a:pt x="128205" y="837091"/>
                </a:lnTo>
                <a:lnTo>
                  <a:pt x="139846" y="822305"/>
                </a:lnTo>
                <a:lnTo>
                  <a:pt x="165147" y="794510"/>
                </a:lnTo>
                <a:lnTo>
                  <a:pt x="192978" y="769250"/>
                </a:lnTo>
                <a:lnTo>
                  <a:pt x="223143" y="746719"/>
                </a:lnTo>
                <a:lnTo>
                  <a:pt x="255446" y="727116"/>
                </a:lnTo>
                <a:lnTo>
                  <a:pt x="289690" y="710636"/>
                </a:lnTo>
                <a:lnTo>
                  <a:pt x="325678" y="697475"/>
                </a:lnTo>
                <a:lnTo>
                  <a:pt x="363216" y="687832"/>
                </a:lnTo>
                <a:lnTo>
                  <a:pt x="402105" y="681902"/>
                </a:lnTo>
                <a:lnTo>
                  <a:pt x="442150" y="679881"/>
                </a:lnTo>
                <a:lnTo>
                  <a:pt x="468076" y="680725"/>
                </a:lnTo>
                <a:lnTo>
                  <a:pt x="493548" y="683221"/>
                </a:lnTo>
                <a:lnTo>
                  <a:pt x="518515" y="687317"/>
                </a:lnTo>
                <a:lnTo>
                  <a:pt x="542924" y="692960"/>
                </a:lnTo>
                <a:lnTo>
                  <a:pt x="566724" y="700098"/>
                </a:lnTo>
                <a:lnTo>
                  <a:pt x="589860" y="708677"/>
                </a:lnTo>
                <a:lnTo>
                  <a:pt x="612283" y="718646"/>
                </a:lnTo>
                <a:lnTo>
                  <a:pt x="633938" y="729952"/>
                </a:lnTo>
                <a:lnTo>
                  <a:pt x="654774" y="742542"/>
                </a:lnTo>
                <a:lnTo>
                  <a:pt x="674738" y="756364"/>
                </a:lnTo>
                <a:lnTo>
                  <a:pt x="693778" y="771365"/>
                </a:lnTo>
                <a:lnTo>
                  <a:pt x="711842" y="787492"/>
                </a:lnTo>
                <a:lnTo>
                  <a:pt x="728878" y="804692"/>
                </a:lnTo>
                <a:lnTo>
                  <a:pt x="744832" y="822914"/>
                </a:lnTo>
                <a:lnTo>
                  <a:pt x="759654" y="842105"/>
                </a:lnTo>
                <a:lnTo>
                  <a:pt x="773290" y="862212"/>
                </a:lnTo>
                <a:close/>
              </a:path>
            </a:pathLst>
          </a:custGeom>
          <a:solidFill>
            <a:srgbClr val="34A49E"/>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4" name="object 194"/>
          <p:cNvSpPr/>
          <p:nvPr/>
        </p:nvSpPr>
        <p:spPr>
          <a:xfrm>
            <a:off x="5465863" y="4950595"/>
            <a:ext cx="204436" cy="469398"/>
          </a:xfrm>
          <a:custGeom>
            <a:avLst/>
            <a:gdLst/>
            <a:ahLst/>
            <a:cxnLst/>
            <a:rect l="l" t="t" r="r" b="b"/>
            <a:pathLst>
              <a:path w="290753" h="667588">
                <a:moveTo>
                  <a:pt x="144487" y="266"/>
                </a:moveTo>
                <a:lnTo>
                  <a:pt x="118734" y="24060"/>
                </a:lnTo>
                <a:lnTo>
                  <a:pt x="95312" y="50168"/>
                </a:lnTo>
                <a:lnTo>
                  <a:pt x="74119" y="78184"/>
                </a:lnTo>
                <a:lnTo>
                  <a:pt x="55297" y="107967"/>
                </a:lnTo>
                <a:lnTo>
                  <a:pt x="38985" y="139376"/>
                </a:lnTo>
                <a:lnTo>
                  <a:pt x="25325" y="172271"/>
                </a:lnTo>
                <a:lnTo>
                  <a:pt x="14455" y="206511"/>
                </a:lnTo>
                <a:lnTo>
                  <a:pt x="6518" y="241956"/>
                </a:lnTo>
                <a:lnTo>
                  <a:pt x="1653" y="278466"/>
                </a:lnTo>
                <a:lnTo>
                  <a:pt x="0" y="315899"/>
                </a:lnTo>
                <a:lnTo>
                  <a:pt x="208" y="329237"/>
                </a:lnTo>
                <a:lnTo>
                  <a:pt x="1860" y="355594"/>
                </a:lnTo>
                <a:lnTo>
                  <a:pt x="5117" y="381484"/>
                </a:lnTo>
                <a:lnTo>
                  <a:pt x="9928" y="406857"/>
                </a:lnTo>
                <a:lnTo>
                  <a:pt x="16243" y="431663"/>
                </a:lnTo>
                <a:lnTo>
                  <a:pt x="24012" y="455853"/>
                </a:lnTo>
                <a:lnTo>
                  <a:pt x="33186" y="479377"/>
                </a:lnTo>
                <a:lnTo>
                  <a:pt x="43714" y="502185"/>
                </a:lnTo>
                <a:lnTo>
                  <a:pt x="59039" y="530090"/>
                </a:lnTo>
                <a:lnTo>
                  <a:pt x="69811" y="546988"/>
                </a:lnTo>
                <a:lnTo>
                  <a:pt x="81318" y="563414"/>
                </a:lnTo>
                <a:lnTo>
                  <a:pt x="94538" y="580529"/>
                </a:lnTo>
                <a:lnTo>
                  <a:pt x="95757" y="582129"/>
                </a:lnTo>
                <a:lnTo>
                  <a:pt x="112508" y="601225"/>
                </a:lnTo>
                <a:lnTo>
                  <a:pt x="131516" y="620308"/>
                </a:lnTo>
                <a:lnTo>
                  <a:pt x="150554" y="637177"/>
                </a:lnTo>
                <a:lnTo>
                  <a:pt x="170597" y="652880"/>
                </a:lnTo>
                <a:lnTo>
                  <a:pt x="191591" y="667365"/>
                </a:lnTo>
                <a:lnTo>
                  <a:pt x="192646" y="667588"/>
                </a:lnTo>
                <a:lnTo>
                  <a:pt x="201713" y="654575"/>
                </a:lnTo>
                <a:lnTo>
                  <a:pt x="218673" y="627706"/>
                </a:lnTo>
                <a:lnTo>
                  <a:pt x="234014" y="599767"/>
                </a:lnTo>
                <a:lnTo>
                  <a:pt x="247669" y="570825"/>
                </a:lnTo>
                <a:lnTo>
                  <a:pt x="259572" y="540946"/>
                </a:lnTo>
                <a:lnTo>
                  <a:pt x="269656" y="510194"/>
                </a:lnTo>
                <a:lnTo>
                  <a:pt x="277855" y="478636"/>
                </a:lnTo>
                <a:lnTo>
                  <a:pt x="284104" y="446339"/>
                </a:lnTo>
                <a:lnTo>
                  <a:pt x="288335" y="413366"/>
                </a:lnTo>
                <a:lnTo>
                  <a:pt x="290482" y="379786"/>
                </a:lnTo>
                <a:lnTo>
                  <a:pt x="290753" y="362788"/>
                </a:lnTo>
                <a:lnTo>
                  <a:pt x="290338" y="341771"/>
                </a:lnTo>
                <a:lnTo>
                  <a:pt x="287063" y="300384"/>
                </a:lnTo>
                <a:lnTo>
                  <a:pt x="280633" y="259965"/>
                </a:lnTo>
                <a:lnTo>
                  <a:pt x="271173" y="220637"/>
                </a:lnTo>
                <a:lnTo>
                  <a:pt x="258809" y="182527"/>
                </a:lnTo>
                <a:lnTo>
                  <a:pt x="243666" y="145759"/>
                </a:lnTo>
                <a:lnTo>
                  <a:pt x="225869" y="110459"/>
                </a:lnTo>
                <a:lnTo>
                  <a:pt x="205543" y="76750"/>
                </a:lnTo>
                <a:lnTo>
                  <a:pt x="182813" y="44759"/>
                </a:lnTo>
                <a:lnTo>
                  <a:pt x="157806" y="14611"/>
                </a:lnTo>
                <a:lnTo>
                  <a:pt x="144487" y="266"/>
                </a:lnTo>
                <a:close/>
              </a:path>
            </a:pathLst>
          </a:custGeom>
          <a:solidFill>
            <a:srgbClr val="13BDE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5" name="object 195"/>
          <p:cNvSpPr/>
          <p:nvPr/>
        </p:nvSpPr>
        <p:spPr>
          <a:xfrm>
            <a:off x="4970735" y="5437647"/>
            <a:ext cx="551247" cy="429902"/>
          </a:xfrm>
          <a:custGeom>
            <a:avLst/>
            <a:gdLst/>
            <a:ahLst/>
            <a:cxnLst/>
            <a:rect l="l" t="t" r="r" b="b"/>
            <a:pathLst>
              <a:path w="783996" h="611416">
                <a:moveTo>
                  <a:pt x="555596" y="575758"/>
                </a:moveTo>
                <a:lnTo>
                  <a:pt x="566987" y="570296"/>
                </a:lnTo>
                <a:lnTo>
                  <a:pt x="578171" y="564483"/>
                </a:lnTo>
                <a:lnTo>
                  <a:pt x="589141" y="558324"/>
                </a:lnTo>
                <a:lnTo>
                  <a:pt x="599890" y="551827"/>
                </a:lnTo>
                <a:lnTo>
                  <a:pt x="605713" y="548106"/>
                </a:lnTo>
                <a:lnTo>
                  <a:pt x="601167" y="544080"/>
                </a:lnTo>
                <a:lnTo>
                  <a:pt x="596811" y="539826"/>
                </a:lnTo>
                <a:lnTo>
                  <a:pt x="592696" y="535355"/>
                </a:lnTo>
                <a:lnTo>
                  <a:pt x="591604" y="534047"/>
                </a:lnTo>
                <a:lnTo>
                  <a:pt x="583456" y="524314"/>
                </a:lnTo>
                <a:lnTo>
                  <a:pt x="576035" y="513992"/>
                </a:lnTo>
                <a:lnTo>
                  <a:pt x="569364" y="503127"/>
                </a:lnTo>
                <a:lnTo>
                  <a:pt x="563465" y="491762"/>
                </a:lnTo>
                <a:lnTo>
                  <a:pt x="559282" y="482257"/>
                </a:lnTo>
                <a:lnTo>
                  <a:pt x="554966" y="470517"/>
                </a:lnTo>
                <a:lnTo>
                  <a:pt x="551443" y="458417"/>
                </a:lnTo>
                <a:lnTo>
                  <a:pt x="548766" y="445982"/>
                </a:lnTo>
                <a:lnTo>
                  <a:pt x="546989" y="433239"/>
                </a:lnTo>
                <a:lnTo>
                  <a:pt x="546166" y="420213"/>
                </a:lnTo>
                <a:lnTo>
                  <a:pt x="546112" y="415937"/>
                </a:lnTo>
                <a:lnTo>
                  <a:pt x="546660" y="401936"/>
                </a:lnTo>
                <a:lnTo>
                  <a:pt x="548276" y="388234"/>
                </a:lnTo>
                <a:lnTo>
                  <a:pt x="550919" y="374874"/>
                </a:lnTo>
                <a:lnTo>
                  <a:pt x="554548" y="361896"/>
                </a:lnTo>
                <a:lnTo>
                  <a:pt x="559121" y="349342"/>
                </a:lnTo>
                <a:lnTo>
                  <a:pt x="564598" y="337252"/>
                </a:lnTo>
                <a:lnTo>
                  <a:pt x="570937" y="325668"/>
                </a:lnTo>
                <a:lnTo>
                  <a:pt x="578097" y="314631"/>
                </a:lnTo>
                <a:lnTo>
                  <a:pt x="586036" y="304183"/>
                </a:lnTo>
                <a:lnTo>
                  <a:pt x="594714" y="294363"/>
                </a:lnTo>
                <a:lnTo>
                  <a:pt x="604090" y="285214"/>
                </a:lnTo>
                <a:lnTo>
                  <a:pt x="614121" y="276777"/>
                </a:lnTo>
                <a:lnTo>
                  <a:pt x="624767" y="269092"/>
                </a:lnTo>
                <a:lnTo>
                  <a:pt x="635987" y="262202"/>
                </a:lnTo>
                <a:lnTo>
                  <a:pt x="641934" y="259156"/>
                </a:lnTo>
                <a:lnTo>
                  <a:pt x="645845" y="257149"/>
                </a:lnTo>
                <a:lnTo>
                  <a:pt x="653834" y="253428"/>
                </a:lnTo>
                <a:lnTo>
                  <a:pt x="665514" y="248976"/>
                </a:lnTo>
                <a:lnTo>
                  <a:pt x="677572" y="245343"/>
                </a:lnTo>
                <a:lnTo>
                  <a:pt x="689976" y="242563"/>
                </a:lnTo>
                <a:lnTo>
                  <a:pt x="702694" y="240671"/>
                </a:lnTo>
                <a:lnTo>
                  <a:pt x="715694" y="239701"/>
                </a:lnTo>
                <a:lnTo>
                  <a:pt x="722490" y="239572"/>
                </a:lnTo>
                <a:lnTo>
                  <a:pt x="735559" y="240049"/>
                </a:lnTo>
                <a:lnTo>
                  <a:pt x="748365" y="241456"/>
                </a:lnTo>
                <a:lnTo>
                  <a:pt x="760875" y="243761"/>
                </a:lnTo>
                <a:lnTo>
                  <a:pt x="773059" y="246929"/>
                </a:lnTo>
                <a:lnTo>
                  <a:pt x="782789" y="250151"/>
                </a:lnTo>
                <a:lnTo>
                  <a:pt x="783589" y="237530"/>
                </a:lnTo>
                <a:lnTo>
                  <a:pt x="783960" y="224812"/>
                </a:lnTo>
                <a:lnTo>
                  <a:pt x="783996" y="219430"/>
                </a:lnTo>
                <a:lnTo>
                  <a:pt x="783782" y="206360"/>
                </a:lnTo>
                <a:lnTo>
                  <a:pt x="783146" y="193398"/>
                </a:lnTo>
                <a:lnTo>
                  <a:pt x="782093" y="180550"/>
                </a:lnTo>
                <a:lnTo>
                  <a:pt x="780630" y="167822"/>
                </a:lnTo>
                <a:lnTo>
                  <a:pt x="778764" y="155222"/>
                </a:lnTo>
                <a:lnTo>
                  <a:pt x="776502" y="142755"/>
                </a:lnTo>
                <a:lnTo>
                  <a:pt x="773851" y="130427"/>
                </a:lnTo>
                <a:lnTo>
                  <a:pt x="770816" y="118246"/>
                </a:lnTo>
                <a:lnTo>
                  <a:pt x="767405" y="106218"/>
                </a:lnTo>
                <a:lnTo>
                  <a:pt x="766190" y="102260"/>
                </a:lnTo>
                <a:lnTo>
                  <a:pt x="753502" y="110636"/>
                </a:lnTo>
                <a:lnTo>
                  <a:pt x="740559" y="118650"/>
                </a:lnTo>
                <a:lnTo>
                  <a:pt x="713942" y="133560"/>
                </a:lnTo>
                <a:lnTo>
                  <a:pt x="686396" y="146933"/>
                </a:lnTo>
                <a:lnTo>
                  <a:pt x="657978" y="158711"/>
                </a:lnTo>
                <a:lnTo>
                  <a:pt x="628746" y="168835"/>
                </a:lnTo>
                <a:lnTo>
                  <a:pt x="598757" y="177248"/>
                </a:lnTo>
                <a:lnTo>
                  <a:pt x="568069" y="183892"/>
                </a:lnTo>
                <a:lnTo>
                  <a:pt x="536737" y="188710"/>
                </a:lnTo>
                <a:lnTo>
                  <a:pt x="504821" y="191643"/>
                </a:lnTo>
                <a:lnTo>
                  <a:pt x="472376" y="192633"/>
                </a:lnTo>
                <a:lnTo>
                  <a:pt x="459133" y="192467"/>
                </a:lnTo>
                <a:lnTo>
                  <a:pt x="432898" y="191149"/>
                </a:lnTo>
                <a:lnTo>
                  <a:pt x="407024" y="188547"/>
                </a:lnTo>
                <a:lnTo>
                  <a:pt x="381539" y="184695"/>
                </a:lnTo>
                <a:lnTo>
                  <a:pt x="356474" y="179627"/>
                </a:lnTo>
                <a:lnTo>
                  <a:pt x="331857" y="173378"/>
                </a:lnTo>
                <a:lnTo>
                  <a:pt x="307718" y="165983"/>
                </a:lnTo>
                <a:lnTo>
                  <a:pt x="284086" y="157475"/>
                </a:lnTo>
                <a:lnTo>
                  <a:pt x="260990" y="147890"/>
                </a:lnTo>
                <a:lnTo>
                  <a:pt x="233881" y="134931"/>
                </a:lnTo>
                <a:lnTo>
                  <a:pt x="211276" y="122611"/>
                </a:lnTo>
                <a:lnTo>
                  <a:pt x="189357" y="109235"/>
                </a:lnTo>
                <a:lnTo>
                  <a:pt x="168161" y="94835"/>
                </a:lnTo>
                <a:lnTo>
                  <a:pt x="147724" y="79444"/>
                </a:lnTo>
                <a:lnTo>
                  <a:pt x="128083" y="63092"/>
                </a:lnTo>
                <a:lnTo>
                  <a:pt x="109273" y="45813"/>
                </a:lnTo>
                <a:lnTo>
                  <a:pt x="91332" y="27638"/>
                </a:lnTo>
                <a:lnTo>
                  <a:pt x="74296" y="8599"/>
                </a:lnTo>
                <a:lnTo>
                  <a:pt x="67132" y="0"/>
                </a:lnTo>
                <a:lnTo>
                  <a:pt x="60260" y="10514"/>
                </a:lnTo>
                <a:lnTo>
                  <a:pt x="47517" y="32224"/>
                </a:lnTo>
                <a:lnTo>
                  <a:pt x="36155" y="54794"/>
                </a:lnTo>
                <a:lnTo>
                  <a:pt x="26233" y="78167"/>
                </a:lnTo>
                <a:lnTo>
                  <a:pt x="17809" y="102285"/>
                </a:lnTo>
                <a:lnTo>
                  <a:pt x="10941" y="127091"/>
                </a:lnTo>
                <a:lnTo>
                  <a:pt x="5688" y="152528"/>
                </a:lnTo>
                <a:lnTo>
                  <a:pt x="2107" y="178539"/>
                </a:lnTo>
                <a:lnTo>
                  <a:pt x="258" y="205066"/>
                </a:lnTo>
                <a:lnTo>
                  <a:pt x="0" y="219430"/>
                </a:lnTo>
                <a:lnTo>
                  <a:pt x="1299" y="251579"/>
                </a:lnTo>
                <a:lnTo>
                  <a:pt x="5131" y="283011"/>
                </a:lnTo>
                <a:lnTo>
                  <a:pt x="11393" y="313628"/>
                </a:lnTo>
                <a:lnTo>
                  <a:pt x="19986" y="343327"/>
                </a:lnTo>
                <a:lnTo>
                  <a:pt x="30808" y="372007"/>
                </a:lnTo>
                <a:lnTo>
                  <a:pt x="43758" y="399569"/>
                </a:lnTo>
                <a:lnTo>
                  <a:pt x="58735" y="425910"/>
                </a:lnTo>
                <a:lnTo>
                  <a:pt x="75639" y="450930"/>
                </a:lnTo>
                <a:lnTo>
                  <a:pt x="94368" y="474529"/>
                </a:lnTo>
                <a:lnTo>
                  <a:pt x="114822" y="496604"/>
                </a:lnTo>
                <a:lnTo>
                  <a:pt x="136899" y="517057"/>
                </a:lnTo>
                <a:lnTo>
                  <a:pt x="160499" y="535784"/>
                </a:lnTo>
                <a:lnTo>
                  <a:pt x="185520" y="552686"/>
                </a:lnTo>
                <a:lnTo>
                  <a:pt x="211862" y="567662"/>
                </a:lnTo>
                <a:lnTo>
                  <a:pt x="239424" y="580611"/>
                </a:lnTo>
                <a:lnTo>
                  <a:pt x="268105" y="591432"/>
                </a:lnTo>
                <a:lnTo>
                  <a:pt x="297804" y="600023"/>
                </a:lnTo>
                <a:lnTo>
                  <a:pt x="328419" y="606285"/>
                </a:lnTo>
                <a:lnTo>
                  <a:pt x="359851" y="610116"/>
                </a:lnTo>
                <a:lnTo>
                  <a:pt x="391998" y="611416"/>
                </a:lnTo>
                <a:lnTo>
                  <a:pt x="405418" y="611190"/>
                </a:lnTo>
                <a:lnTo>
                  <a:pt x="431913" y="609409"/>
                </a:lnTo>
                <a:lnTo>
                  <a:pt x="457899" y="605901"/>
                </a:lnTo>
                <a:lnTo>
                  <a:pt x="483318" y="600724"/>
                </a:lnTo>
                <a:lnTo>
                  <a:pt x="508112" y="593936"/>
                </a:lnTo>
                <a:lnTo>
                  <a:pt x="532224" y="585595"/>
                </a:lnTo>
                <a:lnTo>
                  <a:pt x="544007" y="580860"/>
                </a:lnTo>
                <a:lnTo>
                  <a:pt x="555596" y="575758"/>
                </a:lnTo>
                <a:close/>
              </a:path>
            </a:pathLst>
          </a:custGeom>
          <a:solidFill>
            <a:srgbClr val="CC712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6" name="object 196"/>
          <p:cNvSpPr/>
          <p:nvPr/>
        </p:nvSpPr>
        <p:spPr>
          <a:xfrm>
            <a:off x="5017934" y="5316323"/>
            <a:ext cx="491525" cy="256764"/>
          </a:xfrm>
          <a:custGeom>
            <a:avLst/>
            <a:gdLst/>
            <a:ahLst/>
            <a:cxnLst/>
            <a:rect l="l" t="t" r="r" b="b"/>
            <a:pathLst>
              <a:path w="699058" h="365175">
                <a:moveTo>
                  <a:pt x="8198" y="182361"/>
                </a:moveTo>
                <a:lnTo>
                  <a:pt x="25295" y="201345"/>
                </a:lnTo>
                <a:lnTo>
                  <a:pt x="43293" y="219465"/>
                </a:lnTo>
                <a:lnTo>
                  <a:pt x="62156" y="236687"/>
                </a:lnTo>
                <a:lnTo>
                  <a:pt x="81848" y="252980"/>
                </a:lnTo>
                <a:lnTo>
                  <a:pt x="102333" y="268311"/>
                </a:lnTo>
                <a:lnTo>
                  <a:pt x="123575" y="282649"/>
                </a:lnTo>
                <a:lnTo>
                  <a:pt x="145537" y="295959"/>
                </a:lnTo>
                <a:lnTo>
                  <a:pt x="168184" y="308211"/>
                </a:lnTo>
                <a:lnTo>
                  <a:pt x="190004" y="318706"/>
                </a:lnTo>
                <a:lnTo>
                  <a:pt x="213005" y="328473"/>
                </a:lnTo>
                <a:lnTo>
                  <a:pt x="236548" y="337167"/>
                </a:lnTo>
                <a:lnTo>
                  <a:pt x="260604" y="344753"/>
                </a:lnTo>
                <a:lnTo>
                  <a:pt x="285143" y="351197"/>
                </a:lnTo>
                <a:lnTo>
                  <a:pt x="310135" y="356466"/>
                </a:lnTo>
                <a:lnTo>
                  <a:pt x="335552" y="360525"/>
                </a:lnTo>
                <a:lnTo>
                  <a:pt x="361362" y="363341"/>
                </a:lnTo>
                <a:lnTo>
                  <a:pt x="387537" y="364878"/>
                </a:lnTo>
                <a:lnTo>
                  <a:pt x="405256" y="365175"/>
                </a:lnTo>
                <a:lnTo>
                  <a:pt x="421538" y="364926"/>
                </a:lnTo>
                <a:lnTo>
                  <a:pt x="453721" y="362958"/>
                </a:lnTo>
                <a:lnTo>
                  <a:pt x="485349" y="359075"/>
                </a:lnTo>
                <a:lnTo>
                  <a:pt x="516366" y="353337"/>
                </a:lnTo>
                <a:lnTo>
                  <a:pt x="546712" y="345801"/>
                </a:lnTo>
                <a:lnTo>
                  <a:pt x="576330" y="336525"/>
                </a:lnTo>
                <a:lnTo>
                  <a:pt x="605163" y="325567"/>
                </a:lnTo>
                <a:lnTo>
                  <a:pt x="633153" y="312985"/>
                </a:lnTo>
                <a:lnTo>
                  <a:pt x="660241" y="298836"/>
                </a:lnTo>
                <a:lnTo>
                  <a:pt x="686371" y="283179"/>
                </a:lnTo>
                <a:lnTo>
                  <a:pt x="699058" y="274802"/>
                </a:lnTo>
                <a:lnTo>
                  <a:pt x="698093" y="272186"/>
                </a:lnTo>
                <a:lnTo>
                  <a:pt x="697661" y="270852"/>
                </a:lnTo>
                <a:lnTo>
                  <a:pt x="689289" y="247611"/>
                </a:lnTo>
                <a:lnTo>
                  <a:pt x="679521" y="225075"/>
                </a:lnTo>
                <a:lnTo>
                  <a:pt x="668412" y="203296"/>
                </a:lnTo>
                <a:lnTo>
                  <a:pt x="656013" y="182328"/>
                </a:lnTo>
                <a:lnTo>
                  <a:pt x="642377" y="162223"/>
                </a:lnTo>
                <a:lnTo>
                  <a:pt x="627555" y="143034"/>
                </a:lnTo>
                <a:lnTo>
                  <a:pt x="611600" y="124813"/>
                </a:lnTo>
                <a:lnTo>
                  <a:pt x="594564" y="107612"/>
                </a:lnTo>
                <a:lnTo>
                  <a:pt x="576500" y="91486"/>
                </a:lnTo>
                <a:lnTo>
                  <a:pt x="557460" y="76485"/>
                </a:lnTo>
                <a:lnTo>
                  <a:pt x="537495" y="62664"/>
                </a:lnTo>
                <a:lnTo>
                  <a:pt x="516659" y="50073"/>
                </a:lnTo>
                <a:lnTo>
                  <a:pt x="495004" y="38767"/>
                </a:lnTo>
                <a:lnTo>
                  <a:pt x="472582" y="28798"/>
                </a:lnTo>
                <a:lnTo>
                  <a:pt x="449445" y="20218"/>
                </a:lnTo>
                <a:lnTo>
                  <a:pt x="425645" y="13079"/>
                </a:lnTo>
                <a:lnTo>
                  <a:pt x="401235" y="7436"/>
                </a:lnTo>
                <a:lnTo>
                  <a:pt x="376267" y="3340"/>
                </a:lnTo>
                <a:lnTo>
                  <a:pt x="350793" y="843"/>
                </a:lnTo>
                <a:lnTo>
                  <a:pt x="324865" y="0"/>
                </a:lnTo>
                <a:lnTo>
                  <a:pt x="304711" y="509"/>
                </a:lnTo>
                <a:lnTo>
                  <a:pt x="265219" y="4509"/>
                </a:lnTo>
                <a:lnTo>
                  <a:pt x="226981" y="12320"/>
                </a:lnTo>
                <a:lnTo>
                  <a:pt x="190194" y="23746"/>
                </a:lnTo>
                <a:lnTo>
                  <a:pt x="155054" y="38590"/>
                </a:lnTo>
                <a:lnTo>
                  <a:pt x="121757" y="56656"/>
                </a:lnTo>
                <a:lnTo>
                  <a:pt x="90500" y="77746"/>
                </a:lnTo>
                <a:lnTo>
                  <a:pt x="61479" y="101664"/>
                </a:lnTo>
                <a:lnTo>
                  <a:pt x="34891" y="128214"/>
                </a:lnTo>
                <a:lnTo>
                  <a:pt x="10932" y="157198"/>
                </a:lnTo>
                <a:lnTo>
                  <a:pt x="0" y="172542"/>
                </a:lnTo>
                <a:lnTo>
                  <a:pt x="8198" y="182361"/>
                </a:lnTo>
                <a:close/>
              </a:path>
            </a:pathLst>
          </a:custGeom>
          <a:solidFill>
            <a:srgbClr val="625F36"/>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7" name="object 197"/>
          <p:cNvSpPr/>
          <p:nvPr/>
        </p:nvSpPr>
        <p:spPr>
          <a:xfrm>
            <a:off x="5396609" y="5613538"/>
            <a:ext cx="206124" cy="240583"/>
          </a:xfrm>
          <a:custGeom>
            <a:avLst/>
            <a:gdLst/>
            <a:ahLst/>
            <a:cxnLst/>
            <a:rect l="l" t="t" r="r" b="b"/>
            <a:pathLst>
              <a:path w="293154" h="342163">
                <a:moveTo>
                  <a:pt x="66544" y="334898"/>
                </a:moveTo>
                <a:lnTo>
                  <a:pt x="79196" y="338145"/>
                </a:lnTo>
                <a:lnTo>
                  <a:pt x="92193" y="340461"/>
                </a:lnTo>
                <a:lnTo>
                  <a:pt x="105499" y="341808"/>
                </a:lnTo>
                <a:lnTo>
                  <a:pt x="116776" y="342163"/>
                </a:lnTo>
                <a:lnTo>
                  <a:pt x="131502" y="341557"/>
                </a:lnTo>
                <a:lnTo>
                  <a:pt x="145893" y="339770"/>
                </a:lnTo>
                <a:lnTo>
                  <a:pt x="159902" y="336851"/>
                </a:lnTo>
                <a:lnTo>
                  <a:pt x="173480" y="332847"/>
                </a:lnTo>
                <a:lnTo>
                  <a:pt x="186580" y="327806"/>
                </a:lnTo>
                <a:lnTo>
                  <a:pt x="199154" y="321777"/>
                </a:lnTo>
                <a:lnTo>
                  <a:pt x="211154" y="314807"/>
                </a:lnTo>
                <a:lnTo>
                  <a:pt x="222532" y="306945"/>
                </a:lnTo>
                <a:lnTo>
                  <a:pt x="233239" y="298237"/>
                </a:lnTo>
                <a:lnTo>
                  <a:pt x="243228" y="288733"/>
                </a:lnTo>
                <a:lnTo>
                  <a:pt x="252452" y="278480"/>
                </a:lnTo>
                <a:lnTo>
                  <a:pt x="260861" y="267526"/>
                </a:lnTo>
                <a:lnTo>
                  <a:pt x="268408" y="255920"/>
                </a:lnTo>
                <a:lnTo>
                  <a:pt x="275045" y="243708"/>
                </a:lnTo>
                <a:lnTo>
                  <a:pt x="280725" y="230939"/>
                </a:lnTo>
                <a:lnTo>
                  <a:pt x="285398" y="217662"/>
                </a:lnTo>
                <a:lnTo>
                  <a:pt x="289018" y="203923"/>
                </a:lnTo>
                <a:lnTo>
                  <a:pt x="291536" y="189771"/>
                </a:lnTo>
                <a:lnTo>
                  <a:pt x="292904" y="175254"/>
                </a:lnTo>
                <a:lnTo>
                  <a:pt x="293154" y="165785"/>
                </a:lnTo>
                <a:lnTo>
                  <a:pt x="292590" y="151574"/>
                </a:lnTo>
                <a:lnTo>
                  <a:pt x="290926" y="137673"/>
                </a:lnTo>
                <a:lnTo>
                  <a:pt x="288206" y="124126"/>
                </a:lnTo>
                <a:lnTo>
                  <a:pt x="284473" y="110975"/>
                </a:lnTo>
                <a:lnTo>
                  <a:pt x="279770" y="98263"/>
                </a:lnTo>
                <a:lnTo>
                  <a:pt x="274139" y="86033"/>
                </a:lnTo>
                <a:lnTo>
                  <a:pt x="267623" y="74328"/>
                </a:lnTo>
                <a:lnTo>
                  <a:pt x="260266" y="63191"/>
                </a:lnTo>
                <a:lnTo>
                  <a:pt x="252111" y="52665"/>
                </a:lnTo>
                <a:lnTo>
                  <a:pt x="243200" y="42792"/>
                </a:lnTo>
                <a:lnTo>
                  <a:pt x="233576" y="33617"/>
                </a:lnTo>
                <a:lnTo>
                  <a:pt x="223283" y="25181"/>
                </a:lnTo>
                <a:lnTo>
                  <a:pt x="212364" y="17527"/>
                </a:lnTo>
                <a:lnTo>
                  <a:pt x="200861" y="10700"/>
                </a:lnTo>
                <a:lnTo>
                  <a:pt x="188818" y="4740"/>
                </a:lnTo>
                <a:lnTo>
                  <a:pt x="177126" y="0"/>
                </a:lnTo>
                <a:lnTo>
                  <a:pt x="175565" y="15747"/>
                </a:lnTo>
                <a:lnTo>
                  <a:pt x="173412" y="31304"/>
                </a:lnTo>
                <a:lnTo>
                  <a:pt x="170655" y="46660"/>
                </a:lnTo>
                <a:lnTo>
                  <a:pt x="167305" y="61801"/>
                </a:lnTo>
                <a:lnTo>
                  <a:pt x="163376" y="76716"/>
                </a:lnTo>
                <a:lnTo>
                  <a:pt x="158881" y="91391"/>
                </a:lnTo>
                <a:lnTo>
                  <a:pt x="153831" y="105816"/>
                </a:lnTo>
                <a:lnTo>
                  <a:pt x="148241" y="119977"/>
                </a:lnTo>
                <a:lnTo>
                  <a:pt x="142121" y="133863"/>
                </a:lnTo>
                <a:lnTo>
                  <a:pt x="135485" y="147461"/>
                </a:lnTo>
                <a:lnTo>
                  <a:pt x="128345" y="160758"/>
                </a:lnTo>
                <a:lnTo>
                  <a:pt x="120715" y="173744"/>
                </a:lnTo>
                <a:lnTo>
                  <a:pt x="112606" y="186404"/>
                </a:lnTo>
                <a:lnTo>
                  <a:pt x="104031" y="198728"/>
                </a:lnTo>
                <a:lnTo>
                  <a:pt x="95003" y="210703"/>
                </a:lnTo>
                <a:lnTo>
                  <a:pt x="85535" y="222316"/>
                </a:lnTo>
                <a:lnTo>
                  <a:pt x="75639" y="233555"/>
                </a:lnTo>
                <a:lnTo>
                  <a:pt x="65328" y="244409"/>
                </a:lnTo>
                <a:lnTo>
                  <a:pt x="54614" y="254864"/>
                </a:lnTo>
                <a:lnTo>
                  <a:pt x="43510" y="264909"/>
                </a:lnTo>
                <a:lnTo>
                  <a:pt x="33810" y="273105"/>
                </a:lnTo>
                <a:lnTo>
                  <a:pt x="23868" y="281008"/>
                </a:lnTo>
                <a:lnTo>
                  <a:pt x="13673" y="288594"/>
                </a:lnTo>
                <a:lnTo>
                  <a:pt x="3213" y="295837"/>
                </a:lnTo>
                <a:lnTo>
                  <a:pt x="0" y="297954"/>
                </a:lnTo>
                <a:lnTo>
                  <a:pt x="9788" y="306003"/>
                </a:lnTo>
                <a:lnTo>
                  <a:pt x="20147" y="313345"/>
                </a:lnTo>
                <a:lnTo>
                  <a:pt x="31040" y="319943"/>
                </a:lnTo>
                <a:lnTo>
                  <a:pt x="42429" y="325760"/>
                </a:lnTo>
                <a:lnTo>
                  <a:pt x="54276" y="330757"/>
                </a:lnTo>
                <a:lnTo>
                  <a:pt x="66544" y="334898"/>
                </a:lnTo>
                <a:close/>
              </a:path>
            </a:pathLst>
          </a:custGeom>
          <a:solidFill>
            <a:srgbClr val="7B633D"/>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8" name="object 198"/>
          <p:cNvSpPr/>
          <p:nvPr/>
        </p:nvSpPr>
        <p:spPr>
          <a:xfrm>
            <a:off x="5354721" y="5606096"/>
            <a:ext cx="166414" cy="216937"/>
          </a:xfrm>
          <a:custGeom>
            <a:avLst/>
            <a:gdLst/>
            <a:ahLst/>
            <a:cxnLst/>
            <a:rect l="l" t="t" r="r" b="b"/>
            <a:pathLst>
              <a:path w="236677" h="308533">
                <a:moveTo>
                  <a:pt x="236677" y="10591"/>
                </a:moveTo>
                <a:lnTo>
                  <a:pt x="224787" y="6739"/>
                </a:lnTo>
                <a:lnTo>
                  <a:pt x="212542" y="3720"/>
                </a:lnTo>
                <a:lnTo>
                  <a:pt x="199975" y="1570"/>
                </a:lnTo>
                <a:lnTo>
                  <a:pt x="187119" y="323"/>
                </a:lnTo>
                <a:lnTo>
                  <a:pt x="176352" y="0"/>
                </a:lnTo>
                <a:lnTo>
                  <a:pt x="163225" y="481"/>
                </a:lnTo>
                <a:lnTo>
                  <a:pt x="150361" y="1904"/>
                </a:lnTo>
                <a:lnTo>
                  <a:pt x="137792" y="4234"/>
                </a:lnTo>
                <a:lnTo>
                  <a:pt x="125550" y="7437"/>
                </a:lnTo>
                <a:lnTo>
                  <a:pt x="113669" y="11479"/>
                </a:lnTo>
                <a:lnTo>
                  <a:pt x="107721" y="13868"/>
                </a:lnTo>
                <a:lnTo>
                  <a:pt x="103644" y="15582"/>
                </a:lnTo>
                <a:lnTo>
                  <a:pt x="99733" y="17576"/>
                </a:lnTo>
                <a:lnTo>
                  <a:pt x="95821" y="19596"/>
                </a:lnTo>
                <a:lnTo>
                  <a:pt x="92303" y="21285"/>
                </a:lnTo>
                <a:lnTo>
                  <a:pt x="80968" y="28005"/>
                </a:lnTo>
                <a:lnTo>
                  <a:pt x="70198" y="35528"/>
                </a:lnTo>
                <a:lnTo>
                  <a:pt x="60033" y="43812"/>
                </a:lnTo>
                <a:lnTo>
                  <a:pt x="50517" y="52815"/>
                </a:lnTo>
                <a:lnTo>
                  <a:pt x="41689" y="62497"/>
                </a:lnTo>
                <a:lnTo>
                  <a:pt x="33590" y="72816"/>
                </a:lnTo>
                <a:lnTo>
                  <a:pt x="26263" y="83733"/>
                </a:lnTo>
                <a:lnTo>
                  <a:pt x="19748" y="95204"/>
                </a:lnTo>
                <a:lnTo>
                  <a:pt x="14087" y="107190"/>
                </a:lnTo>
                <a:lnTo>
                  <a:pt x="9320" y="119649"/>
                </a:lnTo>
                <a:lnTo>
                  <a:pt x="5489" y="132541"/>
                </a:lnTo>
                <a:lnTo>
                  <a:pt x="2635" y="145823"/>
                </a:lnTo>
                <a:lnTo>
                  <a:pt x="800" y="159456"/>
                </a:lnTo>
                <a:lnTo>
                  <a:pt x="24" y="173397"/>
                </a:lnTo>
                <a:lnTo>
                  <a:pt x="0" y="176364"/>
                </a:lnTo>
                <a:lnTo>
                  <a:pt x="502" y="189476"/>
                </a:lnTo>
                <a:lnTo>
                  <a:pt x="1973" y="202313"/>
                </a:lnTo>
                <a:lnTo>
                  <a:pt x="4363" y="214851"/>
                </a:lnTo>
                <a:lnTo>
                  <a:pt x="7617" y="227062"/>
                </a:lnTo>
                <a:lnTo>
                  <a:pt x="11686" y="238922"/>
                </a:lnTo>
                <a:lnTo>
                  <a:pt x="18430" y="254419"/>
                </a:lnTo>
                <a:lnTo>
                  <a:pt x="24480" y="265691"/>
                </a:lnTo>
                <a:lnTo>
                  <a:pt x="31297" y="276456"/>
                </a:lnTo>
                <a:lnTo>
                  <a:pt x="38860" y="286667"/>
                </a:lnTo>
                <a:lnTo>
                  <a:pt x="45491" y="294474"/>
                </a:lnTo>
                <a:lnTo>
                  <a:pt x="46583" y="295782"/>
                </a:lnTo>
                <a:lnTo>
                  <a:pt x="50698" y="300253"/>
                </a:lnTo>
                <a:lnTo>
                  <a:pt x="55054" y="304507"/>
                </a:lnTo>
                <a:lnTo>
                  <a:pt x="59575" y="308533"/>
                </a:lnTo>
                <a:lnTo>
                  <a:pt x="70133" y="301395"/>
                </a:lnTo>
                <a:lnTo>
                  <a:pt x="80403" y="293907"/>
                </a:lnTo>
                <a:lnTo>
                  <a:pt x="90420" y="286094"/>
                </a:lnTo>
                <a:lnTo>
                  <a:pt x="100194" y="277981"/>
                </a:lnTo>
                <a:lnTo>
                  <a:pt x="114189" y="265443"/>
                </a:lnTo>
                <a:lnTo>
                  <a:pt x="124903" y="254988"/>
                </a:lnTo>
                <a:lnTo>
                  <a:pt x="135215" y="244135"/>
                </a:lnTo>
                <a:lnTo>
                  <a:pt x="145111" y="232896"/>
                </a:lnTo>
                <a:lnTo>
                  <a:pt x="154579" y="221284"/>
                </a:lnTo>
                <a:lnTo>
                  <a:pt x="163607" y="209310"/>
                </a:lnTo>
                <a:lnTo>
                  <a:pt x="172181" y="196987"/>
                </a:lnTo>
                <a:lnTo>
                  <a:pt x="180290" y="184327"/>
                </a:lnTo>
                <a:lnTo>
                  <a:pt x="187921" y="171343"/>
                </a:lnTo>
                <a:lnTo>
                  <a:pt x="195060" y="158046"/>
                </a:lnTo>
                <a:lnTo>
                  <a:pt x="201696" y="144449"/>
                </a:lnTo>
                <a:lnTo>
                  <a:pt x="207816" y="130565"/>
                </a:lnTo>
                <a:lnTo>
                  <a:pt x="213407" y="116404"/>
                </a:lnTo>
                <a:lnTo>
                  <a:pt x="218457" y="101980"/>
                </a:lnTo>
                <a:lnTo>
                  <a:pt x="222952" y="87305"/>
                </a:lnTo>
                <a:lnTo>
                  <a:pt x="226881" y="72392"/>
                </a:lnTo>
                <a:lnTo>
                  <a:pt x="230230" y="57251"/>
                </a:lnTo>
                <a:lnTo>
                  <a:pt x="232988" y="41896"/>
                </a:lnTo>
                <a:lnTo>
                  <a:pt x="235141" y="26339"/>
                </a:lnTo>
                <a:lnTo>
                  <a:pt x="236677" y="10591"/>
                </a:lnTo>
                <a:close/>
              </a:path>
            </a:pathLst>
          </a:custGeom>
          <a:solidFill>
            <a:srgbClr val="7A3912"/>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199" name="object 199"/>
          <p:cNvSpPr/>
          <p:nvPr/>
        </p:nvSpPr>
        <p:spPr>
          <a:xfrm>
            <a:off x="5656178" y="5606086"/>
            <a:ext cx="248031" cy="248031"/>
          </a:xfrm>
          <a:custGeom>
            <a:avLst/>
            <a:gdLst/>
            <a:ahLst/>
            <a:cxnLst/>
            <a:rect l="l" t="t" r="r" b="b"/>
            <a:pathLst>
              <a:path w="352755" h="352755">
                <a:moveTo>
                  <a:pt x="176377" y="0"/>
                </a:moveTo>
                <a:lnTo>
                  <a:pt x="161652" y="606"/>
                </a:lnTo>
                <a:lnTo>
                  <a:pt x="147260" y="2392"/>
                </a:lnTo>
                <a:lnTo>
                  <a:pt x="133252" y="5312"/>
                </a:lnTo>
                <a:lnTo>
                  <a:pt x="119673" y="9316"/>
                </a:lnTo>
                <a:lnTo>
                  <a:pt x="106573" y="14356"/>
                </a:lnTo>
                <a:lnTo>
                  <a:pt x="93999" y="20385"/>
                </a:lnTo>
                <a:lnTo>
                  <a:pt x="81999" y="27355"/>
                </a:lnTo>
                <a:lnTo>
                  <a:pt x="70621" y="35218"/>
                </a:lnTo>
                <a:lnTo>
                  <a:pt x="59914" y="43925"/>
                </a:lnTo>
                <a:lnTo>
                  <a:pt x="49925" y="53429"/>
                </a:lnTo>
                <a:lnTo>
                  <a:pt x="40701" y="63682"/>
                </a:lnTo>
                <a:lnTo>
                  <a:pt x="32292" y="74636"/>
                </a:lnTo>
                <a:lnTo>
                  <a:pt x="24745" y="86243"/>
                </a:lnTo>
                <a:lnTo>
                  <a:pt x="18108" y="98454"/>
                </a:lnTo>
                <a:lnTo>
                  <a:pt x="12428" y="111223"/>
                </a:lnTo>
                <a:lnTo>
                  <a:pt x="7755" y="124501"/>
                </a:lnTo>
                <a:lnTo>
                  <a:pt x="4135" y="138239"/>
                </a:lnTo>
                <a:lnTo>
                  <a:pt x="1617" y="152391"/>
                </a:lnTo>
                <a:lnTo>
                  <a:pt x="249" y="166908"/>
                </a:lnTo>
                <a:lnTo>
                  <a:pt x="0" y="176377"/>
                </a:lnTo>
                <a:lnTo>
                  <a:pt x="606" y="191103"/>
                </a:lnTo>
                <a:lnTo>
                  <a:pt x="2392" y="205494"/>
                </a:lnTo>
                <a:lnTo>
                  <a:pt x="5312" y="219503"/>
                </a:lnTo>
                <a:lnTo>
                  <a:pt x="9316" y="233081"/>
                </a:lnTo>
                <a:lnTo>
                  <a:pt x="14356" y="246181"/>
                </a:lnTo>
                <a:lnTo>
                  <a:pt x="20385" y="258755"/>
                </a:lnTo>
                <a:lnTo>
                  <a:pt x="27355" y="270755"/>
                </a:lnTo>
                <a:lnTo>
                  <a:pt x="35218" y="282133"/>
                </a:lnTo>
                <a:lnTo>
                  <a:pt x="43925" y="292840"/>
                </a:lnTo>
                <a:lnTo>
                  <a:pt x="53429" y="302830"/>
                </a:lnTo>
                <a:lnTo>
                  <a:pt x="63682" y="312053"/>
                </a:lnTo>
                <a:lnTo>
                  <a:pt x="74636" y="320462"/>
                </a:lnTo>
                <a:lnTo>
                  <a:pt x="86243" y="328009"/>
                </a:lnTo>
                <a:lnTo>
                  <a:pt x="98454" y="334647"/>
                </a:lnTo>
                <a:lnTo>
                  <a:pt x="111223" y="340326"/>
                </a:lnTo>
                <a:lnTo>
                  <a:pt x="124501" y="344999"/>
                </a:lnTo>
                <a:lnTo>
                  <a:pt x="138239" y="348619"/>
                </a:lnTo>
                <a:lnTo>
                  <a:pt x="152391" y="351137"/>
                </a:lnTo>
                <a:lnTo>
                  <a:pt x="166908" y="352505"/>
                </a:lnTo>
                <a:lnTo>
                  <a:pt x="176377" y="352755"/>
                </a:lnTo>
                <a:lnTo>
                  <a:pt x="191103" y="352148"/>
                </a:lnTo>
                <a:lnTo>
                  <a:pt x="205494" y="350362"/>
                </a:lnTo>
                <a:lnTo>
                  <a:pt x="219503" y="347442"/>
                </a:lnTo>
                <a:lnTo>
                  <a:pt x="233081" y="343439"/>
                </a:lnTo>
                <a:lnTo>
                  <a:pt x="246181" y="338398"/>
                </a:lnTo>
                <a:lnTo>
                  <a:pt x="258755" y="332369"/>
                </a:lnTo>
                <a:lnTo>
                  <a:pt x="270755" y="325399"/>
                </a:lnTo>
                <a:lnTo>
                  <a:pt x="282133" y="317536"/>
                </a:lnTo>
                <a:lnTo>
                  <a:pt x="292840" y="308829"/>
                </a:lnTo>
                <a:lnTo>
                  <a:pt x="302830" y="299325"/>
                </a:lnTo>
                <a:lnTo>
                  <a:pt x="312053" y="289072"/>
                </a:lnTo>
                <a:lnTo>
                  <a:pt x="320462" y="278118"/>
                </a:lnTo>
                <a:lnTo>
                  <a:pt x="328009" y="266512"/>
                </a:lnTo>
                <a:lnTo>
                  <a:pt x="334647" y="254300"/>
                </a:lnTo>
                <a:lnTo>
                  <a:pt x="340326" y="241531"/>
                </a:lnTo>
                <a:lnTo>
                  <a:pt x="344999" y="228254"/>
                </a:lnTo>
                <a:lnTo>
                  <a:pt x="348619" y="214515"/>
                </a:lnTo>
                <a:lnTo>
                  <a:pt x="351137" y="200363"/>
                </a:lnTo>
                <a:lnTo>
                  <a:pt x="352505" y="185846"/>
                </a:lnTo>
                <a:lnTo>
                  <a:pt x="352755" y="176377"/>
                </a:lnTo>
                <a:lnTo>
                  <a:pt x="352148" y="161652"/>
                </a:lnTo>
                <a:lnTo>
                  <a:pt x="350362" y="147260"/>
                </a:lnTo>
                <a:lnTo>
                  <a:pt x="347442" y="133252"/>
                </a:lnTo>
                <a:lnTo>
                  <a:pt x="343439" y="119673"/>
                </a:lnTo>
                <a:lnTo>
                  <a:pt x="338398" y="106573"/>
                </a:lnTo>
                <a:lnTo>
                  <a:pt x="332369" y="93999"/>
                </a:lnTo>
                <a:lnTo>
                  <a:pt x="325399" y="81999"/>
                </a:lnTo>
                <a:lnTo>
                  <a:pt x="317536" y="70621"/>
                </a:lnTo>
                <a:lnTo>
                  <a:pt x="308829" y="59914"/>
                </a:lnTo>
                <a:lnTo>
                  <a:pt x="299325" y="49925"/>
                </a:lnTo>
                <a:lnTo>
                  <a:pt x="289072" y="40701"/>
                </a:lnTo>
                <a:lnTo>
                  <a:pt x="278118" y="32292"/>
                </a:lnTo>
                <a:lnTo>
                  <a:pt x="266512" y="24745"/>
                </a:lnTo>
                <a:lnTo>
                  <a:pt x="254300" y="18108"/>
                </a:lnTo>
                <a:lnTo>
                  <a:pt x="241531" y="12428"/>
                </a:lnTo>
                <a:lnTo>
                  <a:pt x="228254" y="7755"/>
                </a:lnTo>
                <a:lnTo>
                  <a:pt x="214515" y="4135"/>
                </a:lnTo>
                <a:lnTo>
                  <a:pt x="200363" y="1617"/>
                </a:lnTo>
                <a:lnTo>
                  <a:pt x="185846" y="249"/>
                </a:lnTo>
                <a:lnTo>
                  <a:pt x="176377" y="0"/>
                </a:lnTo>
                <a:close/>
              </a:path>
            </a:pathLst>
          </a:custGeom>
          <a:solidFill>
            <a:srgbClr val="FFFFF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0" name="object 200"/>
          <p:cNvSpPr/>
          <p:nvPr/>
        </p:nvSpPr>
        <p:spPr>
          <a:xfrm>
            <a:off x="6831336" y="4814200"/>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1" name="object 201"/>
          <p:cNvSpPr/>
          <p:nvPr/>
        </p:nvSpPr>
        <p:spPr>
          <a:xfrm>
            <a:off x="6614621" y="4814200"/>
            <a:ext cx="183362" cy="183380"/>
          </a:xfrm>
          <a:custGeom>
            <a:avLst/>
            <a:gdLst/>
            <a:ahLst/>
            <a:cxnLst/>
            <a:rect l="l" t="t" r="r" b="b"/>
            <a:pathLst>
              <a:path w="260781" h="260807">
                <a:moveTo>
                  <a:pt x="260781" y="0"/>
                </a:moveTo>
                <a:lnTo>
                  <a:pt x="0" y="0"/>
                </a:lnTo>
                <a:lnTo>
                  <a:pt x="0" y="260807"/>
                </a:lnTo>
                <a:lnTo>
                  <a:pt x="260781" y="260807"/>
                </a:lnTo>
                <a:lnTo>
                  <a:pt x="260781"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2" name="object 202"/>
          <p:cNvSpPr/>
          <p:nvPr/>
        </p:nvSpPr>
        <p:spPr>
          <a:xfrm>
            <a:off x="6397898" y="4814200"/>
            <a:ext cx="183362" cy="183380"/>
          </a:xfrm>
          <a:custGeom>
            <a:avLst/>
            <a:gdLst/>
            <a:ahLst/>
            <a:cxnLst/>
            <a:rect l="l" t="t" r="r" b="b"/>
            <a:pathLst>
              <a:path w="260781" h="260807">
                <a:moveTo>
                  <a:pt x="260781" y="0"/>
                </a:moveTo>
                <a:lnTo>
                  <a:pt x="0" y="0"/>
                </a:lnTo>
                <a:lnTo>
                  <a:pt x="0" y="260807"/>
                </a:lnTo>
                <a:lnTo>
                  <a:pt x="260781" y="260807"/>
                </a:lnTo>
                <a:lnTo>
                  <a:pt x="260781"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3" name="object 203"/>
          <p:cNvSpPr/>
          <p:nvPr/>
        </p:nvSpPr>
        <p:spPr>
          <a:xfrm>
            <a:off x="6181165" y="4814200"/>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BBBBBB"/>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4" name="object 204"/>
          <p:cNvSpPr/>
          <p:nvPr/>
        </p:nvSpPr>
        <p:spPr>
          <a:xfrm>
            <a:off x="7048059" y="5030905"/>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5" name="object 205"/>
          <p:cNvSpPr/>
          <p:nvPr/>
        </p:nvSpPr>
        <p:spPr>
          <a:xfrm>
            <a:off x="6831336" y="5030905"/>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6" name="object 206"/>
          <p:cNvSpPr/>
          <p:nvPr/>
        </p:nvSpPr>
        <p:spPr>
          <a:xfrm>
            <a:off x="6614621" y="5030905"/>
            <a:ext cx="183362" cy="183380"/>
          </a:xfrm>
          <a:custGeom>
            <a:avLst/>
            <a:gdLst/>
            <a:ahLst/>
            <a:cxnLst/>
            <a:rect l="l" t="t" r="r" b="b"/>
            <a:pathLst>
              <a:path w="260781" h="260807">
                <a:moveTo>
                  <a:pt x="260781" y="0"/>
                </a:moveTo>
                <a:lnTo>
                  <a:pt x="0" y="0"/>
                </a:lnTo>
                <a:lnTo>
                  <a:pt x="0" y="260807"/>
                </a:lnTo>
                <a:lnTo>
                  <a:pt x="260781" y="260807"/>
                </a:lnTo>
                <a:lnTo>
                  <a:pt x="260781" y="0"/>
                </a:lnTo>
                <a:close/>
              </a:path>
            </a:pathLst>
          </a:custGeom>
          <a:solidFill>
            <a:srgbClr val="BBBBBB"/>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7" name="object 207"/>
          <p:cNvSpPr/>
          <p:nvPr/>
        </p:nvSpPr>
        <p:spPr>
          <a:xfrm>
            <a:off x="6397898" y="5030905"/>
            <a:ext cx="183362" cy="183380"/>
          </a:xfrm>
          <a:custGeom>
            <a:avLst/>
            <a:gdLst/>
            <a:ahLst/>
            <a:cxnLst/>
            <a:rect l="l" t="t" r="r" b="b"/>
            <a:pathLst>
              <a:path w="260781" h="260807">
                <a:moveTo>
                  <a:pt x="260781" y="0"/>
                </a:moveTo>
                <a:lnTo>
                  <a:pt x="0" y="0"/>
                </a:lnTo>
                <a:lnTo>
                  <a:pt x="0" y="260807"/>
                </a:lnTo>
                <a:lnTo>
                  <a:pt x="260781" y="260807"/>
                </a:lnTo>
                <a:lnTo>
                  <a:pt x="260781"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8" name="object 208"/>
          <p:cNvSpPr/>
          <p:nvPr/>
        </p:nvSpPr>
        <p:spPr>
          <a:xfrm>
            <a:off x="6181165" y="5030905"/>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09" name="object 209"/>
          <p:cNvSpPr/>
          <p:nvPr/>
        </p:nvSpPr>
        <p:spPr>
          <a:xfrm>
            <a:off x="7048059" y="5247629"/>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0" name="object 210"/>
          <p:cNvSpPr/>
          <p:nvPr/>
        </p:nvSpPr>
        <p:spPr>
          <a:xfrm>
            <a:off x="6831336" y="5247629"/>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1" name="object 211"/>
          <p:cNvSpPr/>
          <p:nvPr/>
        </p:nvSpPr>
        <p:spPr>
          <a:xfrm>
            <a:off x="6614621" y="5247629"/>
            <a:ext cx="183362" cy="183380"/>
          </a:xfrm>
          <a:custGeom>
            <a:avLst/>
            <a:gdLst/>
            <a:ahLst/>
            <a:cxnLst/>
            <a:rect l="l" t="t" r="r" b="b"/>
            <a:pathLst>
              <a:path w="260781" h="260807">
                <a:moveTo>
                  <a:pt x="260781" y="0"/>
                </a:moveTo>
                <a:lnTo>
                  <a:pt x="0" y="0"/>
                </a:lnTo>
                <a:lnTo>
                  <a:pt x="0" y="260807"/>
                </a:lnTo>
                <a:lnTo>
                  <a:pt x="260781" y="260807"/>
                </a:lnTo>
                <a:lnTo>
                  <a:pt x="260781"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2" name="object 212"/>
          <p:cNvSpPr/>
          <p:nvPr/>
        </p:nvSpPr>
        <p:spPr>
          <a:xfrm>
            <a:off x="6397898" y="5247629"/>
            <a:ext cx="183362" cy="183380"/>
          </a:xfrm>
          <a:custGeom>
            <a:avLst/>
            <a:gdLst/>
            <a:ahLst/>
            <a:cxnLst/>
            <a:rect l="l" t="t" r="r" b="b"/>
            <a:pathLst>
              <a:path w="260781" h="260807">
                <a:moveTo>
                  <a:pt x="260781" y="0"/>
                </a:moveTo>
                <a:lnTo>
                  <a:pt x="0" y="0"/>
                </a:lnTo>
                <a:lnTo>
                  <a:pt x="0" y="260807"/>
                </a:lnTo>
                <a:lnTo>
                  <a:pt x="260781" y="260807"/>
                </a:lnTo>
                <a:lnTo>
                  <a:pt x="260781"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3" name="object 213"/>
          <p:cNvSpPr/>
          <p:nvPr/>
        </p:nvSpPr>
        <p:spPr>
          <a:xfrm>
            <a:off x="6181165" y="5247629"/>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4" name="object 214"/>
          <p:cNvSpPr/>
          <p:nvPr/>
        </p:nvSpPr>
        <p:spPr>
          <a:xfrm>
            <a:off x="6831336" y="5464344"/>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5" name="object 215"/>
          <p:cNvSpPr/>
          <p:nvPr/>
        </p:nvSpPr>
        <p:spPr>
          <a:xfrm>
            <a:off x="6614621" y="5464344"/>
            <a:ext cx="183362" cy="183380"/>
          </a:xfrm>
          <a:custGeom>
            <a:avLst/>
            <a:gdLst/>
            <a:ahLst/>
            <a:cxnLst/>
            <a:rect l="l" t="t" r="r" b="b"/>
            <a:pathLst>
              <a:path w="260781" h="260807">
                <a:moveTo>
                  <a:pt x="260781" y="0"/>
                </a:moveTo>
                <a:lnTo>
                  <a:pt x="0" y="0"/>
                </a:lnTo>
                <a:lnTo>
                  <a:pt x="0" y="260807"/>
                </a:lnTo>
                <a:lnTo>
                  <a:pt x="260781" y="260807"/>
                </a:lnTo>
                <a:lnTo>
                  <a:pt x="260781"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6" name="object 216"/>
          <p:cNvSpPr/>
          <p:nvPr/>
        </p:nvSpPr>
        <p:spPr>
          <a:xfrm>
            <a:off x="6397898" y="5464344"/>
            <a:ext cx="183362" cy="183380"/>
          </a:xfrm>
          <a:custGeom>
            <a:avLst/>
            <a:gdLst/>
            <a:ahLst/>
            <a:cxnLst/>
            <a:rect l="l" t="t" r="r" b="b"/>
            <a:pathLst>
              <a:path w="260781" h="260807">
                <a:moveTo>
                  <a:pt x="260781" y="0"/>
                </a:moveTo>
                <a:lnTo>
                  <a:pt x="0" y="0"/>
                </a:lnTo>
                <a:lnTo>
                  <a:pt x="0" y="260807"/>
                </a:lnTo>
                <a:lnTo>
                  <a:pt x="260781" y="260807"/>
                </a:lnTo>
                <a:lnTo>
                  <a:pt x="260781" y="0"/>
                </a:lnTo>
                <a:close/>
              </a:path>
            </a:pathLst>
          </a:custGeom>
          <a:solidFill>
            <a:srgbClr val="BBBBBB"/>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7" name="object 217"/>
          <p:cNvSpPr/>
          <p:nvPr/>
        </p:nvSpPr>
        <p:spPr>
          <a:xfrm>
            <a:off x="6181165" y="5464344"/>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8" name="object 218"/>
          <p:cNvSpPr/>
          <p:nvPr/>
        </p:nvSpPr>
        <p:spPr>
          <a:xfrm>
            <a:off x="6831339" y="5681081"/>
            <a:ext cx="183380" cy="183380"/>
          </a:xfrm>
          <a:custGeom>
            <a:avLst/>
            <a:gdLst/>
            <a:ahLst/>
            <a:cxnLst/>
            <a:rect l="l" t="t" r="r" b="b"/>
            <a:pathLst>
              <a:path w="260807" h="260807">
                <a:moveTo>
                  <a:pt x="260807" y="0"/>
                </a:moveTo>
                <a:lnTo>
                  <a:pt x="0" y="0"/>
                </a:lnTo>
                <a:lnTo>
                  <a:pt x="0" y="260807"/>
                </a:lnTo>
                <a:lnTo>
                  <a:pt x="138214" y="260807"/>
                </a:lnTo>
                <a:lnTo>
                  <a:pt x="149685" y="255560"/>
                </a:lnTo>
                <a:lnTo>
                  <a:pt x="161156" y="250251"/>
                </a:lnTo>
                <a:lnTo>
                  <a:pt x="172624" y="244881"/>
                </a:lnTo>
                <a:lnTo>
                  <a:pt x="184086" y="239450"/>
                </a:lnTo>
                <a:lnTo>
                  <a:pt x="195539" y="233960"/>
                </a:lnTo>
                <a:lnTo>
                  <a:pt x="206981" y="228411"/>
                </a:lnTo>
                <a:lnTo>
                  <a:pt x="218408" y="222805"/>
                </a:lnTo>
                <a:lnTo>
                  <a:pt x="229819" y="217143"/>
                </a:lnTo>
                <a:lnTo>
                  <a:pt x="241209" y="211426"/>
                </a:lnTo>
                <a:lnTo>
                  <a:pt x="252576" y="205655"/>
                </a:lnTo>
                <a:lnTo>
                  <a:pt x="260807" y="201434"/>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19" name="object 219"/>
          <p:cNvSpPr/>
          <p:nvPr/>
        </p:nvSpPr>
        <p:spPr>
          <a:xfrm>
            <a:off x="6614621" y="5681076"/>
            <a:ext cx="183362" cy="183380"/>
          </a:xfrm>
          <a:custGeom>
            <a:avLst/>
            <a:gdLst/>
            <a:ahLst/>
            <a:cxnLst/>
            <a:rect l="l" t="t" r="r" b="b"/>
            <a:pathLst>
              <a:path w="260781" h="260807">
                <a:moveTo>
                  <a:pt x="260781" y="0"/>
                </a:moveTo>
                <a:lnTo>
                  <a:pt x="0" y="0"/>
                </a:lnTo>
                <a:lnTo>
                  <a:pt x="0" y="260807"/>
                </a:lnTo>
                <a:lnTo>
                  <a:pt x="260781" y="260807"/>
                </a:lnTo>
                <a:lnTo>
                  <a:pt x="260781"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0" name="object 220"/>
          <p:cNvSpPr/>
          <p:nvPr/>
        </p:nvSpPr>
        <p:spPr>
          <a:xfrm>
            <a:off x="6397898" y="5681076"/>
            <a:ext cx="183362" cy="183380"/>
          </a:xfrm>
          <a:custGeom>
            <a:avLst/>
            <a:gdLst/>
            <a:ahLst/>
            <a:cxnLst/>
            <a:rect l="l" t="t" r="r" b="b"/>
            <a:pathLst>
              <a:path w="260781" h="260807">
                <a:moveTo>
                  <a:pt x="260781" y="0"/>
                </a:moveTo>
                <a:lnTo>
                  <a:pt x="0" y="0"/>
                </a:lnTo>
                <a:lnTo>
                  <a:pt x="0" y="260807"/>
                </a:lnTo>
                <a:lnTo>
                  <a:pt x="260781" y="260807"/>
                </a:lnTo>
                <a:lnTo>
                  <a:pt x="260781"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1" name="object 221"/>
          <p:cNvSpPr/>
          <p:nvPr/>
        </p:nvSpPr>
        <p:spPr>
          <a:xfrm>
            <a:off x="6181165" y="5681076"/>
            <a:ext cx="183380" cy="183380"/>
          </a:xfrm>
          <a:custGeom>
            <a:avLst/>
            <a:gdLst/>
            <a:ahLst/>
            <a:cxnLst/>
            <a:rect l="l" t="t" r="r" b="b"/>
            <a:pathLst>
              <a:path w="260807" h="260807">
                <a:moveTo>
                  <a:pt x="260807" y="0"/>
                </a:moveTo>
                <a:lnTo>
                  <a:pt x="0" y="0"/>
                </a:lnTo>
                <a:lnTo>
                  <a:pt x="0" y="260807"/>
                </a:lnTo>
                <a:lnTo>
                  <a:pt x="260807" y="260807"/>
                </a:lnTo>
                <a:lnTo>
                  <a:pt x="260807"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2" name="object 222"/>
          <p:cNvSpPr/>
          <p:nvPr/>
        </p:nvSpPr>
        <p:spPr>
          <a:xfrm>
            <a:off x="9033000" y="5682933"/>
            <a:ext cx="30700" cy="0"/>
          </a:xfrm>
          <a:custGeom>
            <a:avLst/>
            <a:gdLst/>
            <a:ahLst/>
            <a:cxnLst/>
            <a:rect l="l" t="t" r="r" b="b"/>
            <a:pathLst>
              <a:path w="43662">
                <a:moveTo>
                  <a:pt x="0" y="0"/>
                </a:moveTo>
                <a:lnTo>
                  <a:pt x="43662" y="0"/>
                </a:lnTo>
              </a:path>
            </a:pathLst>
          </a:custGeom>
          <a:ln w="11226">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3" name="object 223"/>
          <p:cNvSpPr/>
          <p:nvPr/>
        </p:nvSpPr>
        <p:spPr>
          <a:xfrm>
            <a:off x="9033000" y="5671306"/>
            <a:ext cx="30700" cy="0"/>
          </a:xfrm>
          <a:custGeom>
            <a:avLst/>
            <a:gdLst/>
            <a:ahLst/>
            <a:cxnLst/>
            <a:rect l="l" t="t" r="r" b="b"/>
            <a:pathLst>
              <a:path w="43662">
                <a:moveTo>
                  <a:pt x="0" y="0"/>
                </a:moveTo>
                <a:lnTo>
                  <a:pt x="43662"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4" name="object 224"/>
          <p:cNvSpPr/>
          <p:nvPr/>
        </p:nvSpPr>
        <p:spPr>
          <a:xfrm>
            <a:off x="7273576" y="5655705"/>
            <a:ext cx="1277" cy="1072"/>
          </a:xfrm>
          <a:custGeom>
            <a:avLst/>
            <a:gdLst/>
            <a:ahLst/>
            <a:cxnLst/>
            <a:rect l="l" t="t" r="r" b="b"/>
            <a:pathLst>
              <a:path w="1816" h="1524">
                <a:moveTo>
                  <a:pt x="0" y="0"/>
                </a:moveTo>
                <a:lnTo>
                  <a:pt x="0" y="1524"/>
                </a:lnTo>
                <a:lnTo>
                  <a:pt x="609" y="1016"/>
                </a:lnTo>
                <a:lnTo>
                  <a:pt x="1206" y="508"/>
                </a:lnTo>
                <a:lnTo>
                  <a:pt x="1816" y="0"/>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5" name="object 225"/>
          <p:cNvSpPr/>
          <p:nvPr/>
        </p:nvSpPr>
        <p:spPr>
          <a:xfrm>
            <a:off x="9033000" y="5659665"/>
            <a:ext cx="30700" cy="0"/>
          </a:xfrm>
          <a:custGeom>
            <a:avLst/>
            <a:gdLst/>
            <a:ahLst/>
            <a:cxnLst/>
            <a:rect l="l" t="t" r="r" b="b"/>
            <a:pathLst>
              <a:path w="43662">
                <a:moveTo>
                  <a:pt x="0" y="0"/>
                </a:moveTo>
                <a:lnTo>
                  <a:pt x="43662"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6" name="object 226"/>
          <p:cNvSpPr/>
          <p:nvPr/>
        </p:nvSpPr>
        <p:spPr>
          <a:xfrm>
            <a:off x="9033000" y="5648039"/>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7" name="object 227"/>
          <p:cNvSpPr/>
          <p:nvPr/>
        </p:nvSpPr>
        <p:spPr>
          <a:xfrm>
            <a:off x="7273575" y="5644074"/>
            <a:ext cx="15010" cy="7009"/>
          </a:xfrm>
          <a:custGeom>
            <a:avLst/>
            <a:gdLst/>
            <a:ahLst/>
            <a:cxnLst/>
            <a:rect l="l" t="t" r="r" b="b"/>
            <a:pathLst>
              <a:path w="21348" h="9969">
                <a:moveTo>
                  <a:pt x="18986" y="2120"/>
                </a:moveTo>
                <a:lnTo>
                  <a:pt x="21348" y="25"/>
                </a:lnTo>
                <a:lnTo>
                  <a:pt x="0" y="0"/>
                </a:lnTo>
                <a:lnTo>
                  <a:pt x="0" y="9944"/>
                </a:lnTo>
                <a:lnTo>
                  <a:pt x="9664" y="9969"/>
                </a:lnTo>
                <a:lnTo>
                  <a:pt x="14452" y="6019"/>
                </a:lnTo>
                <a:lnTo>
                  <a:pt x="17500" y="3403"/>
                </a:lnTo>
                <a:lnTo>
                  <a:pt x="18986" y="212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8" name="object 228"/>
          <p:cNvSpPr/>
          <p:nvPr/>
        </p:nvSpPr>
        <p:spPr>
          <a:xfrm>
            <a:off x="7273606" y="5632448"/>
            <a:ext cx="27977" cy="7009"/>
          </a:xfrm>
          <a:custGeom>
            <a:avLst/>
            <a:gdLst/>
            <a:ahLst/>
            <a:cxnLst/>
            <a:rect l="l" t="t" r="r" b="b"/>
            <a:pathLst>
              <a:path w="39789" h="9969">
                <a:moveTo>
                  <a:pt x="0" y="0"/>
                </a:moveTo>
                <a:lnTo>
                  <a:pt x="0" y="9956"/>
                </a:lnTo>
                <a:lnTo>
                  <a:pt x="28651" y="9969"/>
                </a:lnTo>
                <a:lnTo>
                  <a:pt x="32397" y="6654"/>
                </a:lnTo>
                <a:lnTo>
                  <a:pt x="36156" y="3340"/>
                </a:lnTo>
                <a:lnTo>
                  <a:pt x="39789" y="25"/>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29" name="object 229"/>
          <p:cNvSpPr/>
          <p:nvPr/>
        </p:nvSpPr>
        <p:spPr>
          <a:xfrm>
            <a:off x="9033000" y="5636404"/>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0" name="object 230"/>
          <p:cNvSpPr/>
          <p:nvPr/>
        </p:nvSpPr>
        <p:spPr>
          <a:xfrm>
            <a:off x="7273606" y="5620814"/>
            <a:ext cx="40353" cy="7027"/>
          </a:xfrm>
          <a:custGeom>
            <a:avLst/>
            <a:gdLst/>
            <a:ahLst/>
            <a:cxnLst/>
            <a:rect l="l" t="t" r="r" b="b"/>
            <a:pathLst>
              <a:path w="57391" h="9994">
                <a:moveTo>
                  <a:pt x="0" y="0"/>
                </a:moveTo>
                <a:lnTo>
                  <a:pt x="0" y="9969"/>
                </a:lnTo>
                <a:lnTo>
                  <a:pt x="47028" y="9994"/>
                </a:lnTo>
                <a:lnTo>
                  <a:pt x="50609" y="6667"/>
                </a:lnTo>
                <a:lnTo>
                  <a:pt x="53936" y="3340"/>
                </a:lnTo>
                <a:lnTo>
                  <a:pt x="57391" y="25"/>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1" name="object 231"/>
          <p:cNvSpPr/>
          <p:nvPr/>
        </p:nvSpPr>
        <p:spPr>
          <a:xfrm>
            <a:off x="9033000" y="5624782"/>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2" name="object 232"/>
          <p:cNvSpPr/>
          <p:nvPr/>
        </p:nvSpPr>
        <p:spPr>
          <a:xfrm>
            <a:off x="7273603" y="5609178"/>
            <a:ext cx="52122" cy="7019"/>
          </a:xfrm>
          <a:custGeom>
            <a:avLst/>
            <a:gdLst/>
            <a:ahLst/>
            <a:cxnLst/>
            <a:rect l="l" t="t" r="r" b="b"/>
            <a:pathLst>
              <a:path w="74129" h="9982">
                <a:moveTo>
                  <a:pt x="74129" y="25"/>
                </a:moveTo>
                <a:lnTo>
                  <a:pt x="0" y="0"/>
                </a:lnTo>
                <a:lnTo>
                  <a:pt x="0" y="9956"/>
                </a:lnTo>
                <a:lnTo>
                  <a:pt x="64261" y="9982"/>
                </a:lnTo>
                <a:lnTo>
                  <a:pt x="69075" y="5435"/>
                </a:lnTo>
                <a:lnTo>
                  <a:pt x="72339" y="2184"/>
                </a:lnTo>
                <a:lnTo>
                  <a:pt x="74129" y="25"/>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3" name="object 233"/>
          <p:cNvSpPr/>
          <p:nvPr/>
        </p:nvSpPr>
        <p:spPr>
          <a:xfrm>
            <a:off x="9032995" y="5613140"/>
            <a:ext cx="30700" cy="0"/>
          </a:xfrm>
          <a:custGeom>
            <a:avLst/>
            <a:gdLst/>
            <a:ahLst/>
            <a:cxnLst/>
            <a:rect l="l" t="t" r="r" b="b"/>
            <a:pathLst>
              <a:path w="43662">
                <a:moveTo>
                  <a:pt x="0" y="0"/>
                </a:moveTo>
                <a:lnTo>
                  <a:pt x="43662"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4" name="object 234"/>
          <p:cNvSpPr/>
          <p:nvPr/>
        </p:nvSpPr>
        <p:spPr>
          <a:xfrm>
            <a:off x="7273606" y="5571846"/>
            <a:ext cx="80233" cy="7009"/>
          </a:xfrm>
          <a:custGeom>
            <a:avLst/>
            <a:gdLst/>
            <a:ahLst/>
            <a:cxnLst/>
            <a:rect l="l" t="t" r="r" b="b"/>
            <a:pathLst>
              <a:path w="114109" h="9969">
                <a:moveTo>
                  <a:pt x="0" y="0"/>
                </a:moveTo>
                <a:lnTo>
                  <a:pt x="0" y="9956"/>
                </a:lnTo>
                <a:lnTo>
                  <a:pt x="108292" y="9969"/>
                </a:lnTo>
                <a:lnTo>
                  <a:pt x="110350" y="6769"/>
                </a:lnTo>
                <a:lnTo>
                  <a:pt x="112141" y="3314"/>
                </a:lnTo>
                <a:lnTo>
                  <a:pt x="114109" y="25"/>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5" name="object 235"/>
          <p:cNvSpPr/>
          <p:nvPr/>
        </p:nvSpPr>
        <p:spPr>
          <a:xfrm>
            <a:off x="7273610" y="5560224"/>
            <a:ext cx="86993" cy="7019"/>
          </a:xfrm>
          <a:custGeom>
            <a:avLst/>
            <a:gdLst/>
            <a:ahLst/>
            <a:cxnLst/>
            <a:rect l="l" t="t" r="r" b="b"/>
            <a:pathLst>
              <a:path w="123723" h="9982">
                <a:moveTo>
                  <a:pt x="123723" y="25"/>
                </a:moveTo>
                <a:lnTo>
                  <a:pt x="0" y="0"/>
                </a:lnTo>
                <a:lnTo>
                  <a:pt x="0" y="9956"/>
                </a:lnTo>
                <a:lnTo>
                  <a:pt x="117932" y="9982"/>
                </a:lnTo>
                <a:lnTo>
                  <a:pt x="119760" y="6781"/>
                </a:lnTo>
                <a:lnTo>
                  <a:pt x="121754" y="3746"/>
                </a:lnTo>
                <a:lnTo>
                  <a:pt x="123507" y="469"/>
                </a:lnTo>
                <a:lnTo>
                  <a:pt x="123659" y="177"/>
                </a:lnTo>
                <a:lnTo>
                  <a:pt x="123723" y="25"/>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6" name="object 236"/>
          <p:cNvSpPr/>
          <p:nvPr/>
        </p:nvSpPr>
        <p:spPr>
          <a:xfrm>
            <a:off x="7273606" y="5548579"/>
            <a:ext cx="92628" cy="7009"/>
          </a:xfrm>
          <a:custGeom>
            <a:avLst/>
            <a:gdLst/>
            <a:ahLst/>
            <a:cxnLst/>
            <a:rect l="l" t="t" r="r" b="b"/>
            <a:pathLst>
              <a:path w="131737" h="9969">
                <a:moveTo>
                  <a:pt x="0" y="0"/>
                </a:moveTo>
                <a:lnTo>
                  <a:pt x="0" y="9956"/>
                </a:lnTo>
                <a:lnTo>
                  <a:pt x="126949" y="9969"/>
                </a:lnTo>
                <a:lnTo>
                  <a:pt x="128587" y="6705"/>
                </a:lnTo>
                <a:lnTo>
                  <a:pt x="130162" y="3352"/>
                </a:lnTo>
                <a:lnTo>
                  <a:pt x="131737" y="25"/>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7" name="object 237"/>
          <p:cNvSpPr/>
          <p:nvPr/>
        </p:nvSpPr>
        <p:spPr>
          <a:xfrm>
            <a:off x="8851375" y="5540830"/>
            <a:ext cx="31004" cy="0"/>
          </a:xfrm>
          <a:custGeom>
            <a:avLst/>
            <a:gdLst/>
            <a:ahLst/>
            <a:cxnLst/>
            <a:rect l="l" t="t" r="r" b="b"/>
            <a:pathLst>
              <a:path w="44094">
                <a:moveTo>
                  <a:pt x="0" y="0"/>
                </a:moveTo>
                <a:lnTo>
                  <a:pt x="44094"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8" name="object 238"/>
          <p:cNvSpPr/>
          <p:nvPr/>
        </p:nvSpPr>
        <p:spPr>
          <a:xfrm>
            <a:off x="7273621" y="5536947"/>
            <a:ext cx="97923" cy="7019"/>
          </a:xfrm>
          <a:custGeom>
            <a:avLst/>
            <a:gdLst/>
            <a:ahLst/>
            <a:cxnLst/>
            <a:rect l="l" t="t" r="r" b="b"/>
            <a:pathLst>
              <a:path w="139268" h="9982">
                <a:moveTo>
                  <a:pt x="138557" y="1701"/>
                </a:moveTo>
                <a:lnTo>
                  <a:pt x="139268" y="50"/>
                </a:lnTo>
                <a:lnTo>
                  <a:pt x="0" y="0"/>
                </a:lnTo>
                <a:lnTo>
                  <a:pt x="0" y="9956"/>
                </a:lnTo>
                <a:lnTo>
                  <a:pt x="134912" y="9982"/>
                </a:lnTo>
                <a:lnTo>
                  <a:pt x="136220" y="7404"/>
                </a:lnTo>
                <a:lnTo>
                  <a:pt x="137248" y="5054"/>
                </a:lnTo>
                <a:lnTo>
                  <a:pt x="138557" y="1701"/>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39" name="object 239"/>
          <p:cNvSpPr/>
          <p:nvPr/>
        </p:nvSpPr>
        <p:spPr>
          <a:xfrm>
            <a:off x="9033000" y="5540871"/>
            <a:ext cx="30700" cy="0"/>
          </a:xfrm>
          <a:custGeom>
            <a:avLst/>
            <a:gdLst/>
            <a:ahLst/>
            <a:cxnLst/>
            <a:rect l="l" t="t" r="r" b="b"/>
            <a:pathLst>
              <a:path w="43662">
                <a:moveTo>
                  <a:pt x="0" y="0"/>
                </a:moveTo>
                <a:lnTo>
                  <a:pt x="43662" y="0"/>
                </a:lnTo>
              </a:path>
            </a:pathLst>
          </a:custGeom>
          <a:ln w="11188">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0" name="object 240"/>
          <p:cNvSpPr/>
          <p:nvPr/>
        </p:nvSpPr>
        <p:spPr>
          <a:xfrm>
            <a:off x="8670181" y="5540786"/>
            <a:ext cx="30682" cy="0"/>
          </a:xfrm>
          <a:custGeom>
            <a:avLst/>
            <a:gdLst/>
            <a:ahLst/>
            <a:cxnLst/>
            <a:rect l="l" t="t" r="r" b="b"/>
            <a:pathLst>
              <a:path w="43637">
                <a:moveTo>
                  <a:pt x="0" y="0"/>
                </a:moveTo>
                <a:lnTo>
                  <a:pt x="43637"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1" name="object 241"/>
          <p:cNvSpPr/>
          <p:nvPr/>
        </p:nvSpPr>
        <p:spPr>
          <a:xfrm>
            <a:off x="7273622" y="5525324"/>
            <a:ext cx="102593" cy="7027"/>
          </a:xfrm>
          <a:custGeom>
            <a:avLst/>
            <a:gdLst/>
            <a:ahLst/>
            <a:cxnLst/>
            <a:rect l="l" t="t" r="r" b="b"/>
            <a:pathLst>
              <a:path w="145910" h="9994">
                <a:moveTo>
                  <a:pt x="0" y="0"/>
                </a:moveTo>
                <a:lnTo>
                  <a:pt x="0" y="9956"/>
                </a:lnTo>
                <a:lnTo>
                  <a:pt x="141909" y="9994"/>
                </a:lnTo>
                <a:lnTo>
                  <a:pt x="143268" y="6692"/>
                </a:lnTo>
                <a:lnTo>
                  <a:pt x="144614" y="3403"/>
                </a:lnTo>
                <a:lnTo>
                  <a:pt x="145910" y="63"/>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2" name="object 242"/>
          <p:cNvSpPr/>
          <p:nvPr/>
        </p:nvSpPr>
        <p:spPr>
          <a:xfrm>
            <a:off x="8851375" y="5529245"/>
            <a:ext cx="31004" cy="0"/>
          </a:xfrm>
          <a:custGeom>
            <a:avLst/>
            <a:gdLst/>
            <a:ahLst/>
            <a:cxnLst/>
            <a:rect l="l" t="t" r="r" b="b"/>
            <a:pathLst>
              <a:path w="44094">
                <a:moveTo>
                  <a:pt x="0" y="0"/>
                </a:moveTo>
                <a:lnTo>
                  <a:pt x="44094" y="0"/>
                </a:lnTo>
              </a:path>
            </a:pathLst>
          </a:custGeom>
          <a:ln w="11188">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3" name="object 243"/>
          <p:cNvSpPr/>
          <p:nvPr/>
        </p:nvSpPr>
        <p:spPr>
          <a:xfrm>
            <a:off x="9033000" y="5529294"/>
            <a:ext cx="30700" cy="0"/>
          </a:xfrm>
          <a:custGeom>
            <a:avLst/>
            <a:gdLst/>
            <a:ahLst/>
            <a:cxnLst/>
            <a:rect l="l" t="t" r="r" b="b"/>
            <a:pathLst>
              <a:path w="43662">
                <a:moveTo>
                  <a:pt x="0" y="0"/>
                </a:moveTo>
                <a:lnTo>
                  <a:pt x="43662" y="0"/>
                </a:lnTo>
              </a:path>
            </a:pathLst>
          </a:custGeom>
          <a:ln w="11188">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4" name="object 244"/>
          <p:cNvSpPr/>
          <p:nvPr/>
        </p:nvSpPr>
        <p:spPr>
          <a:xfrm>
            <a:off x="8670181" y="5529200"/>
            <a:ext cx="30682" cy="0"/>
          </a:xfrm>
          <a:custGeom>
            <a:avLst/>
            <a:gdLst/>
            <a:ahLst/>
            <a:cxnLst/>
            <a:rect l="l" t="t" r="r" b="b"/>
            <a:pathLst>
              <a:path w="43637">
                <a:moveTo>
                  <a:pt x="0" y="0"/>
                </a:moveTo>
                <a:lnTo>
                  <a:pt x="43637" y="0"/>
                </a:lnTo>
              </a:path>
            </a:pathLst>
          </a:custGeom>
          <a:ln w="11188">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5" name="object 245"/>
          <p:cNvSpPr/>
          <p:nvPr/>
        </p:nvSpPr>
        <p:spPr>
          <a:xfrm>
            <a:off x="8670181" y="5517567"/>
            <a:ext cx="30682" cy="0"/>
          </a:xfrm>
          <a:custGeom>
            <a:avLst/>
            <a:gdLst/>
            <a:ahLst/>
            <a:cxnLst/>
            <a:rect l="l" t="t" r="r" b="b"/>
            <a:pathLst>
              <a:path w="43637">
                <a:moveTo>
                  <a:pt x="0" y="0"/>
                </a:moveTo>
                <a:lnTo>
                  <a:pt x="43637"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6" name="object 246"/>
          <p:cNvSpPr/>
          <p:nvPr/>
        </p:nvSpPr>
        <p:spPr>
          <a:xfrm>
            <a:off x="8851375" y="5517613"/>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7" name="object 247"/>
          <p:cNvSpPr/>
          <p:nvPr/>
        </p:nvSpPr>
        <p:spPr>
          <a:xfrm>
            <a:off x="7273622" y="5513700"/>
            <a:ext cx="106834" cy="7027"/>
          </a:xfrm>
          <a:custGeom>
            <a:avLst/>
            <a:gdLst/>
            <a:ahLst/>
            <a:cxnLst/>
            <a:rect l="l" t="t" r="r" b="b"/>
            <a:pathLst>
              <a:path w="151942" h="9994">
                <a:moveTo>
                  <a:pt x="0" y="0"/>
                </a:moveTo>
                <a:lnTo>
                  <a:pt x="0" y="9956"/>
                </a:lnTo>
                <a:lnTo>
                  <a:pt x="148551" y="9994"/>
                </a:lnTo>
                <a:lnTo>
                  <a:pt x="149783" y="6718"/>
                </a:lnTo>
                <a:lnTo>
                  <a:pt x="150787" y="3352"/>
                </a:lnTo>
                <a:lnTo>
                  <a:pt x="151942"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8" name="object 248"/>
          <p:cNvSpPr/>
          <p:nvPr/>
        </p:nvSpPr>
        <p:spPr>
          <a:xfrm>
            <a:off x="9033000" y="5517662"/>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49" name="object 249"/>
          <p:cNvSpPr/>
          <p:nvPr/>
        </p:nvSpPr>
        <p:spPr>
          <a:xfrm>
            <a:off x="8670181" y="5505938"/>
            <a:ext cx="30682" cy="0"/>
          </a:xfrm>
          <a:custGeom>
            <a:avLst/>
            <a:gdLst/>
            <a:ahLst/>
            <a:cxnLst/>
            <a:rect l="l" t="t" r="r" b="b"/>
            <a:pathLst>
              <a:path w="43637">
                <a:moveTo>
                  <a:pt x="0" y="0"/>
                </a:moveTo>
                <a:lnTo>
                  <a:pt x="43637"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0" name="object 250"/>
          <p:cNvSpPr/>
          <p:nvPr/>
        </p:nvSpPr>
        <p:spPr>
          <a:xfrm>
            <a:off x="7273622" y="5502073"/>
            <a:ext cx="110746" cy="7027"/>
          </a:xfrm>
          <a:custGeom>
            <a:avLst/>
            <a:gdLst/>
            <a:ahLst/>
            <a:cxnLst/>
            <a:rect l="l" t="t" r="r" b="b"/>
            <a:pathLst>
              <a:path w="157505" h="9994">
                <a:moveTo>
                  <a:pt x="0" y="0"/>
                </a:moveTo>
                <a:lnTo>
                  <a:pt x="0" y="9956"/>
                </a:lnTo>
                <a:lnTo>
                  <a:pt x="154152" y="9994"/>
                </a:lnTo>
                <a:lnTo>
                  <a:pt x="155270" y="6680"/>
                </a:lnTo>
                <a:lnTo>
                  <a:pt x="156451" y="3390"/>
                </a:lnTo>
                <a:lnTo>
                  <a:pt x="157505"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1" name="object 251"/>
          <p:cNvSpPr/>
          <p:nvPr/>
        </p:nvSpPr>
        <p:spPr>
          <a:xfrm>
            <a:off x="8851375" y="5505985"/>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2" name="object 252"/>
          <p:cNvSpPr/>
          <p:nvPr/>
        </p:nvSpPr>
        <p:spPr>
          <a:xfrm>
            <a:off x="9033000" y="5506033"/>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3" name="object 253"/>
          <p:cNvSpPr/>
          <p:nvPr/>
        </p:nvSpPr>
        <p:spPr>
          <a:xfrm>
            <a:off x="9033000" y="5494383"/>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4" name="object 254"/>
          <p:cNvSpPr/>
          <p:nvPr/>
        </p:nvSpPr>
        <p:spPr>
          <a:xfrm>
            <a:off x="7273622" y="5490423"/>
            <a:ext cx="114175" cy="7027"/>
          </a:xfrm>
          <a:custGeom>
            <a:avLst/>
            <a:gdLst/>
            <a:ahLst/>
            <a:cxnLst/>
            <a:rect l="l" t="t" r="r" b="b"/>
            <a:pathLst>
              <a:path w="162382" h="9994">
                <a:moveTo>
                  <a:pt x="0" y="0"/>
                </a:moveTo>
                <a:lnTo>
                  <a:pt x="0" y="9956"/>
                </a:lnTo>
                <a:lnTo>
                  <a:pt x="159575" y="9994"/>
                </a:lnTo>
                <a:lnTo>
                  <a:pt x="160566" y="6692"/>
                </a:lnTo>
                <a:lnTo>
                  <a:pt x="161442" y="3365"/>
                </a:lnTo>
                <a:lnTo>
                  <a:pt x="162382"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5" name="object 255"/>
          <p:cNvSpPr/>
          <p:nvPr/>
        </p:nvSpPr>
        <p:spPr>
          <a:xfrm>
            <a:off x="8670181" y="5494289"/>
            <a:ext cx="30682" cy="0"/>
          </a:xfrm>
          <a:custGeom>
            <a:avLst/>
            <a:gdLst/>
            <a:ahLst/>
            <a:cxnLst/>
            <a:rect l="l" t="t" r="r" b="b"/>
            <a:pathLst>
              <a:path w="43637">
                <a:moveTo>
                  <a:pt x="0" y="0"/>
                </a:moveTo>
                <a:lnTo>
                  <a:pt x="43637"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6" name="object 256"/>
          <p:cNvSpPr/>
          <p:nvPr/>
        </p:nvSpPr>
        <p:spPr>
          <a:xfrm>
            <a:off x="8851375" y="5494335"/>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7" name="object 257"/>
          <p:cNvSpPr/>
          <p:nvPr/>
        </p:nvSpPr>
        <p:spPr>
          <a:xfrm>
            <a:off x="7273623" y="5478806"/>
            <a:ext cx="117452" cy="7027"/>
          </a:xfrm>
          <a:custGeom>
            <a:avLst/>
            <a:gdLst/>
            <a:ahLst/>
            <a:cxnLst/>
            <a:rect l="l" t="t" r="r" b="b"/>
            <a:pathLst>
              <a:path w="167043" h="9994">
                <a:moveTo>
                  <a:pt x="0" y="0"/>
                </a:moveTo>
                <a:lnTo>
                  <a:pt x="0" y="9956"/>
                </a:lnTo>
                <a:lnTo>
                  <a:pt x="164236" y="9994"/>
                </a:lnTo>
                <a:lnTo>
                  <a:pt x="165150" y="6667"/>
                </a:lnTo>
                <a:lnTo>
                  <a:pt x="166179" y="3378"/>
                </a:lnTo>
                <a:lnTo>
                  <a:pt x="167043"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8" name="object 258"/>
          <p:cNvSpPr/>
          <p:nvPr/>
        </p:nvSpPr>
        <p:spPr>
          <a:xfrm>
            <a:off x="8851375" y="5482720"/>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59" name="object 259"/>
          <p:cNvSpPr/>
          <p:nvPr/>
        </p:nvSpPr>
        <p:spPr>
          <a:xfrm>
            <a:off x="9033000" y="5482766"/>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0" name="object 260"/>
          <p:cNvSpPr/>
          <p:nvPr/>
        </p:nvSpPr>
        <p:spPr>
          <a:xfrm>
            <a:off x="8670181" y="5482673"/>
            <a:ext cx="30682" cy="0"/>
          </a:xfrm>
          <a:custGeom>
            <a:avLst/>
            <a:gdLst/>
            <a:ahLst/>
            <a:cxnLst/>
            <a:rect l="l" t="t" r="r" b="b"/>
            <a:pathLst>
              <a:path w="43637">
                <a:moveTo>
                  <a:pt x="0" y="0"/>
                </a:moveTo>
                <a:lnTo>
                  <a:pt x="43637"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1" name="object 261"/>
          <p:cNvSpPr/>
          <p:nvPr/>
        </p:nvSpPr>
        <p:spPr>
          <a:xfrm>
            <a:off x="8851375" y="5471078"/>
            <a:ext cx="31004" cy="0"/>
          </a:xfrm>
          <a:custGeom>
            <a:avLst/>
            <a:gdLst/>
            <a:ahLst/>
            <a:cxnLst/>
            <a:rect l="l" t="t" r="r" b="b"/>
            <a:pathLst>
              <a:path w="44094">
                <a:moveTo>
                  <a:pt x="0" y="0"/>
                </a:moveTo>
                <a:lnTo>
                  <a:pt x="44094"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2" name="object 262"/>
          <p:cNvSpPr/>
          <p:nvPr/>
        </p:nvSpPr>
        <p:spPr>
          <a:xfrm>
            <a:off x="8670181" y="5471030"/>
            <a:ext cx="30682" cy="0"/>
          </a:xfrm>
          <a:custGeom>
            <a:avLst/>
            <a:gdLst/>
            <a:ahLst/>
            <a:cxnLst/>
            <a:rect l="l" t="t" r="r" b="b"/>
            <a:pathLst>
              <a:path w="43637">
                <a:moveTo>
                  <a:pt x="0" y="0"/>
                </a:moveTo>
                <a:lnTo>
                  <a:pt x="43637"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3" name="object 263"/>
          <p:cNvSpPr/>
          <p:nvPr/>
        </p:nvSpPr>
        <p:spPr>
          <a:xfrm>
            <a:off x="7273622" y="5467162"/>
            <a:ext cx="120229" cy="7027"/>
          </a:xfrm>
          <a:custGeom>
            <a:avLst/>
            <a:gdLst/>
            <a:ahLst/>
            <a:cxnLst/>
            <a:rect l="l" t="t" r="r" b="b"/>
            <a:pathLst>
              <a:path w="170992" h="9994">
                <a:moveTo>
                  <a:pt x="0" y="0"/>
                </a:moveTo>
                <a:lnTo>
                  <a:pt x="0" y="9956"/>
                </a:lnTo>
                <a:lnTo>
                  <a:pt x="168630" y="9994"/>
                </a:lnTo>
                <a:lnTo>
                  <a:pt x="169468" y="6680"/>
                </a:lnTo>
                <a:lnTo>
                  <a:pt x="170205" y="3365"/>
                </a:lnTo>
                <a:lnTo>
                  <a:pt x="170992"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4" name="object 264"/>
          <p:cNvSpPr/>
          <p:nvPr/>
        </p:nvSpPr>
        <p:spPr>
          <a:xfrm>
            <a:off x="9033000" y="5471125"/>
            <a:ext cx="30700" cy="0"/>
          </a:xfrm>
          <a:custGeom>
            <a:avLst/>
            <a:gdLst/>
            <a:ahLst/>
            <a:cxnLst/>
            <a:rect l="l" t="t" r="r" b="b"/>
            <a:pathLst>
              <a:path w="43662">
                <a:moveTo>
                  <a:pt x="0" y="0"/>
                </a:moveTo>
                <a:lnTo>
                  <a:pt x="43662"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5" name="object 265"/>
          <p:cNvSpPr/>
          <p:nvPr/>
        </p:nvSpPr>
        <p:spPr>
          <a:xfrm>
            <a:off x="7273619" y="5455537"/>
            <a:ext cx="122926" cy="7027"/>
          </a:xfrm>
          <a:custGeom>
            <a:avLst/>
            <a:gdLst/>
            <a:ahLst/>
            <a:cxnLst/>
            <a:rect l="l" t="t" r="r" b="b"/>
            <a:pathLst>
              <a:path w="174828" h="9994">
                <a:moveTo>
                  <a:pt x="174828" y="38"/>
                </a:moveTo>
                <a:lnTo>
                  <a:pt x="0" y="0"/>
                </a:lnTo>
                <a:lnTo>
                  <a:pt x="0" y="9956"/>
                </a:lnTo>
                <a:lnTo>
                  <a:pt x="172554" y="9994"/>
                </a:lnTo>
                <a:lnTo>
                  <a:pt x="173799" y="4978"/>
                </a:lnTo>
                <a:lnTo>
                  <a:pt x="174396" y="2184"/>
                </a:lnTo>
                <a:lnTo>
                  <a:pt x="174523" y="1612"/>
                </a:lnTo>
                <a:lnTo>
                  <a:pt x="174828" y="38"/>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6" name="object 266"/>
          <p:cNvSpPr/>
          <p:nvPr/>
        </p:nvSpPr>
        <p:spPr>
          <a:xfrm>
            <a:off x="9033000" y="5459494"/>
            <a:ext cx="30700" cy="0"/>
          </a:xfrm>
          <a:custGeom>
            <a:avLst/>
            <a:gdLst/>
            <a:ahLst/>
            <a:cxnLst/>
            <a:rect l="l" t="t" r="r" b="b"/>
            <a:pathLst>
              <a:path w="43662">
                <a:moveTo>
                  <a:pt x="0" y="0"/>
                </a:moveTo>
                <a:lnTo>
                  <a:pt x="43662"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7" name="object 267"/>
          <p:cNvSpPr/>
          <p:nvPr/>
        </p:nvSpPr>
        <p:spPr>
          <a:xfrm>
            <a:off x="8670181" y="5459399"/>
            <a:ext cx="30682" cy="0"/>
          </a:xfrm>
          <a:custGeom>
            <a:avLst/>
            <a:gdLst/>
            <a:ahLst/>
            <a:cxnLst/>
            <a:rect l="l" t="t" r="r" b="b"/>
            <a:pathLst>
              <a:path w="43637">
                <a:moveTo>
                  <a:pt x="0" y="0"/>
                </a:moveTo>
                <a:lnTo>
                  <a:pt x="43637"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8" name="object 268"/>
          <p:cNvSpPr/>
          <p:nvPr/>
        </p:nvSpPr>
        <p:spPr>
          <a:xfrm>
            <a:off x="8851375" y="5459446"/>
            <a:ext cx="31004" cy="0"/>
          </a:xfrm>
          <a:custGeom>
            <a:avLst/>
            <a:gdLst/>
            <a:ahLst/>
            <a:cxnLst/>
            <a:rect l="l" t="t" r="r" b="b"/>
            <a:pathLst>
              <a:path w="44094">
                <a:moveTo>
                  <a:pt x="0" y="0"/>
                </a:moveTo>
                <a:lnTo>
                  <a:pt x="44094"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69" name="object 269"/>
          <p:cNvSpPr/>
          <p:nvPr/>
        </p:nvSpPr>
        <p:spPr>
          <a:xfrm>
            <a:off x="7273622" y="5443909"/>
            <a:ext cx="125229" cy="7027"/>
          </a:xfrm>
          <a:custGeom>
            <a:avLst/>
            <a:gdLst/>
            <a:ahLst/>
            <a:cxnLst/>
            <a:rect l="l" t="t" r="r" b="b"/>
            <a:pathLst>
              <a:path w="178104" h="9994">
                <a:moveTo>
                  <a:pt x="0" y="0"/>
                </a:moveTo>
                <a:lnTo>
                  <a:pt x="0" y="9956"/>
                </a:lnTo>
                <a:lnTo>
                  <a:pt x="176136" y="9994"/>
                </a:lnTo>
                <a:lnTo>
                  <a:pt x="176809" y="6667"/>
                </a:lnTo>
                <a:lnTo>
                  <a:pt x="177444" y="3352"/>
                </a:lnTo>
                <a:lnTo>
                  <a:pt x="178104"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0" name="object 270"/>
          <p:cNvSpPr/>
          <p:nvPr/>
        </p:nvSpPr>
        <p:spPr>
          <a:xfrm>
            <a:off x="8851375" y="5447821"/>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1" name="object 271"/>
          <p:cNvSpPr/>
          <p:nvPr/>
        </p:nvSpPr>
        <p:spPr>
          <a:xfrm>
            <a:off x="9033000" y="5447868"/>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2" name="object 272"/>
          <p:cNvSpPr/>
          <p:nvPr/>
        </p:nvSpPr>
        <p:spPr>
          <a:xfrm>
            <a:off x="8670181" y="5447775"/>
            <a:ext cx="30682" cy="0"/>
          </a:xfrm>
          <a:custGeom>
            <a:avLst/>
            <a:gdLst/>
            <a:ahLst/>
            <a:cxnLst/>
            <a:rect l="l" t="t" r="r" b="b"/>
            <a:pathLst>
              <a:path w="43637">
                <a:moveTo>
                  <a:pt x="0" y="0"/>
                </a:moveTo>
                <a:lnTo>
                  <a:pt x="43637"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3" name="object 273"/>
          <p:cNvSpPr/>
          <p:nvPr/>
        </p:nvSpPr>
        <p:spPr>
          <a:xfrm>
            <a:off x="8851375" y="5436200"/>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4" name="object 274"/>
          <p:cNvSpPr/>
          <p:nvPr/>
        </p:nvSpPr>
        <p:spPr>
          <a:xfrm>
            <a:off x="9033000" y="5436248"/>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5" name="object 275"/>
          <p:cNvSpPr/>
          <p:nvPr/>
        </p:nvSpPr>
        <p:spPr>
          <a:xfrm>
            <a:off x="7273638" y="5432285"/>
            <a:ext cx="127399" cy="7036"/>
          </a:xfrm>
          <a:custGeom>
            <a:avLst/>
            <a:gdLst/>
            <a:ahLst/>
            <a:cxnLst/>
            <a:rect l="l" t="t" r="r" b="b"/>
            <a:pathLst>
              <a:path w="181190" h="10007">
                <a:moveTo>
                  <a:pt x="180924" y="1511"/>
                </a:moveTo>
                <a:lnTo>
                  <a:pt x="181190" y="63"/>
                </a:lnTo>
                <a:lnTo>
                  <a:pt x="0" y="0"/>
                </a:lnTo>
                <a:lnTo>
                  <a:pt x="0" y="9944"/>
                </a:lnTo>
                <a:lnTo>
                  <a:pt x="179374" y="10007"/>
                </a:lnTo>
                <a:lnTo>
                  <a:pt x="179984" y="7035"/>
                </a:lnTo>
                <a:lnTo>
                  <a:pt x="180467" y="4381"/>
                </a:lnTo>
                <a:lnTo>
                  <a:pt x="180924" y="1511"/>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6" name="object 276"/>
          <p:cNvSpPr/>
          <p:nvPr/>
        </p:nvSpPr>
        <p:spPr>
          <a:xfrm>
            <a:off x="8670181" y="5436153"/>
            <a:ext cx="30682" cy="0"/>
          </a:xfrm>
          <a:custGeom>
            <a:avLst/>
            <a:gdLst/>
            <a:ahLst/>
            <a:cxnLst/>
            <a:rect l="l" t="t" r="r" b="b"/>
            <a:pathLst>
              <a:path w="43637">
                <a:moveTo>
                  <a:pt x="0" y="0"/>
                </a:moveTo>
                <a:lnTo>
                  <a:pt x="43637"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7" name="object 277"/>
          <p:cNvSpPr/>
          <p:nvPr/>
        </p:nvSpPr>
        <p:spPr>
          <a:xfrm>
            <a:off x="7273637" y="5420665"/>
            <a:ext cx="129319" cy="7027"/>
          </a:xfrm>
          <a:custGeom>
            <a:avLst/>
            <a:gdLst/>
            <a:ahLst/>
            <a:cxnLst/>
            <a:rect l="l" t="t" r="r" b="b"/>
            <a:pathLst>
              <a:path w="183921" h="9994">
                <a:moveTo>
                  <a:pt x="0" y="0"/>
                </a:moveTo>
                <a:lnTo>
                  <a:pt x="0" y="9956"/>
                </a:lnTo>
                <a:lnTo>
                  <a:pt x="182257" y="9994"/>
                </a:lnTo>
                <a:lnTo>
                  <a:pt x="182829" y="6667"/>
                </a:lnTo>
                <a:lnTo>
                  <a:pt x="183400" y="3340"/>
                </a:lnTo>
                <a:lnTo>
                  <a:pt x="183921"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8" name="object 278"/>
          <p:cNvSpPr/>
          <p:nvPr/>
        </p:nvSpPr>
        <p:spPr>
          <a:xfrm>
            <a:off x="8851375" y="5424583"/>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79" name="object 279"/>
          <p:cNvSpPr/>
          <p:nvPr/>
        </p:nvSpPr>
        <p:spPr>
          <a:xfrm>
            <a:off x="8670181" y="5424535"/>
            <a:ext cx="30682" cy="0"/>
          </a:xfrm>
          <a:custGeom>
            <a:avLst/>
            <a:gdLst/>
            <a:ahLst/>
            <a:cxnLst/>
            <a:rect l="l" t="t" r="r" b="b"/>
            <a:pathLst>
              <a:path w="43637">
                <a:moveTo>
                  <a:pt x="0" y="0"/>
                </a:moveTo>
                <a:lnTo>
                  <a:pt x="43637"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0" name="object 280"/>
          <p:cNvSpPr/>
          <p:nvPr/>
        </p:nvSpPr>
        <p:spPr>
          <a:xfrm>
            <a:off x="9033000" y="5424630"/>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1" name="object 281"/>
          <p:cNvSpPr/>
          <p:nvPr/>
        </p:nvSpPr>
        <p:spPr>
          <a:xfrm>
            <a:off x="7273636" y="5409015"/>
            <a:ext cx="131079" cy="7045"/>
          </a:xfrm>
          <a:custGeom>
            <a:avLst/>
            <a:gdLst/>
            <a:ahLst/>
            <a:cxnLst/>
            <a:rect l="l" t="t" r="r" b="b"/>
            <a:pathLst>
              <a:path w="186423" h="10020">
                <a:moveTo>
                  <a:pt x="0" y="0"/>
                </a:moveTo>
                <a:lnTo>
                  <a:pt x="0" y="9956"/>
                </a:lnTo>
                <a:lnTo>
                  <a:pt x="185000" y="10020"/>
                </a:lnTo>
                <a:lnTo>
                  <a:pt x="185521" y="6629"/>
                </a:lnTo>
                <a:lnTo>
                  <a:pt x="185940" y="3378"/>
                </a:lnTo>
                <a:lnTo>
                  <a:pt x="186423"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2" name="object 282"/>
          <p:cNvSpPr/>
          <p:nvPr/>
        </p:nvSpPr>
        <p:spPr>
          <a:xfrm>
            <a:off x="8670181" y="5412883"/>
            <a:ext cx="30682" cy="0"/>
          </a:xfrm>
          <a:custGeom>
            <a:avLst/>
            <a:gdLst/>
            <a:ahLst/>
            <a:cxnLst/>
            <a:rect l="l" t="t" r="r" b="b"/>
            <a:pathLst>
              <a:path w="43637">
                <a:moveTo>
                  <a:pt x="0" y="0"/>
                </a:moveTo>
                <a:lnTo>
                  <a:pt x="43637"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3" name="object 283"/>
          <p:cNvSpPr/>
          <p:nvPr/>
        </p:nvSpPr>
        <p:spPr>
          <a:xfrm>
            <a:off x="8851375" y="5412932"/>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4" name="object 284"/>
          <p:cNvSpPr/>
          <p:nvPr/>
        </p:nvSpPr>
        <p:spPr>
          <a:xfrm>
            <a:off x="9033000" y="5412980"/>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5" name="object 285"/>
          <p:cNvSpPr/>
          <p:nvPr/>
        </p:nvSpPr>
        <p:spPr>
          <a:xfrm>
            <a:off x="8670181" y="5401253"/>
            <a:ext cx="30682" cy="0"/>
          </a:xfrm>
          <a:custGeom>
            <a:avLst/>
            <a:gdLst/>
            <a:ahLst/>
            <a:cxnLst/>
            <a:rect l="l" t="t" r="r" b="b"/>
            <a:pathLst>
              <a:path w="43637">
                <a:moveTo>
                  <a:pt x="0" y="0"/>
                </a:moveTo>
                <a:lnTo>
                  <a:pt x="43637"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6" name="object 286"/>
          <p:cNvSpPr/>
          <p:nvPr/>
        </p:nvSpPr>
        <p:spPr>
          <a:xfrm>
            <a:off x="7273636" y="5397396"/>
            <a:ext cx="132677" cy="7027"/>
          </a:xfrm>
          <a:custGeom>
            <a:avLst/>
            <a:gdLst/>
            <a:ahLst/>
            <a:cxnLst/>
            <a:rect l="l" t="t" r="r" b="b"/>
            <a:pathLst>
              <a:path w="188696" h="9994">
                <a:moveTo>
                  <a:pt x="0" y="0"/>
                </a:moveTo>
                <a:lnTo>
                  <a:pt x="0" y="9956"/>
                </a:lnTo>
                <a:lnTo>
                  <a:pt x="187312" y="9994"/>
                </a:lnTo>
                <a:lnTo>
                  <a:pt x="187769" y="6680"/>
                </a:lnTo>
                <a:lnTo>
                  <a:pt x="188252" y="3301"/>
                </a:lnTo>
                <a:lnTo>
                  <a:pt x="188696"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7" name="object 287"/>
          <p:cNvSpPr/>
          <p:nvPr/>
        </p:nvSpPr>
        <p:spPr>
          <a:xfrm>
            <a:off x="8851375" y="5401301"/>
            <a:ext cx="31004" cy="0"/>
          </a:xfrm>
          <a:custGeom>
            <a:avLst/>
            <a:gdLst/>
            <a:ahLst/>
            <a:cxnLst/>
            <a:rect l="l" t="t" r="r" b="b"/>
            <a:pathLst>
              <a:path w="44094">
                <a:moveTo>
                  <a:pt x="0" y="0"/>
                </a:moveTo>
                <a:lnTo>
                  <a:pt x="44094"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8" name="object 288"/>
          <p:cNvSpPr/>
          <p:nvPr/>
        </p:nvSpPr>
        <p:spPr>
          <a:xfrm>
            <a:off x="9033000" y="5401350"/>
            <a:ext cx="30700" cy="0"/>
          </a:xfrm>
          <a:custGeom>
            <a:avLst/>
            <a:gdLst/>
            <a:ahLst/>
            <a:cxnLst/>
            <a:rect l="l" t="t" r="r" b="b"/>
            <a:pathLst>
              <a:path w="43662">
                <a:moveTo>
                  <a:pt x="0" y="0"/>
                </a:moveTo>
                <a:lnTo>
                  <a:pt x="43662"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9" name="object 289"/>
          <p:cNvSpPr/>
          <p:nvPr/>
        </p:nvSpPr>
        <p:spPr>
          <a:xfrm>
            <a:off x="8851375" y="5389676"/>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0" name="object 290"/>
          <p:cNvSpPr/>
          <p:nvPr/>
        </p:nvSpPr>
        <p:spPr>
          <a:xfrm>
            <a:off x="7273637" y="5385768"/>
            <a:ext cx="134043" cy="7045"/>
          </a:xfrm>
          <a:custGeom>
            <a:avLst/>
            <a:gdLst/>
            <a:ahLst/>
            <a:cxnLst/>
            <a:rect l="l" t="t" r="r" b="b"/>
            <a:pathLst>
              <a:path w="190639" h="10020">
                <a:moveTo>
                  <a:pt x="0" y="0"/>
                </a:moveTo>
                <a:lnTo>
                  <a:pt x="0" y="9956"/>
                </a:lnTo>
                <a:lnTo>
                  <a:pt x="189496" y="10020"/>
                </a:lnTo>
                <a:lnTo>
                  <a:pt x="189915" y="6616"/>
                </a:lnTo>
                <a:lnTo>
                  <a:pt x="190271" y="3365"/>
                </a:lnTo>
                <a:lnTo>
                  <a:pt x="190639"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1" name="object 291"/>
          <p:cNvSpPr/>
          <p:nvPr/>
        </p:nvSpPr>
        <p:spPr>
          <a:xfrm>
            <a:off x="9033000" y="5389723"/>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2" name="object 292"/>
          <p:cNvSpPr/>
          <p:nvPr/>
        </p:nvSpPr>
        <p:spPr>
          <a:xfrm>
            <a:off x="8670181" y="5389630"/>
            <a:ext cx="30682" cy="0"/>
          </a:xfrm>
          <a:custGeom>
            <a:avLst/>
            <a:gdLst/>
            <a:ahLst/>
            <a:cxnLst/>
            <a:rect l="l" t="t" r="r" b="b"/>
            <a:pathLst>
              <a:path w="43637">
                <a:moveTo>
                  <a:pt x="0" y="0"/>
                </a:moveTo>
                <a:lnTo>
                  <a:pt x="43637"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3" name="object 293"/>
          <p:cNvSpPr/>
          <p:nvPr/>
        </p:nvSpPr>
        <p:spPr>
          <a:xfrm>
            <a:off x="9033000" y="5378007"/>
            <a:ext cx="30700" cy="0"/>
          </a:xfrm>
          <a:custGeom>
            <a:avLst/>
            <a:gdLst/>
            <a:ahLst/>
            <a:cxnLst/>
            <a:rect l="l" t="t" r="r" b="b"/>
            <a:pathLst>
              <a:path w="43662">
                <a:moveTo>
                  <a:pt x="0" y="0"/>
                </a:moveTo>
                <a:lnTo>
                  <a:pt x="43662" y="0"/>
                </a:lnTo>
              </a:path>
            </a:pathLst>
          </a:custGeom>
          <a:ln w="11226">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4" name="object 294"/>
          <p:cNvSpPr/>
          <p:nvPr/>
        </p:nvSpPr>
        <p:spPr>
          <a:xfrm>
            <a:off x="8851375" y="5377970"/>
            <a:ext cx="31004" cy="0"/>
          </a:xfrm>
          <a:custGeom>
            <a:avLst/>
            <a:gdLst/>
            <a:ahLst/>
            <a:cxnLst/>
            <a:rect l="l" t="t" r="r" b="b"/>
            <a:pathLst>
              <a:path w="44094">
                <a:moveTo>
                  <a:pt x="0" y="0"/>
                </a:moveTo>
                <a:lnTo>
                  <a:pt x="44094" y="0"/>
                </a:lnTo>
              </a:path>
            </a:pathLst>
          </a:custGeom>
          <a:ln w="11226">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5" name="object 295"/>
          <p:cNvSpPr/>
          <p:nvPr/>
        </p:nvSpPr>
        <p:spPr>
          <a:xfrm>
            <a:off x="7273638" y="5374140"/>
            <a:ext cx="135320" cy="7036"/>
          </a:xfrm>
          <a:custGeom>
            <a:avLst/>
            <a:gdLst/>
            <a:ahLst/>
            <a:cxnLst/>
            <a:rect l="l" t="t" r="r" b="b"/>
            <a:pathLst>
              <a:path w="192455" h="10007">
                <a:moveTo>
                  <a:pt x="192455" y="63"/>
                </a:moveTo>
                <a:lnTo>
                  <a:pt x="0" y="0"/>
                </a:lnTo>
                <a:lnTo>
                  <a:pt x="0" y="9969"/>
                </a:lnTo>
                <a:lnTo>
                  <a:pt x="191376" y="10007"/>
                </a:lnTo>
                <a:lnTo>
                  <a:pt x="191770" y="6565"/>
                </a:lnTo>
                <a:lnTo>
                  <a:pt x="192125" y="3505"/>
                </a:lnTo>
                <a:lnTo>
                  <a:pt x="192455" y="63"/>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6" name="object 296"/>
          <p:cNvSpPr/>
          <p:nvPr/>
        </p:nvSpPr>
        <p:spPr>
          <a:xfrm>
            <a:off x="8670181" y="5377935"/>
            <a:ext cx="30682" cy="0"/>
          </a:xfrm>
          <a:custGeom>
            <a:avLst/>
            <a:gdLst/>
            <a:ahLst/>
            <a:cxnLst/>
            <a:rect l="l" t="t" r="r" b="b"/>
            <a:pathLst>
              <a:path w="43637">
                <a:moveTo>
                  <a:pt x="0" y="0"/>
                </a:moveTo>
                <a:lnTo>
                  <a:pt x="43637" y="0"/>
                </a:lnTo>
              </a:path>
            </a:pathLst>
          </a:custGeom>
          <a:ln w="11226">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7" name="object 297"/>
          <p:cNvSpPr/>
          <p:nvPr/>
        </p:nvSpPr>
        <p:spPr>
          <a:xfrm>
            <a:off x="7273636" y="5362486"/>
            <a:ext cx="136427" cy="7027"/>
          </a:xfrm>
          <a:custGeom>
            <a:avLst/>
            <a:gdLst/>
            <a:ahLst/>
            <a:cxnLst/>
            <a:rect l="l" t="t" r="r" b="b"/>
            <a:pathLst>
              <a:path w="194030" h="9994">
                <a:moveTo>
                  <a:pt x="0" y="0"/>
                </a:moveTo>
                <a:lnTo>
                  <a:pt x="0" y="9969"/>
                </a:lnTo>
                <a:lnTo>
                  <a:pt x="193090" y="9994"/>
                </a:lnTo>
                <a:lnTo>
                  <a:pt x="193421" y="6642"/>
                </a:lnTo>
                <a:lnTo>
                  <a:pt x="193738" y="3289"/>
                </a:lnTo>
                <a:lnTo>
                  <a:pt x="194030"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8" name="object 298"/>
          <p:cNvSpPr/>
          <p:nvPr/>
        </p:nvSpPr>
        <p:spPr>
          <a:xfrm>
            <a:off x="7273636" y="5350874"/>
            <a:ext cx="137410" cy="7027"/>
          </a:xfrm>
          <a:custGeom>
            <a:avLst/>
            <a:gdLst/>
            <a:ahLst/>
            <a:cxnLst/>
            <a:rect l="l" t="t" r="r" b="b"/>
            <a:pathLst>
              <a:path w="195427" h="9994">
                <a:moveTo>
                  <a:pt x="0" y="0"/>
                </a:moveTo>
                <a:lnTo>
                  <a:pt x="0" y="9956"/>
                </a:lnTo>
                <a:lnTo>
                  <a:pt x="194640" y="9994"/>
                </a:lnTo>
                <a:lnTo>
                  <a:pt x="194932" y="6515"/>
                </a:lnTo>
                <a:lnTo>
                  <a:pt x="195160" y="3352"/>
                </a:lnTo>
                <a:lnTo>
                  <a:pt x="195427" y="25"/>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99" name="object 299"/>
          <p:cNvSpPr/>
          <p:nvPr/>
        </p:nvSpPr>
        <p:spPr>
          <a:xfrm>
            <a:off x="7273636" y="5339240"/>
            <a:ext cx="138285" cy="7045"/>
          </a:xfrm>
          <a:custGeom>
            <a:avLst/>
            <a:gdLst/>
            <a:ahLst/>
            <a:cxnLst/>
            <a:rect l="l" t="t" r="r" b="b"/>
            <a:pathLst>
              <a:path w="196672" h="10020">
                <a:moveTo>
                  <a:pt x="0" y="0"/>
                </a:moveTo>
                <a:lnTo>
                  <a:pt x="0" y="9969"/>
                </a:lnTo>
                <a:lnTo>
                  <a:pt x="195948" y="10020"/>
                </a:lnTo>
                <a:lnTo>
                  <a:pt x="196189" y="6603"/>
                </a:lnTo>
                <a:lnTo>
                  <a:pt x="196456" y="3301"/>
                </a:lnTo>
                <a:lnTo>
                  <a:pt x="196672" y="63"/>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0" name="object 300"/>
          <p:cNvSpPr/>
          <p:nvPr/>
        </p:nvSpPr>
        <p:spPr>
          <a:xfrm>
            <a:off x="7273636" y="5327592"/>
            <a:ext cx="139089" cy="7045"/>
          </a:xfrm>
          <a:custGeom>
            <a:avLst/>
            <a:gdLst/>
            <a:ahLst/>
            <a:cxnLst/>
            <a:rect l="l" t="t" r="r" b="b"/>
            <a:pathLst>
              <a:path w="197815" h="10020">
                <a:moveTo>
                  <a:pt x="0" y="0"/>
                </a:moveTo>
                <a:lnTo>
                  <a:pt x="0" y="9969"/>
                </a:lnTo>
                <a:lnTo>
                  <a:pt x="197129" y="10020"/>
                </a:lnTo>
                <a:lnTo>
                  <a:pt x="197358" y="6680"/>
                </a:lnTo>
                <a:lnTo>
                  <a:pt x="197612" y="3174"/>
                </a:lnTo>
                <a:lnTo>
                  <a:pt x="197815" y="63"/>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1" name="object 301"/>
          <p:cNvSpPr/>
          <p:nvPr/>
        </p:nvSpPr>
        <p:spPr>
          <a:xfrm>
            <a:off x="7273668" y="5315973"/>
            <a:ext cx="139794" cy="7045"/>
          </a:xfrm>
          <a:custGeom>
            <a:avLst/>
            <a:gdLst/>
            <a:ahLst/>
            <a:cxnLst/>
            <a:rect l="l" t="t" r="r" b="b"/>
            <a:pathLst>
              <a:path w="198818" h="10020">
                <a:moveTo>
                  <a:pt x="0" y="0"/>
                </a:moveTo>
                <a:lnTo>
                  <a:pt x="0" y="9969"/>
                </a:lnTo>
                <a:lnTo>
                  <a:pt x="198183" y="10020"/>
                </a:lnTo>
                <a:lnTo>
                  <a:pt x="198399" y="6642"/>
                </a:lnTo>
                <a:lnTo>
                  <a:pt x="198628" y="3073"/>
                </a:lnTo>
                <a:lnTo>
                  <a:pt x="198818"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2" name="object 302"/>
          <p:cNvSpPr/>
          <p:nvPr/>
        </p:nvSpPr>
        <p:spPr>
          <a:xfrm>
            <a:off x="9033000" y="5319840"/>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3" name="object 303"/>
          <p:cNvSpPr/>
          <p:nvPr/>
        </p:nvSpPr>
        <p:spPr>
          <a:xfrm>
            <a:off x="8851375" y="5319806"/>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4" name="object 304"/>
          <p:cNvSpPr/>
          <p:nvPr/>
        </p:nvSpPr>
        <p:spPr>
          <a:xfrm>
            <a:off x="8670181" y="5319766"/>
            <a:ext cx="30682" cy="0"/>
          </a:xfrm>
          <a:custGeom>
            <a:avLst/>
            <a:gdLst/>
            <a:ahLst/>
            <a:cxnLst/>
            <a:rect l="l" t="t" r="r" b="b"/>
            <a:pathLst>
              <a:path w="43637">
                <a:moveTo>
                  <a:pt x="0" y="0"/>
                </a:moveTo>
                <a:lnTo>
                  <a:pt x="43637"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5" name="object 305"/>
          <p:cNvSpPr/>
          <p:nvPr/>
        </p:nvSpPr>
        <p:spPr>
          <a:xfrm>
            <a:off x="8488771" y="5319731"/>
            <a:ext cx="30709" cy="0"/>
          </a:xfrm>
          <a:custGeom>
            <a:avLst/>
            <a:gdLst/>
            <a:ahLst/>
            <a:cxnLst/>
            <a:rect l="l" t="t" r="r" b="b"/>
            <a:pathLst>
              <a:path w="43675">
                <a:moveTo>
                  <a:pt x="0" y="0"/>
                </a:moveTo>
                <a:lnTo>
                  <a:pt x="43675"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6" name="object 306"/>
          <p:cNvSpPr/>
          <p:nvPr/>
        </p:nvSpPr>
        <p:spPr>
          <a:xfrm>
            <a:off x="8488774" y="5308101"/>
            <a:ext cx="30709" cy="0"/>
          </a:xfrm>
          <a:custGeom>
            <a:avLst/>
            <a:gdLst/>
            <a:ahLst/>
            <a:cxnLst/>
            <a:rect l="l" t="t" r="r" b="b"/>
            <a:pathLst>
              <a:path w="43675">
                <a:moveTo>
                  <a:pt x="0" y="0"/>
                </a:moveTo>
                <a:lnTo>
                  <a:pt x="43675"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7" name="object 307"/>
          <p:cNvSpPr/>
          <p:nvPr/>
        </p:nvSpPr>
        <p:spPr>
          <a:xfrm>
            <a:off x="7273669" y="5304346"/>
            <a:ext cx="140303" cy="7045"/>
          </a:xfrm>
          <a:custGeom>
            <a:avLst/>
            <a:gdLst/>
            <a:ahLst/>
            <a:cxnLst/>
            <a:rect l="l" t="t" r="r" b="b"/>
            <a:pathLst>
              <a:path w="199542" h="10020">
                <a:moveTo>
                  <a:pt x="0" y="0"/>
                </a:moveTo>
                <a:lnTo>
                  <a:pt x="0" y="9969"/>
                </a:lnTo>
                <a:lnTo>
                  <a:pt x="199123" y="10020"/>
                </a:lnTo>
                <a:lnTo>
                  <a:pt x="199326" y="6718"/>
                </a:lnTo>
                <a:lnTo>
                  <a:pt x="199339" y="3365"/>
                </a:lnTo>
                <a:lnTo>
                  <a:pt x="199542" y="63"/>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8" name="object 308"/>
          <p:cNvSpPr/>
          <p:nvPr/>
        </p:nvSpPr>
        <p:spPr>
          <a:xfrm>
            <a:off x="8670179" y="5308139"/>
            <a:ext cx="30682" cy="0"/>
          </a:xfrm>
          <a:custGeom>
            <a:avLst/>
            <a:gdLst/>
            <a:ahLst/>
            <a:cxnLst/>
            <a:rect l="l" t="t" r="r" b="b"/>
            <a:pathLst>
              <a:path w="43637">
                <a:moveTo>
                  <a:pt x="0" y="0"/>
                </a:moveTo>
                <a:lnTo>
                  <a:pt x="43637"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09" name="object 309"/>
          <p:cNvSpPr/>
          <p:nvPr/>
        </p:nvSpPr>
        <p:spPr>
          <a:xfrm>
            <a:off x="8851375" y="5308177"/>
            <a:ext cx="31004" cy="0"/>
          </a:xfrm>
          <a:custGeom>
            <a:avLst/>
            <a:gdLst/>
            <a:ahLst/>
            <a:cxnLst/>
            <a:rect l="l" t="t" r="r" b="b"/>
            <a:pathLst>
              <a:path w="44094">
                <a:moveTo>
                  <a:pt x="0" y="0"/>
                </a:moveTo>
                <a:lnTo>
                  <a:pt x="44094"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0" name="object 310"/>
          <p:cNvSpPr/>
          <p:nvPr/>
        </p:nvSpPr>
        <p:spPr>
          <a:xfrm>
            <a:off x="9032995" y="5308211"/>
            <a:ext cx="30700" cy="0"/>
          </a:xfrm>
          <a:custGeom>
            <a:avLst/>
            <a:gdLst/>
            <a:ahLst/>
            <a:cxnLst/>
            <a:rect l="l" t="t" r="r" b="b"/>
            <a:pathLst>
              <a:path w="43662">
                <a:moveTo>
                  <a:pt x="0" y="0"/>
                </a:moveTo>
                <a:lnTo>
                  <a:pt x="43662" y="0"/>
                </a:lnTo>
              </a:path>
            </a:pathLst>
          </a:custGeom>
          <a:ln w="11214">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1" name="object 311"/>
          <p:cNvSpPr/>
          <p:nvPr/>
        </p:nvSpPr>
        <p:spPr>
          <a:xfrm>
            <a:off x="9032995" y="5296589"/>
            <a:ext cx="30700" cy="0"/>
          </a:xfrm>
          <a:custGeom>
            <a:avLst/>
            <a:gdLst/>
            <a:ahLst/>
            <a:cxnLst/>
            <a:rect l="l" t="t" r="r" b="b"/>
            <a:pathLst>
              <a:path w="43662">
                <a:moveTo>
                  <a:pt x="0" y="0"/>
                </a:moveTo>
                <a:lnTo>
                  <a:pt x="43662"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2" name="object 312"/>
          <p:cNvSpPr/>
          <p:nvPr/>
        </p:nvSpPr>
        <p:spPr>
          <a:xfrm>
            <a:off x="8851375" y="5296551"/>
            <a:ext cx="31004" cy="0"/>
          </a:xfrm>
          <a:custGeom>
            <a:avLst/>
            <a:gdLst/>
            <a:ahLst/>
            <a:cxnLst/>
            <a:rect l="l" t="t" r="r" b="b"/>
            <a:pathLst>
              <a:path w="44094">
                <a:moveTo>
                  <a:pt x="0" y="0"/>
                </a:moveTo>
                <a:lnTo>
                  <a:pt x="44094"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3" name="object 313"/>
          <p:cNvSpPr/>
          <p:nvPr/>
        </p:nvSpPr>
        <p:spPr>
          <a:xfrm>
            <a:off x="8670179" y="5296512"/>
            <a:ext cx="30682" cy="0"/>
          </a:xfrm>
          <a:custGeom>
            <a:avLst/>
            <a:gdLst/>
            <a:ahLst/>
            <a:cxnLst/>
            <a:rect l="l" t="t" r="r" b="b"/>
            <a:pathLst>
              <a:path w="43637">
                <a:moveTo>
                  <a:pt x="0" y="0"/>
                </a:moveTo>
                <a:lnTo>
                  <a:pt x="43637"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4" name="object 314"/>
          <p:cNvSpPr/>
          <p:nvPr/>
        </p:nvSpPr>
        <p:spPr>
          <a:xfrm>
            <a:off x="8488774" y="5296474"/>
            <a:ext cx="30709" cy="0"/>
          </a:xfrm>
          <a:custGeom>
            <a:avLst/>
            <a:gdLst/>
            <a:ahLst/>
            <a:cxnLst/>
            <a:rect l="l" t="t" r="r" b="b"/>
            <a:pathLst>
              <a:path w="43675">
                <a:moveTo>
                  <a:pt x="0" y="0"/>
                </a:moveTo>
                <a:lnTo>
                  <a:pt x="43675" y="0"/>
                </a:lnTo>
              </a:path>
            </a:pathLst>
          </a:custGeom>
          <a:ln w="11201">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5" name="object 315"/>
          <p:cNvSpPr/>
          <p:nvPr/>
        </p:nvSpPr>
        <p:spPr>
          <a:xfrm>
            <a:off x="7273668" y="5292727"/>
            <a:ext cx="140794" cy="7027"/>
          </a:xfrm>
          <a:custGeom>
            <a:avLst/>
            <a:gdLst/>
            <a:ahLst/>
            <a:cxnLst/>
            <a:rect l="l" t="t" r="r" b="b"/>
            <a:pathLst>
              <a:path w="200240" h="9994">
                <a:moveTo>
                  <a:pt x="0" y="0"/>
                </a:moveTo>
                <a:lnTo>
                  <a:pt x="0" y="9956"/>
                </a:lnTo>
                <a:lnTo>
                  <a:pt x="199821" y="9994"/>
                </a:lnTo>
                <a:lnTo>
                  <a:pt x="199999" y="6692"/>
                </a:lnTo>
                <a:lnTo>
                  <a:pt x="200088" y="3352"/>
                </a:lnTo>
                <a:lnTo>
                  <a:pt x="200240" y="38"/>
                </a:lnTo>
                <a:lnTo>
                  <a:pt x="0" y="0"/>
                </a:lnTo>
                <a:close/>
              </a:path>
            </a:pathLst>
          </a:custGeom>
          <a:solidFill>
            <a:srgbClr val="EDEEEC"/>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6" name="object 316"/>
          <p:cNvSpPr/>
          <p:nvPr/>
        </p:nvSpPr>
        <p:spPr>
          <a:xfrm>
            <a:off x="9063704" y="4919641"/>
            <a:ext cx="150616" cy="184255"/>
          </a:xfrm>
          <a:custGeom>
            <a:avLst/>
            <a:gdLst/>
            <a:ahLst/>
            <a:cxnLst/>
            <a:rect l="l" t="t" r="r" b="b"/>
            <a:pathLst>
              <a:path w="214210" h="262051">
                <a:moveTo>
                  <a:pt x="114198" y="0"/>
                </a:moveTo>
                <a:lnTo>
                  <a:pt x="0" y="0"/>
                </a:lnTo>
                <a:lnTo>
                  <a:pt x="0" y="262051"/>
                </a:lnTo>
                <a:lnTo>
                  <a:pt x="114198" y="262051"/>
                </a:lnTo>
                <a:lnTo>
                  <a:pt x="114198"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7" name="object 317"/>
          <p:cNvSpPr/>
          <p:nvPr/>
        </p:nvSpPr>
        <p:spPr>
          <a:xfrm>
            <a:off x="9063696" y="5141526"/>
            <a:ext cx="150616" cy="184344"/>
          </a:xfrm>
          <a:custGeom>
            <a:avLst/>
            <a:gdLst/>
            <a:ahLst/>
            <a:cxnLst/>
            <a:rect l="l" t="t" r="r" b="b"/>
            <a:pathLst>
              <a:path w="214210" h="262178">
                <a:moveTo>
                  <a:pt x="114209" y="0"/>
                </a:moveTo>
                <a:lnTo>
                  <a:pt x="0" y="0"/>
                </a:lnTo>
                <a:lnTo>
                  <a:pt x="0" y="232092"/>
                </a:lnTo>
                <a:lnTo>
                  <a:pt x="0" y="262178"/>
                </a:lnTo>
                <a:lnTo>
                  <a:pt x="114209" y="262178"/>
                </a:lnTo>
                <a:lnTo>
                  <a:pt x="114209" y="0"/>
                </a:lnTo>
                <a:close/>
              </a:path>
            </a:pathLst>
          </a:custGeom>
          <a:solidFill>
            <a:srgbClr val="A3A6A9"/>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8" name="object 318"/>
          <p:cNvSpPr/>
          <p:nvPr/>
        </p:nvSpPr>
        <p:spPr>
          <a:xfrm>
            <a:off x="9063700" y="5363262"/>
            <a:ext cx="150616" cy="184406"/>
          </a:xfrm>
          <a:custGeom>
            <a:avLst/>
            <a:gdLst/>
            <a:ahLst/>
            <a:cxnLst/>
            <a:rect l="l" t="t" r="r" b="b"/>
            <a:pathLst>
              <a:path w="214210" h="262267">
                <a:moveTo>
                  <a:pt x="114204" y="0"/>
                </a:moveTo>
                <a:lnTo>
                  <a:pt x="0" y="0"/>
                </a:lnTo>
                <a:lnTo>
                  <a:pt x="0" y="262267"/>
                </a:lnTo>
                <a:lnTo>
                  <a:pt x="114204" y="262267"/>
                </a:lnTo>
                <a:lnTo>
                  <a:pt x="114204"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19" name="object 319"/>
          <p:cNvSpPr/>
          <p:nvPr/>
        </p:nvSpPr>
        <p:spPr>
          <a:xfrm>
            <a:off x="9063700" y="5585226"/>
            <a:ext cx="150616" cy="184317"/>
          </a:xfrm>
          <a:custGeom>
            <a:avLst/>
            <a:gdLst/>
            <a:ahLst/>
            <a:cxnLst/>
            <a:rect l="l" t="t" r="r" b="b"/>
            <a:pathLst>
              <a:path w="214210" h="262140">
                <a:moveTo>
                  <a:pt x="114204" y="0"/>
                </a:moveTo>
                <a:lnTo>
                  <a:pt x="0" y="0"/>
                </a:lnTo>
                <a:lnTo>
                  <a:pt x="0" y="262140"/>
                </a:lnTo>
                <a:lnTo>
                  <a:pt x="114204" y="262140"/>
                </a:lnTo>
                <a:lnTo>
                  <a:pt x="114204" y="0"/>
                </a:lnTo>
                <a:close/>
              </a:path>
            </a:pathLst>
          </a:custGeom>
          <a:solidFill>
            <a:srgbClr val="A3A6A9"/>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0" name="object 320"/>
          <p:cNvSpPr/>
          <p:nvPr/>
        </p:nvSpPr>
        <p:spPr>
          <a:xfrm>
            <a:off x="8882387" y="4919641"/>
            <a:ext cx="150616" cy="184255"/>
          </a:xfrm>
          <a:custGeom>
            <a:avLst/>
            <a:gdLst/>
            <a:ahLst/>
            <a:cxnLst/>
            <a:rect l="l" t="t" r="r" b="b"/>
            <a:pathLst>
              <a:path w="214210" h="262051">
                <a:moveTo>
                  <a:pt x="214210" y="0"/>
                </a:moveTo>
                <a:lnTo>
                  <a:pt x="0" y="0"/>
                </a:lnTo>
                <a:lnTo>
                  <a:pt x="0" y="262051"/>
                </a:lnTo>
                <a:lnTo>
                  <a:pt x="214210" y="262051"/>
                </a:lnTo>
                <a:lnTo>
                  <a:pt x="214210" y="0"/>
                </a:lnTo>
                <a:close/>
              </a:path>
            </a:pathLst>
          </a:custGeom>
          <a:solidFill>
            <a:srgbClr val="A3A6A9"/>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1" name="object 321"/>
          <p:cNvSpPr/>
          <p:nvPr/>
        </p:nvSpPr>
        <p:spPr>
          <a:xfrm>
            <a:off x="8882379" y="5141526"/>
            <a:ext cx="150616" cy="184344"/>
          </a:xfrm>
          <a:custGeom>
            <a:avLst/>
            <a:gdLst/>
            <a:ahLst/>
            <a:cxnLst/>
            <a:rect l="l" t="t" r="r" b="b"/>
            <a:pathLst>
              <a:path w="214210" h="262178">
                <a:moveTo>
                  <a:pt x="0" y="232041"/>
                </a:moveTo>
                <a:lnTo>
                  <a:pt x="0" y="262178"/>
                </a:lnTo>
                <a:lnTo>
                  <a:pt x="214210" y="262178"/>
                </a:lnTo>
                <a:lnTo>
                  <a:pt x="214210" y="0"/>
                </a:lnTo>
                <a:lnTo>
                  <a:pt x="0" y="0"/>
                </a:lnTo>
                <a:lnTo>
                  <a:pt x="0" y="232041"/>
                </a:lnTo>
                <a:close/>
              </a:path>
            </a:pathLst>
          </a:custGeom>
          <a:solidFill>
            <a:srgbClr val="A3A6A9"/>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2" name="object 322"/>
          <p:cNvSpPr/>
          <p:nvPr/>
        </p:nvSpPr>
        <p:spPr>
          <a:xfrm>
            <a:off x="8882384" y="5363261"/>
            <a:ext cx="150616" cy="184406"/>
          </a:xfrm>
          <a:custGeom>
            <a:avLst/>
            <a:gdLst/>
            <a:ahLst/>
            <a:cxnLst/>
            <a:rect l="l" t="t" r="r" b="b"/>
            <a:pathLst>
              <a:path w="214210" h="262267">
                <a:moveTo>
                  <a:pt x="214210" y="241096"/>
                </a:moveTo>
                <a:lnTo>
                  <a:pt x="214210" y="0"/>
                </a:lnTo>
                <a:lnTo>
                  <a:pt x="0" y="0"/>
                </a:lnTo>
                <a:lnTo>
                  <a:pt x="0" y="262267"/>
                </a:lnTo>
                <a:lnTo>
                  <a:pt x="214210" y="262267"/>
                </a:lnTo>
                <a:lnTo>
                  <a:pt x="214210" y="241096"/>
                </a:lnTo>
                <a:close/>
              </a:path>
            </a:pathLst>
          </a:custGeom>
          <a:solidFill>
            <a:srgbClr val="A3A6A9"/>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3" name="object 323"/>
          <p:cNvSpPr/>
          <p:nvPr/>
        </p:nvSpPr>
        <p:spPr>
          <a:xfrm>
            <a:off x="8882378" y="5585224"/>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4" name="object 324"/>
          <p:cNvSpPr/>
          <p:nvPr/>
        </p:nvSpPr>
        <p:spPr>
          <a:xfrm>
            <a:off x="8882378" y="5639860"/>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5" name="object 325"/>
          <p:cNvSpPr/>
          <p:nvPr/>
        </p:nvSpPr>
        <p:spPr>
          <a:xfrm>
            <a:off x="8882378" y="5663116"/>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6" name="object 326"/>
          <p:cNvSpPr/>
          <p:nvPr/>
        </p:nvSpPr>
        <p:spPr>
          <a:xfrm>
            <a:off x="8882378" y="5651496"/>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7" name="object 327"/>
          <p:cNvSpPr/>
          <p:nvPr/>
        </p:nvSpPr>
        <p:spPr>
          <a:xfrm>
            <a:off x="8882378" y="5679385"/>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8" name="object 328"/>
          <p:cNvSpPr/>
          <p:nvPr/>
        </p:nvSpPr>
        <p:spPr>
          <a:xfrm>
            <a:off x="8882378" y="5674757"/>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29" name="object 329"/>
          <p:cNvSpPr/>
          <p:nvPr/>
        </p:nvSpPr>
        <p:spPr>
          <a:xfrm>
            <a:off x="8882378" y="5656125"/>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0" name="object 330"/>
          <p:cNvSpPr/>
          <p:nvPr/>
        </p:nvSpPr>
        <p:spPr>
          <a:xfrm>
            <a:off x="8882378" y="5644502"/>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1" name="object 331"/>
          <p:cNvSpPr/>
          <p:nvPr/>
        </p:nvSpPr>
        <p:spPr>
          <a:xfrm>
            <a:off x="8882378" y="5632864"/>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2" name="object 332"/>
          <p:cNvSpPr/>
          <p:nvPr/>
        </p:nvSpPr>
        <p:spPr>
          <a:xfrm>
            <a:off x="8882378" y="5621243"/>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3" name="object 333"/>
          <p:cNvSpPr/>
          <p:nvPr/>
        </p:nvSpPr>
        <p:spPr>
          <a:xfrm>
            <a:off x="8882378" y="5609602"/>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4" name="object 334"/>
          <p:cNvSpPr/>
          <p:nvPr/>
        </p:nvSpPr>
        <p:spPr>
          <a:xfrm>
            <a:off x="8882384" y="5585224"/>
            <a:ext cx="150616" cy="184317"/>
          </a:xfrm>
          <a:custGeom>
            <a:avLst/>
            <a:gdLst/>
            <a:ahLst/>
            <a:cxnLst/>
            <a:rect l="l" t="t" r="r" b="b"/>
            <a:pathLst>
              <a:path w="214210" h="262140">
                <a:moveTo>
                  <a:pt x="214210" y="127393"/>
                </a:moveTo>
                <a:lnTo>
                  <a:pt x="214210" y="0"/>
                </a:lnTo>
                <a:lnTo>
                  <a:pt x="0" y="0"/>
                </a:lnTo>
                <a:lnTo>
                  <a:pt x="0" y="262140"/>
                </a:lnTo>
                <a:lnTo>
                  <a:pt x="214210" y="262140"/>
                </a:lnTo>
                <a:lnTo>
                  <a:pt x="214210" y="127393"/>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5" name="object 335"/>
          <p:cNvSpPr/>
          <p:nvPr/>
        </p:nvSpPr>
        <p:spPr>
          <a:xfrm>
            <a:off x="8700864" y="4919641"/>
            <a:ext cx="150510" cy="184255"/>
          </a:xfrm>
          <a:custGeom>
            <a:avLst/>
            <a:gdLst/>
            <a:ahLst/>
            <a:cxnLst/>
            <a:rect l="l" t="t" r="r" b="b"/>
            <a:pathLst>
              <a:path w="214058" h="262051">
                <a:moveTo>
                  <a:pt x="214058" y="0"/>
                </a:moveTo>
                <a:lnTo>
                  <a:pt x="0" y="0"/>
                </a:lnTo>
                <a:lnTo>
                  <a:pt x="0" y="262051"/>
                </a:lnTo>
                <a:lnTo>
                  <a:pt x="214058" y="262051"/>
                </a:lnTo>
                <a:lnTo>
                  <a:pt x="214058" y="0"/>
                </a:lnTo>
                <a:close/>
              </a:path>
            </a:pathLst>
          </a:custGeom>
          <a:solidFill>
            <a:srgbClr val="A3A6A9"/>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6" name="object 336"/>
          <p:cNvSpPr/>
          <p:nvPr/>
        </p:nvSpPr>
        <p:spPr>
          <a:xfrm>
            <a:off x="8700860" y="5141525"/>
            <a:ext cx="150510" cy="184353"/>
          </a:xfrm>
          <a:custGeom>
            <a:avLst/>
            <a:gdLst/>
            <a:ahLst/>
            <a:cxnLst/>
            <a:rect l="l" t="t" r="r" b="b"/>
            <a:pathLst>
              <a:path w="214058" h="262191">
                <a:moveTo>
                  <a:pt x="0" y="231990"/>
                </a:moveTo>
                <a:lnTo>
                  <a:pt x="0" y="262191"/>
                </a:lnTo>
                <a:lnTo>
                  <a:pt x="214058" y="262191"/>
                </a:lnTo>
                <a:lnTo>
                  <a:pt x="214058" y="0"/>
                </a:lnTo>
                <a:lnTo>
                  <a:pt x="0" y="0"/>
                </a:lnTo>
                <a:lnTo>
                  <a:pt x="0" y="23199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7" name="object 337"/>
          <p:cNvSpPr/>
          <p:nvPr/>
        </p:nvSpPr>
        <p:spPr>
          <a:xfrm>
            <a:off x="8700864" y="5363255"/>
            <a:ext cx="150510" cy="184416"/>
          </a:xfrm>
          <a:custGeom>
            <a:avLst/>
            <a:gdLst/>
            <a:ahLst/>
            <a:cxnLst/>
            <a:rect l="l" t="t" r="r" b="b"/>
            <a:pathLst>
              <a:path w="214058" h="262280">
                <a:moveTo>
                  <a:pt x="214058" y="241033"/>
                </a:moveTo>
                <a:lnTo>
                  <a:pt x="214058" y="0"/>
                </a:lnTo>
                <a:lnTo>
                  <a:pt x="0" y="0"/>
                </a:lnTo>
                <a:lnTo>
                  <a:pt x="0" y="262280"/>
                </a:lnTo>
                <a:lnTo>
                  <a:pt x="214058" y="262280"/>
                </a:lnTo>
                <a:lnTo>
                  <a:pt x="214058" y="241033"/>
                </a:lnTo>
                <a:close/>
              </a:path>
            </a:pathLst>
          </a:custGeom>
          <a:solidFill>
            <a:srgbClr val="A3A6A9"/>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8" name="object 338"/>
          <p:cNvSpPr/>
          <p:nvPr/>
        </p:nvSpPr>
        <p:spPr>
          <a:xfrm>
            <a:off x="8519485" y="4919641"/>
            <a:ext cx="150697" cy="184255"/>
          </a:xfrm>
          <a:custGeom>
            <a:avLst/>
            <a:gdLst/>
            <a:ahLst/>
            <a:cxnLst/>
            <a:rect l="l" t="t" r="r" b="b"/>
            <a:pathLst>
              <a:path w="214325" h="262051">
                <a:moveTo>
                  <a:pt x="214325" y="0"/>
                </a:moveTo>
                <a:lnTo>
                  <a:pt x="0" y="0"/>
                </a:lnTo>
                <a:lnTo>
                  <a:pt x="0" y="262051"/>
                </a:lnTo>
                <a:lnTo>
                  <a:pt x="214325" y="262051"/>
                </a:lnTo>
                <a:lnTo>
                  <a:pt x="214325" y="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39" name="object 339"/>
          <p:cNvSpPr/>
          <p:nvPr/>
        </p:nvSpPr>
        <p:spPr>
          <a:xfrm>
            <a:off x="8519483" y="5141531"/>
            <a:ext cx="150697" cy="184344"/>
          </a:xfrm>
          <a:custGeom>
            <a:avLst/>
            <a:gdLst/>
            <a:ahLst/>
            <a:cxnLst/>
            <a:rect l="l" t="t" r="r" b="b"/>
            <a:pathLst>
              <a:path w="214325" h="262178">
                <a:moveTo>
                  <a:pt x="0" y="231927"/>
                </a:moveTo>
                <a:lnTo>
                  <a:pt x="0" y="262178"/>
                </a:lnTo>
                <a:lnTo>
                  <a:pt x="214325" y="262178"/>
                </a:lnTo>
                <a:lnTo>
                  <a:pt x="214325" y="0"/>
                </a:lnTo>
                <a:lnTo>
                  <a:pt x="0" y="0"/>
                </a:lnTo>
                <a:lnTo>
                  <a:pt x="0" y="231927"/>
                </a:lnTo>
                <a:close/>
              </a:path>
            </a:pathLst>
          </a:custGeom>
          <a:solidFill>
            <a:srgbClr val="A3A6A9"/>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0" name="object 340"/>
          <p:cNvSpPr/>
          <p:nvPr/>
        </p:nvSpPr>
        <p:spPr>
          <a:xfrm>
            <a:off x="8519483" y="5532646"/>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1" name="object 341"/>
          <p:cNvSpPr/>
          <p:nvPr/>
        </p:nvSpPr>
        <p:spPr>
          <a:xfrm>
            <a:off x="8519483" y="5486130"/>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2" name="object 342"/>
          <p:cNvSpPr/>
          <p:nvPr/>
        </p:nvSpPr>
        <p:spPr>
          <a:xfrm>
            <a:off x="8519483" y="5521025"/>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3" name="object 343"/>
          <p:cNvSpPr/>
          <p:nvPr/>
        </p:nvSpPr>
        <p:spPr>
          <a:xfrm>
            <a:off x="8519483" y="5467492"/>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4" name="object 344"/>
          <p:cNvSpPr/>
          <p:nvPr/>
        </p:nvSpPr>
        <p:spPr>
          <a:xfrm>
            <a:off x="8519483" y="5474483"/>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5" name="object 345"/>
          <p:cNvSpPr/>
          <p:nvPr/>
        </p:nvSpPr>
        <p:spPr>
          <a:xfrm>
            <a:off x="8519483" y="5497746"/>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6" name="object 346"/>
          <p:cNvSpPr/>
          <p:nvPr/>
        </p:nvSpPr>
        <p:spPr>
          <a:xfrm>
            <a:off x="8519483" y="5509396"/>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7" name="object 347"/>
          <p:cNvSpPr/>
          <p:nvPr/>
        </p:nvSpPr>
        <p:spPr>
          <a:xfrm>
            <a:off x="8519483" y="5455862"/>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8" name="object 348"/>
          <p:cNvSpPr/>
          <p:nvPr/>
        </p:nvSpPr>
        <p:spPr>
          <a:xfrm>
            <a:off x="8519483" y="5439608"/>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49" name="object 349"/>
          <p:cNvSpPr/>
          <p:nvPr/>
        </p:nvSpPr>
        <p:spPr>
          <a:xfrm>
            <a:off x="8519483" y="5427991"/>
            <a:ext cx="0" cy="0"/>
          </a:xfrm>
          <a:custGeom>
            <a:avLst/>
            <a:gdLst/>
            <a:ahLst/>
            <a:cxnLst/>
            <a:rect l="l" t="t" r="r" b="b"/>
            <a:pathLst>
              <a:path>
                <a:moveTo>
                  <a:pt x="0" y="0"/>
                </a:moveTo>
                <a:lnTo>
                  <a:pt x="0" y="0"/>
                </a:lnTo>
              </a:path>
            </a:pathLst>
          </a:custGeom>
          <a:ln w="1270">
            <a:solidFill>
              <a:srgbClr val="FFFFFF"/>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0" name="object 350"/>
          <p:cNvSpPr/>
          <p:nvPr/>
        </p:nvSpPr>
        <p:spPr>
          <a:xfrm>
            <a:off x="8519483" y="5537248"/>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1" name="object 351"/>
          <p:cNvSpPr/>
          <p:nvPr/>
        </p:nvSpPr>
        <p:spPr>
          <a:xfrm>
            <a:off x="8519483" y="5525665"/>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2" name="object 352"/>
          <p:cNvSpPr/>
          <p:nvPr/>
        </p:nvSpPr>
        <p:spPr>
          <a:xfrm>
            <a:off x="8519483" y="5514027"/>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3" name="object 353"/>
          <p:cNvSpPr/>
          <p:nvPr/>
        </p:nvSpPr>
        <p:spPr>
          <a:xfrm>
            <a:off x="8519483" y="5502399"/>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4" name="object 354"/>
          <p:cNvSpPr/>
          <p:nvPr/>
        </p:nvSpPr>
        <p:spPr>
          <a:xfrm>
            <a:off x="8519483" y="5490750"/>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5" name="object 355"/>
          <p:cNvSpPr/>
          <p:nvPr/>
        </p:nvSpPr>
        <p:spPr>
          <a:xfrm>
            <a:off x="8519483" y="5479131"/>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6" name="object 356"/>
          <p:cNvSpPr/>
          <p:nvPr/>
        </p:nvSpPr>
        <p:spPr>
          <a:xfrm>
            <a:off x="8519483" y="5467492"/>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7" name="object 357"/>
          <p:cNvSpPr/>
          <p:nvPr/>
        </p:nvSpPr>
        <p:spPr>
          <a:xfrm>
            <a:off x="8519483" y="5455862"/>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8" name="object 358"/>
          <p:cNvSpPr/>
          <p:nvPr/>
        </p:nvSpPr>
        <p:spPr>
          <a:xfrm>
            <a:off x="8519483" y="5444234"/>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59" name="object 359"/>
          <p:cNvSpPr/>
          <p:nvPr/>
        </p:nvSpPr>
        <p:spPr>
          <a:xfrm>
            <a:off x="8519483" y="5432611"/>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0" name="object 360"/>
          <p:cNvSpPr/>
          <p:nvPr/>
        </p:nvSpPr>
        <p:spPr>
          <a:xfrm>
            <a:off x="8519483" y="5420993"/>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1" name="object 361"/>
          <p:cNvSpPr/>
          <p:nvPr/>
        </p:nvSpPr>
        <p:spPr>
          <a:xfrm>
            <a:off x="8519483" y="5409341"/>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2" name="object 362"/>
          <p:cNvSpPr/>
          <p:nvPr/>
        </p:nvSpPr>
        <p:spPr>
          <a:xfrm>
            <a:off x="8519483" y="5397716"/>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3" name="object 363"/>
          <p:cNvSpPr/>
          <p:nvPr/>
        </p:nvSpPr>
        <p:spPr>
          <a:xfrm>
            <a:off x="8519483" y="5386087"/>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4" name="object 364"/>
          <p:cNvSpPr/>
          <p:nvPr/>
        </p:nvSpPr>
        <p:spPr>
          <a:xfrm>
            <a:off x="8519483" y="5374396"/>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5" name="object 365"/>
          <p:cNvSpPr/>
          <p:nvPr/>
        </p:nvSpPr>
        <p:spPr>
          <a:xfrm>
            <a:off x="8519483" y="5363260"/>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6" name="object 366"/>
          <p:cNvSpPr/>
          <p:nvPr/>
        </p:nvSpPr>
        <p:spPr>
          <a:xfrm>
            <a:off x="8519483" y="5363264"/>
            <a:ext cx="150697" cy="184406"/>
          </a:xfrm>
          <a:custGeom>
            <a:avLst/>
            <a:gdLst/>
            <a:ahLst/>
            <a:cxnLst/>
            <a:rect l="l" t="t" r="r" b="b"/>
            <a:pathLst>
              <a:path w="214325" h="262267">
                <a:moveTo>
                  <a:pt x="214325" y="240957"/>
                </a:moveTo>
                <a:lnTo>
                  <a:pt x="214325" y="0"/>
                </a:lnTo>
                <a:lnTo>
                  <a:pt x="0" y="0"/>
                </a:lnTo>
                <a:lnTo>
                  <a:pt x="0" y="262267"/>
                </a:lnTo>
                <a:lnTo>
                  <a:pt x="214325" y="262267"/>
                </a:lnTo>
                <a:lnTo>
                  <a:pt x="214325" y="240957"/>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7" name="object 367"/>
          <p:cNvSpPr/>
          <p:nvPr/>
        </p:nvSpPr>
        <p:spPr>
          <a:xfrm>
            <a:off x="8338015" y="4919641"/>
            <a:ext cx="150760" cy="184255"/>
          </a:xfrm>
          <a:custGeom>
            <a:avLst/>
            <a:gdLst/>
            <a:ahLst/>
            <a:cxnLst/>
            <a:rect l="l" t="t" r="r" b="b"/>
            <a:pathLst>
              <a:path w="214414" h="262051">
                <a:moveTo>
                  <a:pt x="214414" y="0"/>
                </a:moveTo>
                <a:lnTo>
                  <a:pt x="0" y="0"/>
                </a:lnTo>
                <a:lnTo>
                  <a:pt x="0" y="262051"/>
                </a:lnTo>
                <a:lnTo>
                  <a:pt x="214414" y="262051"/>
                </a:lnTo>
                <a:lnTo>
                  <a:pt x="214414" y="0"/>
                </a:lnTo>
                <a:close/>
              </a:path>
            </a:pathLst>
          </a:custGeom>
          <a:solidFill>
            <a:srgbClr val="D3D2A1"/>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8" name="object 368"/>
          <p:cNvSpPr/>
          <p:nvPr/>
        </p:nvSpPr>
        <p:spPr>
          <a:xfrm>
            <a:off x="8338011" y="5316201"/>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69" name="object 369"/>
          <p:cNvSpPr/>
          <p:nvPr/>
        </p:nvSpPr>
        <p:spPr>
          <a:xfrm>
            <a:off x="8338011" y="5304570"/>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70" name="object 370"/>
          <p:cNvSpPr/>
          <p:nvPr/>
        </p:nvSpPr>
        <p:spPr>
          <a:xfrm>
            <a:off x="8338011" y="5292946"/>
            <a:ext cx="0" cy="0"/>
          </a:xfrm>
          <a:custGeom>
            <a:avLst/>
            <a:gdLst/>
            <a:ahLst/>
            <a:cxnLst/>
            <a:rect l="l" t="t" r="r" b="b"/>
            <a:pathLst>
              <a:path>
                <a:moveTo>
                  <a:pt x="0" y="0"/>
                </a:moveTo>
                <a:lnTo>
                  <a:pt x="0" y="0"/>
                </a:lnTo>
              </a:path>
            </a:pathLst>
          </a:custGeom>
          <a:ln w="1270">
            <a:solidFill>
              <a:srgbClr val="EDEEEC"/>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71" name="object 371"/>
          <p:cNvSpPr/>
          <p:nvPr/>
        </p:nvSpPr>
        <p:spPr>
          <a:xfrm>
            <a:off x="8338011" y="5141523"/>
            <a:ext cx="150760" cy="184353"/>
          </a:xfrm>
          <a:custGeom>
            <a:avLst/>
            <a:gdLst/>
            <a:ahLst/>
            <a:cxnLst/>
            <a:rect l="l" t="t" r="r" b="b"/>
            <a:pathLst>
              <a:path w="214414" h="262191">
                <a:moveTo>
                  <a:pt x="0" y="231889"/>
                </a:moveTo>
                <a:lnTo>
                  <a:pt x="0" y="262191"/>
                </a:lnTo>
                <a:lnTo>
                  <a:pt x="214414" y="262191"/>
                </a:lnTo>
                <a:lnTo>
                  <a:pt x="214414" y="0"/>
                </a:lnTo>
                <a:lnTo>
                  <a:pt x="0" y="0"/>
                </a:lnTo>
                <a:lnTo>
                  <a:pt x="0" y="231889"/>
                </a:lnTo>
                <a:close/>
              </a:path>
            </a:pathLst>
          </a:custGeom>
          <a:solidFill>
            <a:srgbClr val="A3A6A9"/>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72" name="object 372"/>
          <p:cNvSpPr/>
          <p:nvPr/>
        </p:nvSpPr>
        <p:spPr>
          <a:xfrm>
            <a:off x="7410371" y="5059536"/>
            <a:ext cx="143" cy="2357"/>
          </a:xfrm>
          <a:custGeom>
            <a:avLst/>
            <a:gdLst/>
            <a:ahLst/>
            <a:cxnLst/>
            <a:rect l="l" t="t" r="r" b="b"/>
            <a:pathLst>
              <a:path w="203" h="3352">
                <a:moveTo>
                  <a:pt x="0" y="0"/>
                </a:moveTo>
                <a:lnTo>
                  <a:pt x="203" y="3352"/>
                </a:lnTo>
                <a:lnTo>
                  <a:pt x="25" y="241"/>
                </a:lnTo>
                <a:lnTo>
                  <a:pt x="0"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73" name="object 373"/>
          <p:cNvSpPr/>
          <p:nvPr/>
        </p:nvSpPr>
        <p:spPr>
          <a:xfrm>
            <a:off x="6870698" y="5788436"/>
            <a:ext cx="207534" cy="104245"/>
          </a:xfrm>
          <a:custGeom>
            <a:avLst/>
            <a:gdLst/>
            <a:ahLst/>
            <a:cxnLst/>
            <a:rect l="l" t="t" r="r" b="b"/>
            <a:pathLst>
              <a:path w="295160" h="148259">
                <a:moveTo>
                  <a:pt x="24555" y="135532"/>
                </a:moveTo>
                <a:lnTo>
                  <a:pt x="23727" y="135944"/>
                </a:lnTo>
                <a:lnTo>
                  <a:pt x="21943" y="136857"/>
                </a:lnTo>
                <a:lnTo>
                  <a:pt x="24555" y="135532"/>
                </a:lnTo>
                <a:close/>
              </a:path>
              <a:path w="295160" h="148259">
                <a:moveTo>
                  <a:pt x="28823" y="133407"/>
                </a:moveTo>
                <a:lnTo>
                  <a:pt x="25059" y="135275"/>
                </a:lnTo>
                <a:lnTo>
                  <a:pt x="24555" y="135532"/>
                </a:lnTo>
                <a:lnTo>
                  <a:pt x="28823" y="133407"/>
                </a:lnTo>
                <a:close/>
              </a:path>
              <a:path w="295160" h="148259">
                <a:moveTo>
                  <a:pt x="36720" y="129489"/>
                </a:moveTo>
                <a:lnTo>
                  <a:pt x="35682" y="129993"/>
                </a:lnTo>
                <a:lnTo>
                  <a:pt x="28823" y="133407"/>
                </a:lnTo>
                <a:lnTo>
                  <a:pt x="36720" y="129489"/>
                </a:lnTo>
                <a:close/>
              </a:path>
              <a:path w="295160" h="148259">
                <a:moveTo>
                  <a:pt x="38637" y="128560"/>
                </a:moveTo>
                <a:lnTo>
                  <a:pt x="36964" y="129368"/>
                </a:lnTo>
                <a:lnTo>
                  <a:pt x="36720" y="129489"/>
                </a:lnTo>
                <a:lnTo>
                  <a:pt x="38637" y="128560"/>
                </a:lnTo>
                <a:close/>
              </a:path>
              <a:path w="295160" h="148259">
                <a:moveTo>
                  <a:pt x="48410" y="123834"/>
                </a:moveTo>
                <a:lnTo>
                  <a:pt x="78600" y="109791"/>
                </a:lnTo>
                <a:lnTo>
                  <a:pt x="68672" y="114327"/>
                </a:lnTo>
                <a:lnTo>
                  <a:pt x="58188" y="119198"/>
                </a:lnTo>
                <a:lnTo>
                  <a:pt x="47180" y="124415"/>
                </a:lnTo>
                <a:lnTo>
                  <a:pt x="38637" y="128560"/>
                </a:lnTo>
                <a:lnTo>
                  <a:pt x="48410" y="123834"/>
                </a:lnTo>
                <a:close/>
              </a:path>
              <a:path w="295160" h="148259">
                <a:moveTo>
                  <a:pt x="78600" y="109791"/>
                </a:moveTo>
                <a:lnTo>
                  <a:pt x="90067" y="104591"/>
                </a:lnTo>
                <a:lnTo>
                  <a:pt x="101535" y="99300"/>
                </a:lnTo>
                <a:lnTo>
                  <a:pt x="113001" y="93947"/>
                </a:lnTo>
                <a:lnTo>
                  <a:pt x="124462" y="88532"/>
                </a:lnTo>
                <a:lnTo>
                  <a:pt x="135915" y="83056"/>
                </a:lnTo>
                <a:lnTo>
                  <a:pt x="147357" y="77521"/>
                </a:lnTo>
                <a:lnTo>
                  <a:pt x="158785" y="71928"/>
                </a:lnTo>
                <a:lnTo>
                  <a:pt x="170198" y="66278"/>
                </a:lnTo>
                <a:lnTo>
                  <a:pt x="181591" y="60572"/>
                </a:lnTo>
                <a:lnTo>
                  <a:pt x="191234" y="55688"/>
                </a:lnTo>
                <a:lnTo>
                  <a:pt x="182103" y="60310"/>
                </a:lnTo>
                <a:lnTo>
                  <a:pt x="170707" y="66013"/>
                </a:lnTo>
                <a:lnTo>
                  <a:pt x="159291" y="71661"/>
                </a:lnTo>
                <a:lnTo>
                  <a:pt x="147860" y="77253"/>
                </a:lnTo>
                <a:lnTo>
                  <a:pt x="136415" y="82786"/>
                </a:lnTo>
                <a:lnTo>
                  <a:pt x="124958" y="88260"/>
                </a:lnTo>
                <a:lnTo>
                  <a:pt x="113494" y="93675"/>
                </a:lnTo>
                <a:lnTo>
                  <a:pt x="102025" y="99027"/>
                </a:lnTo>
                <a:lnTo>
                  <a:pt x="90554" y="104317"/>
                </a:lnTo>
                <a:lnTo>
                  <a:pt x="82232" y="108115"/>
                </a:lnTo>
                <a:lnTo>
                  <a:pt x="78600" y="109791"/>
                </a:lnTo>
                <a:close/>
              </a:path>
              <a:path w="295160" h="148259">
                <a:moveTo>
                  <a:pt x="193476" y="54552"/>
                </a:moveTo>
                <a:lnTo>
                  <a:pt x="204825" y="48742"/>
                </a:lnTo>
                <a:lnTo>
                  <a:pt x="217067" y="42399"/>
                </a:lnTo>
                <a:lnTo>
                  <a:pt x="228340" y="36485"/>
                </a:lnTo>
                <a:lnTo>
                  <a:pt x="239578" y="30521"/>
                </a:lnTo>
                <a:lnTo>
                  <a:pt x="250777" y="24508"/>
                </a:lnTo>
                <a:lnTo>
                  <a:pt x="261937" y="18448"/>
                </a:lnTo>
                <a:lnTo>
                  <a:pt x="273055" y="12342"/>
                </a:lnTo>
                <a:lnTo>
                  <a:pt x="281435" y="7688"/>
                </a:lnTo>
                <a:lnTo>
                  <a:pt x="271707" y="13080"/>
                </a:lnTo>
                <a:lnTo>
                  <a:pt x="260569" y="19184"/>
                </a:lnTo>
                <a:lnTo>
                  <a:pt x="249389" y="25243"/>
                </a:lnTo>
                <a:lnTo>
                  <a:pt x="238170" y="31256"/>
                </a:lnTo>
                <a:lnTo>
                  <a:pt x="226915" y="37220"/>
                </a:lnTo>
                <a:lnTo>
                  <a:pt x="215626" y="43135"/>
                </a:lnTo>
                <a:lnTo>
                  <a:pt x="204308" y="49000"/>
                </a:lnTo>
                <a:lnTo>
                  <a:pt x="192962" y="54812"/>
                </a:lnTo>
                <a:lnTo>
                  <a:pt x="191234" y="55688"/>
                </a:lnTo>
                <a:lnTo>
                  <a:pt x="193476" y="54552"/>
                </a:lnTo>
                <a:close/>
              </a:path>
              <a:path w="295160" h="148259">
                <a:moveTo>
                  <a:pt x="282801" y="6931"/>
                </a:moveTo>
                <a:lnTo>
                  <a:pt x="283081" y="6774"/>
                </a:lnTo>
                <a:lnTo>
                  <a:pt x="281435" y="7688"/>
                </a:lnTo>
                <a:lnTo>
                  <a:pt x="282801" y="6931"/>
                </a:lnTo>
                <a:close/>
              </a:path>
              <a:path w="295160" h="148259">
                <a:moveTo>
                  <a:pt x="284130" y="6192"/>
                </a:moveTo>
                <a:lnTo>
                  <a:pt x="290086" y="2848"/>
                </a:lnTo>
                <a:lnTo>
                  <a:pt x="283081" y="6774"/>
                </a:lnTo>
                <a:lnTo>
                  <a:pt x="284130" y="6192"/>
                </a:lnTo>
                <a:close/>
              </a:path>
              <a:path w="295160" h="148259">
                <a:moveTo>
                  <a:pt x="293847" y="740"/>
                </a:moveTo>
                <a:lnTo>
                  <a:pt x="295160" y="0"/>
                </a:lnTo>
                <a:lnTo>
                  <a:pt x="290086" y="2848"/>
                </a:lnTo>
                <a:lnTo>
                  <a:pt x="293847" y="74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74" name="object 374"/>
          <p:cNvSpPr/>
          <p:nvPr/>
        </p:nvSpPr>
        <p:spPr>
          <a:xfrm>
            <a:off x="7416200" y="5203028"/>
            <a:ext cx="356" cy="35647"/>
          </a:xfrm>
          <a:custGeom>
            <a:avLst/>
            <a:gdLst/>
            <a:ahLst/>
            <a:cxnLst/>
            <a:rect l="l" t="t" r="r" b="b"/>
            <a:pathLst>
              <a:path w="507" h="50698">
                <a:moveTo>
                  <a:pt x="507" y="10858"/>
                </a:moveTo>
                <a:lnTo>
                  <a:pt x="190" y="5410"/>
                </a:lnTo>
                <a:lnTo>
                  <a:pt x="152" y="0"/>
                </a:lnTo>
                <a:lnTo>
                  <a:pt x="142" y="38118"/>
                </a:lnTo>
                <a:lnTo>
                  <a:pt x="0" y="50698"/>
                </a:lnTo>
                <a:lnTo>
                  <a:pt x="223" y="38009"/>
                </a:lnTo>
                <a:lnTo>
                  <a:pt x="444" y="25317"/>
                </a:lnTo>
                <a:lnTo>
                  <a:pt x="507" y="10858"/>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75" name="object 375"/>
          <p:cNvSpPr/>
          <p:nvPr/>
        </p:nvSpPr>
        <p:spPr>
          <a:xfrm>
            <a:off x="7426551" y="4917381"/>
            <a:ext cx="3812" cy="9483"/>
          </a:xfrm>
          <a:custGeom>
            <a:avLst/>
            <a:gdLst/>
            <a:ahLst/>
            <a:cxnLst/>
            <a:rect l="l" t="t" r="r" b="b"/>
            <a:pathLst>
              <a:path w="5422" h="13487">
                <a:moveTo>
                  <a:pt x="2603" y="6642"/>
                </a:moveTo>
                <a:lnTo>
                  <a:pt x="0" y="13487"/>
                </a:lnTo>
                <a:lnTo>
                  <a:pt x="2628" y="6654"/>
                </a:lnTo>
                <a:lnTo>
                  <a:pt x="5422" y="0"/>
                </a:lnTo>
                <a:lnTo>
                  <a:pt x="2603" y="6642"/>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76" name="object 376"/>
          <p:cNvSpPr/>
          <p:nvPr/>
        </p:nvSpPr>
        <p:spPr>
          <a:xfrm>
            <a:off x="7417215" y="4948056"/>
            <a:ext cx="2303" cy="9090"/>
          </a:xfrm>
          <a:custGeom>
            <a:avLst/>
            <a:gdLst/>
            <a:ahLst/>
            <a:cxnLst/>
            <a:rect l="l" t="t" r="r" b="b"/>
            <a:pathLst>
              <a:path w="3276" h="12928">
                <a:moveTo>
                  <a:pt x="1574" y="6388"/>
                </a:moveTo>
                <a:lnTo>
                  <a:pt x="0" y="12928"/>
                </a:lnTo>
                <a:lnTo>
                  <a:pt x="1574" y="6400"/>
                </a:lnTo>
                <a:lnTo>
                  <a:pt x="3276" y="0"/>
                </a:lnTo>
                <a:lnTo>
                  <a:pt x="1574" y="6388"/>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78" name="object 378"/>
          <p:cNvSpPr/>
          <p:nvPr/>
        </p:nvSpPr>
        <p:spPr>
          <a:xfrm>
            <a:off x="7409310" y="5036138"/>
            <a:ext cx="446" cy="11617"/>
          </a:xfrm>
          <a:custGeom>
            <a:avLst/>
            <a:gdLst/>
            <a:ahLst/>
            <a:cxnLst/>
            <a:rect l="l" t="t" r="r" b="b"/>
            <a:pathLst>
              <a:path w="634" h="16522">
                <a:moveTo>
                  <a:pt x="368" y="10960"/>
                </a:moveTo>
                <a:lnTo>
                  <a:pt x="241" y="8185"/>
                </a:lnTo>
                <a:lnTo>
                  <a:pt x="368" y="10972"/>
                </a:lnTo>
                <a:lnTo>
                  <a:pt x="634" y="16522"/>
                </a:lnTo>
                <a:lnTo>
                  <a:pt x="368" y="10960"/>
                </a:lnTo>
                <a:close/>
              </a:path>
              <a:path w="634" h="16522">
                <a:moveTo>
                  <a:pt x="114" y="5397"/>
                </a:moveTo>
                <a:lnTo>
                  <a:pt x="0" y="0"/>
                </a:lnTo>
                <a:lnTo>
                  <a:pt x="114" y="5410"/>
                </a:lnTo>
                <a:lnTo>
                  <a:pt x="241" y="8185"/>
                </a:lnTo>
                <a:lnTo>
                  <a:pt x="114" y="5397"/>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79" name="object 379"/>
          <p:cNvSpPr/>
          <p:nvPr/>
        </p:nvSpPr>
        <p:spPr>
          <a:xfrm>
            <a:off x="7409328" y="5015984"/>
            <a:ext cx="151" cy="7661"/>
          </a:xfrm>
          <a:custGeom>
            <a:avLst/>
            <a:gdLst/>
            <a:ahLst/>
            <a:cxnLst/>
            <a:rect l="l" t="t" r="r" b="b"/>
            <a:pathLst>
              <a:path w="215" h="10896">
                <a:moveTo>
                  <a:pt x="25" y="5384"/>
                </a:moveTo>
                <a:lnTo>
                  <a:pt x="0" y="10896"/>
                </a:lnTo>
                <a:lnTo>
                  <a:pt x="38" y="5384"/>
                </a:lnTo>
                <a:lnTo>
                  <a:pt x="215" y="0"/>
                </a:lnTo>
                <a:lnTo>
                  <a:pt x="25" y="5384"/>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80" name="object 380"/>
          <p:cNvSpPr/>
          <p:nvPr/>
        </p:nvSpPr>
        <p:spPr>
          <a:xfrm>
            <a:off x="7115649" y="5757280"/>
            <a:ext cx="15538" cy="9438"/>
          </a:xfrm>
          <a:custGeom>
            <a:avLst/>
            <a:gdLst/>
            <a:ahLst/>
            <a:cxnLst/>
            <a:rect l="l" t="t" r="r" b="b"/>
            <a:pathLst>
              <a:path w="22098" h="13423">
                <a:moveTo>
                  <a:pt x="11277" y="6612"/>
                </a:moveTo>
                <a:lnTo>
                  <a:pt x="2169" y="12115"/>
                </a:lnTo>
                <a:lnTo>
                  <a:pt x="10897" y="6849"/>
                </a:lnTo>
                <a:lnTo>
                  <a:pt x="21710" y="237"/>
                </a:lnTo>
                <a:lnTo>
                  <a:pt x="22098" y="0"/>
                </a:lnTo>
                <a:lnTo>
                  <a:pt x="11277" y="6612"/>
                </a:lnTo>
                <a:close/>
              </a:path>
              <a:path w="22098" h="13423">
                <a:moveTo>
                  <a:pt x="2169" y="12115"/>
                </a:moveTo>
                <a:lnTo>
                  <a:pt x="0" y="13423"/>
                </a:lnTo>
                <a:lnTo>
                  <a:pt x="392" y="13188"/>
                </a:lnTo>
                <a:lnTo>
                  <a:pt x="2169" y="12115"/>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81" name="object 381"/>
          <p:cNvSpPr/>
          <p:nvPr/>
        </p:nvSpPr>
        <p:spPr>
          <a:xfrm>
            <a:off x="7414556" y="5130973"/>
            <a:ext cx="705" cy="22520"/>
          </a:xfrm>
          <a:custGeom>
            <a:avLst/>
            <a:gdLst/>
            <a:ahLst/>
            <a:cxnLst/>
            <a:rect l="l" t="t" r="r" b="b"/>
            <a:pathLst>
              <a:path w="1003" h="32029">
                <a:moveTo>
                  <a:pt x="638" y="19329"/>
                </a:moveTo>
                <a:lnTo>
                  <a:pt x="615" y="18533"/>
                </a:lnTo>
                <a:lnTo>
                  <a:pt x="802" y="25386"/>
                </a:lnTo>
                <a:lnTo>
                  <a:pt x="1003" y="32029"/>
                </a:lnTo>
                <a:lnTo>
                  <a:pt x="638" y="19329"/>
                </a:lnTo>
                <a:close/>
              </a:path>
              <a:path w="1003" h="32029">
                <a:moveTo>
                  <a:pt x="381" y="10622"/>
                </a:moveTo>
                <a:lnTo>
                  <a:pt x="263" y="6641"/>
                </a:lnTo>
                <a:lnTo>
                  <a:pt x="0" y="0"/>
                </a:lnTo>
                <a:lnTo>
                  <a:pt x="381" y="10622"/>
                </a:lnTo>
                <a:close/>
              </a:path>
              <a:path w="1003" h="32029">
                <a:moveTo>
                  <a:pt x="615" y="18533"/>
                </a:moveTo>
                <a:lnTo>
                  <a:pt x="455" y="12694"/>
                </a:lnTo>
                <a:lnTo>
                  <a:pt x="381" y="10622"/>
                </a:lnTo>
                <a:lnTo>
                  <a:pt x="615" y="18533"/>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82" name="object 382"/>
          <p:cNvSpPr/>
          <p:nvPr/>
        </p:nvSpPr>
        <p:spPr>
          <a:xfrm>
            <a:off x="7410112" y="4996635"/>
            <a:ext cx="625" cy="7857"/>
          </a:xfrm>
          <a:custGeom>
            <a:avLst/>
            <a:gdLst/>
            <a:ahLst/>
            <a:cxnLst/>
            <a:rect l="l" t="t" r="r" b="b"/>
            <a:pathLst>
              <a:path w="889" h="11175">
                <a:moveTo>
                  <a:pt x="368" y="5511"/>
                </a:moveTo>
                <a:lnTo>
                  <a:pt x="0" y="11175"/>
                </a:lnTo>
                <a:lnTo>
                  <a:pt x="368" y="5524"/>
                </a:lnTo>
                <a:lnTo>
                  <a:pt x="889" y="0"/>
                </a:lnTo>
                <a:lnTo>
                  <a:pt x="368" y="5511"/>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83" name="object 383"/>
          <p:cNvSpPr/>
          <p:nvPr/>
        </p:nvSpPr>
        <p:spPr>
          <a:xfrm>
            <a:off x="7411894" y="4978128"/>
            <a:ext cx="1169" cy="8188"/>
          </a:xfrm>
          <a:custGeom>
            <a:avLst/>
            <a:gdLst/>
            <a:ahLst/>
            <a:cxnLst/>
            <a:rect l="l" t="t" r="r" b="b"/>
            <a:pathLst>
              <a:path w="1663" h="11645">
                <a:moveTo>
                  <a:pt x="749" y="5753"/>
                </a:moveTo>
                <a:lnTo>
                  <a:pt x="0" y="11645"/>
                </a:lnTo>
                <a:lnTo>
                  <a:pt x="762" y="5753"/>
                </a:lnTo>
                <a:lnTo>
                  <a:pt x="1663" y="0"/>
                </a:lnTo>
                <a:lnTo>
                  <a:pt x="749" y="5753"/>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84" name="object 384"/>
          <p:cNvSpPr/>
          <p:nvPr/>
        </p:nvSpPr>
        <p:spPr>
          <a:xfrm>
            <a:off x="7413862" y="4960457"/>
            <a:ext cx="2580" cy="12956"/>
          </a:xfrm>
          <a:custGeom>
            <a:avLst/>
            <a:gdLst/>
            <a:ahLst/>
            <a:cxnLst/>
            <a:rect l="l" t="t" r="r" b="b"/>
            <a:pathLst>
              <a:path w="3670" h="18427">
                <a:moveTo>
                  <a:pt x="2298" y="6007"/>
                </a:moveTo>
                <a:lnTo>
                  <a:pt x="1736" y="8939"/>
                </a:lnTo>
                <a:lnTo>
                  <a:pt x="2324" y="6007"/>
                </a:lnTo>
                <a:lnTo>
                  <a:pt x="3670" y="0"/>
                </a:lnTo>
                <a:lnTo>
                  <a:pt x="2298" y="6007"/>
                </a:lnTo>
                <a:close/>
              </a:path>
              <a:path w="3670" h="18427">
                <a:moveTo>
                  <a:pt x="1092" y="12153"/>
                </a:moveTo>
                <a:lnTo>
                  <a:pt x="0" y="18427"/>
                </a:lnTo>
                <a:lnTo>
                  <a:pt x="1117" y="12166"/>
                </a:lnTo>
                <a:lnTo>
                  <a:pt x="1736" y="8939"/>
                </a:lnTo>
                <a:lnTo>
                  <a:pt x="1092" y="12153"/>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85" name="object 385"/>
          <p:cNvSpPr/>
          <p:nvPr/>
        </p:nvSpPr>
        <p:spPr>
          <a:xfrm>
            <a:off x="7422916" y="4927767"/>
            <a:ext cx="3277" cy="9117"/>
          </a:xfrm>
          <a:custGeom>
            <a:avLst/>
            <a:gdLst/>
            <a:ahLst/>
            <a:cxnLst/>
            <a:rect l="l" t="t" r="r" b="b"/>
            <a:pathLst>
              <a:path w="4660" h="12966">
                <a:moveTo>
                  <a:pt x="2235" y="6388"/>
                </a:moveTo>
                <a:lnTo>
                  <a:pt x="0" y="12966"/>
                </a:lnTo>
                <a:lnTo>
                  <a:pt x="2260" y="6388"/>
                </a:lnTo>
                <a:lnTo>
                  <a:pt x="4660" y="0"/>
                </a:lnTo>
                <a:lnTo>
                  <a:pt x="2235" y="6388"/>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86" name="object 386"/>
          <p:cNvSpPr/>
          <p:nvPr/>
        </p:nvSpPr>
        <p:spPr>
          <a:xfrm>
            <a:off x="7358843" y="5557681"/>
            <a:ext cx="3049" cy="5754"/>
          </a:xfrm>
          <a:custGeom>
            <a:avLst/>
            <a:gdLst/>
            <a:ahLst/>
            <a:cxnLst/>
            <a:rect l="l" t="t" r="r" b="b"/>
            <a:pathLst>
              <a:path w="4337" h="8184">
                <a:moveTo>
                  <a:pt x="0" y="8184"/>
                </a:moveTo>
                <a:lnTo>
                  <a:pt x="541" y="7360"/>
                </a:lnTo>
                <a:lnTo>
                  <a:pt x="2294" y="4096"/>
                </a:lnTo>
                <a:lnTo>
                  <a:pt x="3640" y="1492"/>
                </a:lnTo>
                <a:lnTo>
                  <a:pt x="4337" y="0"/>
                </a:lnTo>
                <a:lnTo>
                  <a:pt x="1921" y="4785"/>
                </a:lnTo>
                <a:lnTo>
                  <a:pt x="0" y="8184"/>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87" name="object 387"/>
          <p:cNvSpPr/>
          <p:nvPr/>
        </p:nvSpPr>
        <p:spPr>
          <a:xfrm>
            <a:off x="7351702" y="5563435"/>
            <a:ext cx="7140" cy="12194"/>
          </a:xfrm>
          <a:custGeom>
            <a:avLst/>
            <a:gdLst/>
            <a:ahLst/>
            <a:cxnLst/>
            <a:rect l="l" t="t" r="r" b="b"/>
            <a:pathLst>
              <a:path w="10154" h="17342">
                <a:moveTo>
                  <a:pt x="8702" y="2211"/>
                </a:moveTo>
                <a:lnTo>
                  <a:pt x="6860" y="5411"/>
                </a:lnTo>
                <a:lnTo>
                  <a:pt x="4333" y="9805"/>
                </a:lnTo>
                <a:lnTo>
                  <a:pt x="3037" y="11990"/>
                </a:lnTo>
                <a:lnTo>
                  <a:pt x="1069" y="15279"/>
                </a:lnTo>
                <a:lnTo>
                  <a:pt x="0" y="17342"/>
                </a:lnTo>
                <a:lnTo>
                  <a:pt x="3174" y="12347"/>
                </a:lnTo>
                <a:lnTo>
                  <a:pt x="10154" y="0"/>
                </a:lnTo>
                <a:lnTo>
                  <a:pt x="8702" y="2211"/>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88" name="object 388"/>
          <p:cNvSpPr/>
          <p:nvPr/>
        </p:nvSpPr>
        <p:spPr>
          <a:xfrm>
            <a:off x="7348183" y="5575629"/>
            <a:ext cx="3519" cy="5539"/>
          </a:xfrm>
          <a:custGeom>
            <a:avLst/>
            <a:gdLst/>
            <a:ahLst/>
            <a:cxnLst/>
            <a:rect l="l" t="t" r="r" b="b"/>
            <a:pathLst>
              <a:path w="5005" h="7878">
                <a:moveTo>
                  <a:pt x="5005" y="0"/>
                </a:moveTo>
                <a:lnTo>
                  <a:pt x="0" y="7878"/>
                </a:lnTo>
                <a:lnTo>
                  <a:pt x="2227" y="4591"/>
                </a:lnTo>
                <a:lnTo>
                  <a:pt x="4284" y="1391"/>
                </a:lnTo>
                <a:lnTo>
                  <a:pt x="5005"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89" name="object 389"/>
          <p:cNvSpPr/>
          <p:nvPr/>
        </p:nvSpPr>
        <p:spPr>
          <a:xfrm>
            <a:off x="7317209" y="5589186"/>
            <a:ext cx="25351" cy="28552"/>
          </a:xfrm>
          <a:custGeom>
            <a:avLst/>
            <a:gdLst/>
            <a:ahLst/>
            <a:cxnLst/>
            <a:rect l="l" t="t" r="r" b="b"/>
            <a:pathLst>
              <a:path w="36055" h="40607">
                <a:moveTo>
                  <a:pt x="36055" y="0"/>
                </a:moveTo>
                <a:lnTo>
                  <a:pt x="31437" y="6205"/>
                </a:lnTo>
                <a:lnTo>
                  <a:pt x="23418" y="16027"/>
                </a:lnTo>
                <a:lnTo>
                  <a:pt x="15009" y="25424"/>
                </a:lnTo>
                <a:lnTo>
                  <a:pt x="12115" y="28465"/>
                </a:lnTo>
                <a:lnTo>
                  <a:pt x="9309" y="31602"/>
                </a:lnTo>
                <a:lnTo>
                  <a:pt x="0" y="40607"/>
                </a:lnTo>
                <a:lnTo>
                  <a:pt x="4572" y="36136"/>
                </a:lnTo>
                <a:lnTo>
                  <a:pt x="9334" y="31602"/>
                </a:lnTo>
                <a:lnTo>
                  <a:pt x="21208" y="18854"/>
                </a:lnTo>
                <a:lnTo>
                  <a:pt x="32296" y="5240"/>
                </a:lnTo>
                <a:lnTo>
                  <a:pt x="36055"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90" name="object 390"/>
          <p:cNvSpPr/>
          <p:nvPr/>
        </p:nvSpPr>
        <p:spPr>
          <a:xfrm>
            <a:off x="7177327" y="5617492"/>
            <a:ext cx="140277" cy="110424"/>
          </a:xfrm>
          <a:custGeom>
            <a:avLst/>
            <a:gdLst/>
            <a:ahLst/>
            <a:cxnLst/>
            <a:rect l="l" t="t" r="r" b="b"/>
            <a:pathLst>
              <a:path w="199505" h="157047">
                <a:moveTo>
                  <a:pt x="4776" y="153873"/>
                </a:moveTo>
                <a:lnTo>
                  <a:pt x="17814" y="145085"/>
                </a:lnTo>
                <a:lnTo>
                  <a:pt x="29951" y="136755"/>
                </a:lnTo>
                <a:lnTo>
                  <a:pt x="41936" y="128389"/>
                </a:lnTo>
                <a:lnTo>
                  <a:pt x="53761" y="119988"/>
                </a:lnTo>
                <a:lnTo>
                  <a:pt x="65422" y="111556"/>
                </a:lnTo>
                <a:lnTo>
                  <a:pt x="76913" y="103093"/>
                </a:lnTo>
                <a:lnTo>
                  <a:pt x="88228" y="94603"/>
                </a:lnTo>
                <a:lnTo>
                  <a:pt x="99362" y="86087"/>
                </a:lnTo>
                <a:lnTo>
                  <a:pt x="110309" y="77548"/>
                </a:lnTo>
                <a:lnTo>
                  <a:pt x="121064" y="68988"/>
                </a:lnTo>
                <a:lnTo>
                  <a:pt x="131621" y="60408"/>
                </a:lnTo>
                <a:lnTo>
                  <a:pt x="141974" y="51812"/>
                </a:lnTo>
                <a:lnTo>
                  <a:pt x="152118" y="43201"/>
                </a:lnTo>
                <a:lnTo>
                  <a:pt x="162047" y="34577"/>
                </a:lnTo>
                <a:lnTo>
                  <a:pt x="171756" y="25943"/>
                </a:lnTo>
                <a:lnTo>
                  <a:pt x="181239" y="17300"/>
                </a:lnTo>
                <a:lnTo>
                  <a:pt x="190491" y="8652"/>
                </a:lnTo>
                <a:lnTo>
                  <a:pt x="199505" y="0"/>
                </a:lnTo>
                <a:lnTo>
                  <a:pt x="198942" y="350"/>
                </a:lnTo>
                <a:lnTo>
                  <a:pt x="194320" y="4744"/>
                </a:lnTo>
                <a:lnTo>
                  <a:pt x="190865" y="8071"/>
                </a:lnTo>
                <a:lnTo>
                  <a:pt x="187538" y="11399"/>
                </a:lnTo>
                <a:lnTo>
                  <a:pt x="183956" y="14726"/>
                </a:lnTo>
                <a:lnTo>
                  <a:pt x="179118" y="19095"/>
                </a:lnTo>
                <a:lnTo>
                  <a:pt x="176717" y="21292"/>
                </a:lnTo>
                <a:lnTo>
                  <a:pt x="173085" y="24619"/>
                </a:lnTo>
                <a:lnTo>
                  <a:pt x="169326" y="27934"/>
                </a:lnTo>
                <a:lnTo>
                  <a:pt x="165580" y="31249"/>
                </a:lnTo>
                <a:lnTo>
                  <a:pt x="160728" y="35630"/>
                </a:lnTo>
                <a:lnTo>
                  <a:pt x="157426" y="38526"/>
                </a:lnTo>
                <a:lnTo>
                  <a:pt x="154378" y="41205"/>
                </a:lnTo>
                <a:lnTo>
                  <a:pt x="151343" y="43822"/>
                </a:lnTo>
                <a:lnTo>
                  <a:pt x="146555" y="47771"/>
                </a:lnTo>
                <a:lnTo>
                  <a:pt x="143977" y="49968"/>
                </a:lnTo>
                <a:lnTo>
                  <a:pt x="141323" y="52153"/>
                </a:lnTo>
                <a:lnTo>
                  <a:pt x="138706" y="54350"/>
                </a:lnTo>
                <a:lnTo>
                  <a:pt x="136890" y="55874"/>
                </a:lnTo>
                <a:lnTo>
                  <a:pt x="127587" y="63529"/>
                </a:lnTo>
                <a:lnTo>
                  <a:pt x="118128" y="71170"/>
                </a:lnTo>
                <a:lnTo>
                  <a:pt x="108519" y="78796"/>
                </a:lnTo>
                <a:lnTo>
                  <a:pt x="98761" y="86405"/>
                </a:lnTo>
                <a:lnTo>
                  <a:pt x="88857" y="93996"/>
                </a:lnTo>
                <a:lnTo>
                  <a:pt x="78812" y="101567"/>
                </a:lnTo>
                <a:lnTo>
                  <a:pt x="68627" y="109117"/>
                </a:lnTo>
                <a:lnTo>
                  <a:pt x="58307" y="116643"/>
                </a:lnTo>
                <a:lnTo>
                  <a:pt x="47854" y="124145"/>
                </a:lnTo>
                <a:lnTo>
                  <a:pt x="37271" y="131620"/>
                </a:lnTo>
                <a:lnTo>
                  <a:pt x="26562" y="139068"/>
                </a:lnTo>
                <a:lnTo>
                  <a:pt x="15729" y="146486"/>
                </a:lnTo>
                <a:lnTo>
                  <a:pt x="4776" y="153873"/>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91" name="object 391"/>
          <p:cNvSpPr/>
          <p:nvPr/>
        </p:nvSpPr>
        <p:spPr>
          <a:xfrm>
            <a:off x="7342561" y="5584421"/>
            <a:ext cx="3418" cy="4765"/>
          </a:xfrm>
          <a:custGeom>
            <a:avLst/>
            <a:gdLst/>
            <a:ahLst/>
            <a:cxnLst/>
            <a:rect l="l" t="t" r="r" b="b"/>
            <a:pathLst>
              <a:path w="4861" h="6777">
                <a:moveTo>
                  <a:pt x="4861" y="0"/>
                </a:moveTo>
                <a:lnTo>
                  <a:pt x="0" y="6777"/>
                </a:lnTo>
                <a:lnTo>
                  <a:pt x="3003" y="2741"/>
                </a:lnTo>
                <a:lnTo>
                  <a:pt x="4861"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92" name="object 392"/>
          <p:cNvSpPr/>
          <p:nvPr/>
        </p:nvSpPr>
        <p:spPr>
          <a:xfrm>
            <a:off x="7345980" y="5581169"/>
            <a:ext cx="2203" cy="3251"/>
          </a:xfrm>
          <a:custGeom>
            <a:avLst/>
            <a:gdLst/>
            <a:ahLst/>
            <a:cxnLst/>
            <a:rect l="l" t="t" r="r" b="b"/>
            <a:pathLst>
              <a:path w="3133" h="4624">
                <a:moveTo>
                  <a:pt x="3133" y="0"/>
                </a:moveTo>
                <a:lnTo>
                  <a:pt x="0" y="4624"/>
                </a:lnTo>
                <a:lnTo>
                  <a:pt x="1710" y="2239"/>
                </a:lnTo>
                <a:lnTo>
                  <a:pt x="3133"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93" name="object 393"/>
          <p:cNvSpPr/>
          <p:nvPr/>
        </p:nvSpPr>
        <p:spPr>
          <a:xfrm>
            <a:off x="7369432" y="5539841"/>
            <a:ext cx="953" cy="2110"/>
          </a:xfrm>
          <a:custGeom>
            <a:avLst/>
            <a:gdLst/>
            <a:ahLst/>
            <a:cxnLst/>
            <a:rect l="l" t="t" r="r" b="b"/>
            <a:pathLst>
              <a:path w="1356" h="3001">
                <a:moveTo>
                  <a:pt x="1356" y="0"/>
                </a:moveTo>
                <a:lnTo>
                  <a:pt x="0" y="3001"/>
                </a:lnTo>
                <a:lnTo>
                  <a:pt x="988" y="944"/>
                </a:lnTo>
                <a:lnTo>
                  <a:pt x="1356"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94" name="object 394"/>
          <p:cNvSpPr/>
          <p:nvPr/>
        </p:nvSpPr>
        <p:spPr>
          <a:xfrm>
            <a:off x="7379241" y="5497530"/>
            <a:ext cx="6560" cy="19882"/>
          </a:xfrm>
          <a:custGeom>
            <a:avLst/>
            <a:gdLst/>
            <a:ahLst/>
            <a:cxnLst/>
            <a:rect l="l" t="t" r="r" b="b"/>
            <a:pathLst>
              <a:path w="9330" h="28277">
                <a:moveTo>
                  <a:pt x="2079" y="22575"/>
                </a:moveTo>
                <a:lnTo>
                  <a:pt x="7903" y="4831"/>
                </a:lnTo>
                <a:lnTo>
                  <a:pt x="9330" y="0"/>
                </a:lnTo>
                <a:lnTo>
                  <a:pt x="7992" y="4300"/>
                </a:lnTo>
                <a:lnTo>
                  <a:pt x="7293" y="6510"/>
                </a:lnTo>
                <a:lnTo>
                  <a:pt x="6239" y="9850"/>
                </a:lnTo>
                <a:lnTo>
                  <a:pt x="5058" y="13140"/>
                </a:lnTo>
                <a:lnTo>
                  <a:pt x="3940" y="16454"/>
                </a:lnTo>
                <a:lnTo>
                  <a:pt x="2480" y="20861"/>
                </a:lnTo>
                <a:lnTo>
                  <a:pt x="1731" y="23046"/>
                </a:lnTo>
                <a:lnTo>
                  <a:pt x="575" y="26348"/>
                </a:lnTo>
                <a:lnTo>
                  <a:pt x="0" y="28277"/>
                </a:lnTo>
                <a:lnTo>
                  <a:pt x="2079" y="22575"/>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95" name="object 395"/>
          <p:cNvSpPr/>
          <p:nvPr/>
        </p:nvSpPr>
        <p:spPr>
          <a:xfrm>
            <a:off x="7400830" y="5432440"/>
            <a:ext cx="183" cy="1053"/>
          </a:xfrm>
          <a:custGeom>
            <a:avLst/>
            <a:gdLst/>
            <a:ahLst/>
            <a:cxnLst/>
            <a:rect l="l" t="t" r="r" b="b"/>
            <a:pathLst>
              <a:path w="260" h="1497">
                <a:moveTo>
                  <a:pt x="260" y="0"/>
                </a:moveTo>
                <a:lnTo>
                  <a:pt x="32" y="1291"/>
                </a:lnTo>
                <a:lnTo>
                  <a:pt x="0" y="1497"/>
                </a:lnTo>
                <a:lnTo>
                  <a:pt x="260"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96" name="object 396"/>
          <p:cNvSpPr/>
          <p:nvPr/>
        </p:nvSpPr>
        <p:spPr>
          <a:xfrm>
            <a:off x="7401014" y="5430538"/>
            <a:ext cx="331" cy="1902"/>
          </a:xfrm>
          <a:custGeom>
            <a:avLst/>
            <a:gdLst/>
            <a:ahLst/>
            <a:cxnLst/>
            <a:rect l="l" t="t" r="r" b="b"/>
            <a:pathLst>
              <a:path w="471" h="2705">
                <a:moveTo>
                  <a:pt x="471" y="0"/>
                </a:moveTo>
                <a:lnTo>
                  <a:pt x="0" y="2705"/>
                </a:lnTo>
                <a:lnTo>
                  <a:pt x="419" y="327"/>
                </a:lnTo>
                <a:lnTo>
                  <a:pt x="471"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97" name="object 397"/>
          <p:cNvSpPr/>
          <p:nvPr/>
        </p:nvSpPr>
        <p:spPr>
          <a:xfrm>
            <a:off x="7172476" y="5727915"/>
            <a:ext cx="4850" cy="3220"/>
          </a:xfrm>
          <a:custGeom>
            <a:avLst/>
            <a:gdLst/>
            <a:ahLst/>
            <a:cxnLst/>
            <a:rect l="l" t="t" r="r" b="b"/>
            <a:pathLst>
              <a:path w="6898" h="4580">
                <a:moveTo>
                  <a:pt x="6898" y="0"/>
                </a:moveTo>
                <a:lnTo>
                  <a:pt x="0" y="4580"/>
                </a:lnTo>
                <a:lnTo>
                  <a:pt x="605" y="4180"/>
                </a:lnTo>
                <a:lnTo>
                  <a:pt x="6898"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98" name="object 398"/>
          <p:cNvSpPr/>
          <p:nvPr/>
        </p:nvSpPr>
        <p:spPr>
          <a:xfrm>
            <a:off x="7407241" y="5378752"/>
            <a:ext cx="1238" cy="11045"/>
          </a:xfrm>
          <a:custGeom>
            <a:avLst/>
            <a:gdLst/>
            <a:ahLst/>
            <a:cxnLst/>
            <a:rect l="l" t="t" r="r" b="b"/>
            <a:pathLst>
              <a:path w="1760" h="15708">
                <a:moveTo>
                  <a:pt x="0" y="15708"/>
                </a:moveTo>
                <a:lnTo>
                  <a:pt x="1760" y="0"/>
                </a:lnTo>
                <a:lnTo>
                  <a:pt x="1366" y="3454"/>
                </a:lnTo>
                <a:lnTo>
                  <a:pt x="858" y="7835"/>
                </a:lnTo>
                <a:lnTo>
                  <a:pt x="617" y="10020"/>
                </a:lnTo>
                <a:lnTo>
                  <a:pt x="249" y="13347"/>
                </a:lnTo>
                <a:lnTo>
                  <a:pt x="0" y="15708"/>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399" name="object 399"/>
          <p:cNvSpPr/>
          <p:nvPr/>
        </p:nvSpPr>
        <p:spPr>
          <a:xfrm>
            <a:off x="7405963" y="5389797"/>
            <a:ext cx="1278" cy="10221"/>
          </a:xfrm>
          <a:custGeom>
            <a:avLst/>
            <a:gdLst/>
            <a:ahLst/>
            <a:cxnLst/>
            <a:rect l="l" t="t" r="r" b="b"/>
            <a:pathLst>
              <a:path w="1818" h="14536">
                <a:moveTo>
                  <a:pt x="1796" y="199"/>
                </a:moveTo>
                <a:lnTo>
                  <a:pt x="0" y="14536"/>
                </a:lnTo>
                <a:lnTo>
                  <a:pt x="60" y="14110"/>
                </a:lnTo>
                <a:lnTo>
                  <a:pt x="492" y="10846"/>
                </a:lnTo>
                <a:lnTo>
                  <a:pt x="759" y="8637"/>
                </a:lnTo>
                <a:lnTo>
                  <a:pt x="1305" y="4293"/>
                </a:lnTo>
                <a:lnTo>
                  <a:pt x="1724" y="890"/>
                </a:lnTo>
                <a:lnTo>
                  <a:pt x="1818" y="0"/>
                </a:lnTo>
                <a:lnTo>
                  <a:pt x="1796" y="199"/>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00" name="object 400"/>
          <p:cNvSpPr/>
          <p:nvPr/>
        </p:nvSpPr>
        <p:spPr>
          <a:xfrm>
            <a:off x="7404121" y="5400019"/>
            <a:ext cx="1842" cy="13319"/>
          </a:xfrm>
          <a:custGeom>
            <a:avLst/>
            <a:gdLst/>
            <a:ahLst/>
            <a:cxnLst/>
            <a:rect l="l" t="t" r="r" b="b"/>
            <a:pathLst>
              <a:path w="2620" h="18943">
                <a:moveTo>
                  <a:pt x="2356" y="2104"/>
                </a:moveTo>
                <a:lnTo>
                  <a:pt x="2620" y="0"/>
                </a:lnTo>
                <a:lnTo>
                  <a:pt x="2198" y="2952"/>
                </a:lnTo>
                <a:lnTo>
                  <a:pt x="1741" y="6267"/>
                </a:lnTo>
                <a:lnTo>
                  <a:pt x="1144" y="10636"/>
                </a:lnTo>
                <a:lnTo>
                  <a:pt x="839" y="12846"/>
                </a:lnTo>
                <a:lnTo>
                  <a:pt x="357" y="16173"/>
                </a:lnTo>
                <a:lnTo>
                  <a:pt x="0" y="18943"/>
                </a:lnTo>
                <a:lnTo>
                  <a:pt x="2356" y="2104"/>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01" name="object 401"/>
          <p:cNvSpPr/>
          <p:nvPr/>
        </p:nvSpPr>
        <p:spPr>
          <a:xfrm>
            <a:off x="7403408" y="5413339"/>
            <a:ext cx="712" cy="4565"/>
          </a:xfrm>
          <a:custGeom>
            <a:avLst/>
            <a:gdLst/>
            <a:ahLst/>
            <a:cxnLst/>
            <a:rect l="l" t="t" r="r" b="b"/>
            <a:pathLst>
              <a:path w="1013" h="6493">
                <a:moveTo>
                  <a:pt x="1005" y="58"/>
                </a:moveTo>
                <a:lnTo>
                  <a:pt x="0" y="6493"/>
                </a:lnTo>
                <a:lnTo>
                  <a:pt x="430" y="3871"/>
                </a:lnTo>
                <a:lnTo>
                  <a:pt x="951" y="480"/>
                </a:lnTo>
                <a:lnTo>
                  <a:pt x="1013"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02" name="object 402"/>
          <p:cNvSpPr/>
          <p:nvPr/>
        </p:nvSpPr>
        <p:spPr>
          <a:xfrm>
            <a:off x="7401345" y="5417904"/>
            <a:ext cx="2063" cy="12634"/>
          </a:xfrm>
          <a:custGeom>
            <a:avLst/>
            <a:gdLst/>
            <a:ahLst/>
            <a:cxnLst/>
            <a:rect l="l" t="t" r="r" b="b"/>
            <a:pathLst>
              <a:path w="2934" h="17968">
                <a:moveTo>
                  <a:pt x="2298" y="3969"/>
                </a:moveTo>
                <a:lnTo>
                  <a:pt x="1764" y="7259"/>
                </a:lnTo>
                <a:lnTo>
                  <a:pt x="1205" y="10599"/>
                </a:lnTo>
                <a:lnTo>
                  <a:pt x="634" y="13926"/>
                </a:lnTo>
                <a:lnTo>
                  <a:pt x="0" y="17968"/>
                </a:lnTo>
                <a:lnTo>
                  <a:pt x="1241" y="10840"/>
                </a:lnTo>
                <a:lnTo>
                  <a:pt x="2934" y="0"/>
                </a:lnTo>
                <a:lnTo>
                  <a:pt x="2641" y="1785"/>
                </a:lnTo>
                <a:lnTo>
                  <a:pt x="2298" y="3969"/>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03" name="object 403"/>
          <p:cNvSpPr/>
          <p:nvPr/>
        </p:nvSpPr>
        <p:spPr>
          <a:xfrm>
            <a:off x="7400113" y="5433493"/>
            <a:ext cx="717" cy="4119"/>
          </a:xfrm>
          <a:custGeom>
            <a:avLst/>
            <a:gdLst/>
            <a:ahLst/>
            <a:cxnLst/>
            <a:rect l="l" t="t" r="r" b="b"/>
            <a:pathLst>
              <a:path w="1020" h="5858">
                <a:moveTo>
                  <a:pt x="1020" y="0"/>
                </a:moveTo>
                <a:lnTo>
                  <a:pt x="0" y="5858"/>
                </a:lnTo>
                <a:lnTo>
                  <a:pt x="112" y="5318"/>
                </a:lnTo>
                <a:lnTo>
                  <a:pt x="595" y="2664"/>
                </a:lnTo>
                <a:lnTo>
                  <a:pt x="1020"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04" name="object 404"/>
          <p:cNvSpPr/>
          <p:nvPr/>
        </p:nvSpPr>
        <p:spPr>
          <a:xfrm>
            <a:off x="7397085" y="5437613"/>
            <a:ext cx="3028" cy="15361"/>
          </a:xfrm>
          <a:custGeom>
            <a:avLst/>
            <a:gdLst/>
            <a:ahLst/>
            <a:cxnLst/>
            <a:rect l="l" t="t" r="r" b="b"/>
            <a:pathLst>
              <a:path w="4307" h="21847">
                <a:moveTo>
                  <a:pt x="4239" y="386"/>
                </a:moveTo>
                <a:lnTo>
                  <a:pt x="4307" y="0"/>
                </a:lnTo>
                <a:lnTo>
                  <a:pt x="3797" y="2432"/>
                </a:lnTo>
                <a:lnTo>
                  <a:pt x="2934" y="6813"/>
                </a:lnTo>
                <a:lnTo>
                  <a:pt x="2515" y="8998"/>
                </a:lnTo>
                <a:lnTo>
                  <a:pt x="1854" y="12312"/>
                </a:lnTo>
                <a:lnTo>
                  <a:pt x="1219" y="15627"/>
                </a:lnTo>
                <a:lnTo>
                  <a:pt x="546" y="18955"/>
                </a:lnTo>
                <a:lnTo>
                  <a:pt x="0" y="21847"/>
                </a:lnTo>
                <a:lnTo>
                  <a:pt x="789" y="18184"/>
                </a:lnTo>
                <a:lnTo>
                  <a:pt x="4239" y="386"/>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05" name="object 405"/>
          <p:cNvSpPr/>
          <p:nvPr/>
        </p:nvSpPr>
        <p:spPr>
          <a:xfrm>
            <a:off x="7395485" y="5452974"/>
            <a:ext cx="1600" cy="7420"/>
          </a:xfrm>
          <a:custGeom>
            <a:avLst/>
            <a:gdLst/>
            <a:ahLst/>
            <a:cxnLst/>
            <a:rect l="l" t="t" r="r" b="b"/>
            <a:pathLst>
              <a:path w="2275" h="10553">
                <a:moveTo>
                  <a:pt x="2275" y="0"/>
                </a:moveTo>
                <a:lnTo>
                  <a:pt x="0" y="10553"/>
                </a:lnTo>
                <a:lnTo>
                  <a:pt x="485" y="8613"/>
                </a:lnTo>
                <a:lnTo>
                  <a:pt x="1399" y="4219"/>
                </a:lnTo>
                <a:lnTo>
                  <a:pt x="1996" y="1476"/>
                </a:lnTo>
                <a:lnTo>
                  <a:pt x="2275"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06" name="object 406"/>
          <p:cNvSpPr/>
          <p:nvPr/>
        </p:nvSpPr>
        <p:spPr>
          <a:xfrm>
            <a:off x="7391534" y="5460394"/>
            <a:ext cx="3950" cy="16605"/>
          </a:xfrm>
          <a:custGeom>
            <a:avLst/>
            <a:gdLst/>
            <a:ahLst/>
            <a:cxnLst/>
            <a:rect l="l" t="t" r="r" b="b"/>
            <a:pathLst>
              <a:path w="5618" h="23616">
                <a:moveTo>
                  <a:pt x="4815" y="3725"/>
                </a:moveTo>
                <a:lnTo>
                  <a:pt x="5618" y="0"/>
                </a:lnTo>
                <a:lnTo>
                  <a:pt x="4846" y="3089"/>
                </a:lnTo>
                <a:lnTo>
                  <a:pt x="3804" y="7470"/>
                </a:lnTo>
                <a:lnTo>
                  <a:pt x="3296" y="9667"/>
                </a:lnTo>
                <a:lnTo>
                  <a:pt x="2509" y="12982"/>
                </a:lnTo>
                <a:lnTo>
                  <a:pt x="1772" y="16297"/>
                </a:lnTo>
                <a:lnTo>
                  <a:pt x="934" y="19624"/>
                </a:lnTo>
                <a:lnTo>
                  <a:pt x="0" y="23616"/>
                </a:lnTo>
                <a:lnTo>
                  <a:pt x="500" y="21735"/>
                </a:lnTo>
                <a:lnTo>
                  <a:pt x="4815" y="3725"/>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07" name="object 407"/>
          <p:cNvSpPr/>
          <p:nvPr/>
        </p:nvSpPr>
        <p:spPr>
          <a:xfrm>
            <a:off x="7390160" y="5477000"/>
            <a:ext cx="1374" cy="5163"/>
          </a:xfrm>
          <a:custGeom>
            <a:avLst/>
            <a:gdLst/>
            <a:ahLst/>
            <a:cxnLst/>
            <a:rect l="l" t="t" r="r" b="b"/>
            <a:pathLst>
              <a:path w="1954" h="7343">
                <a:moveTo>
                  <a:pt x="1954" y="0"/>
                </a:moveTo>
                <a:lnTo>
                  <a:pt x="0" y="7343"/>
                </a:lnTo>
                <a:lnTo>
                  <a:pt x="437" y="5939"/>
                </a:lnTo>
                <a:lnTo>
                  <a:pt x="1288" y="2611"/>
                </a:lnTo>
                <a:lnTo>
                  <a:pt x="1859" y="401"/>
                </a:lnTo>
                <a:lnTo>
                  <a:pt x="1954"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08" name="object 408"/>
          <p:cNvSpPr/>
          <p:nvPr/>
        </p:nvSpPr>
        <p:spPr>
          <a:xfrm>
            <a:off x="7386613" y="5482164"/>
            <a:ext cx="3547" cy="12617"/>
          </a:xfrm>
          <a:custGeom>
            <a:avLst/>
            <a:gdLst/>
            <a:ahLst/>
            <a:cxnLst/>
            <a:rect l="l" t="t" r="r" b="b"/>
            <a:pathLst>
              <a:path w="5044" h="17944">
                <a:moveTo>
                  <a:pt x="3538" y="5224"/>
                </a:moveTo>
                <a:lnTo>
                  <a:pt x="2319" y="9606"/>
                </a:lnTo>
                <a:lnTo>
                  <a:pt x="1684" y="11790"/>
                </a:lnTo>
                <a:lnTo>
                  <a:pt x="744" y="15105"/>
                </a:lnTo>
                <a:lnTo>
                  <a:pt x="0" y="17944"/>
                </a:lnTo>
                <a:lnTo>
                  <a:pt x="2709" y="8774"/>
                </a:lnTo>
                <a:lnTo>
                  <a:pt x="5044" y="0"/>
                </a:lnTo>
                <a:lnTo>
                  <a:pt x="4453" y="1897"/>
                </a:lnTo>
                <a:lnTo>
                  <a:pt x="3538" y="5224"/>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09" name="object 409"/>
          <p:cNvSpPr/>
          <p:nvPr/>
        </p:nvSpPr>
        <p:spPr>
          <a:xfrm>
            <a:off x="7385802" y="5494781"/>
            <a:ext cx="812" cy="2749"/>
          </a:xfrm>
          <a:custGeom>
            <a:avLst/>
            <a:gdLst/>
            <a:ahLst/>
            <a:cxnLst/>
            <a:rect l="l" t="t" r="r" b="b"/>
            <a:pathLst>
              <a:path w="1155" h="3909">
                <a:moveTo>
                  <a:pt x="1155" y="0"/>
                </a:moveTo>
                <a:lnTo>
                  <a:pt x="0" y="3909"/>
                </a:lnTo>
                <a:lnTo>
                  <a:pt x="1023" y="500"/>
                </a:lnTo>
                <a:lnTo>
                  <a:pt x="1155"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10" name="object 410"/>
          <p:cNvSpPr/>
          <p:nvPr/>
        </p:nvSpPr>
        <p:spPr>
          <a:xfrm>
            <a:off x="7377690" y="5517412"/>
            <a:ext cx="1551" cy="4253"/>
          </a:xfrm>
          <a:custGeom>
            <a:avLst/>
            <a:gdLst/>
            <a:ahLst/>
            <a:cxnLst/>
            <a:rect l="l" t="t" r="r" b="b"/>
            <a:pathLst>
              <a:path w="2206" h="6048">
                <a:moveTo>
                  <a:pt x="2206" y="0"/>
                </a:moveTo>
                <a:lnTo>
                  <a:pt x="0" y="6048"/>
                </a:lnTo>
                <a:lnTo>
                  <a:pt x="546" y="4712"/>
                </a:lnTo>
                <a:lnTo>
                  <a:pt x="1778" y="1435"/>
                </a:lnTo>
                <a:lnTo>
                  <a:pt x="2206" y="0"/>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11" name="object 411"/>
          <p:cNvSpPr/>
          <p:nvPr/>
        </p:nvSpPr>
        <p:spPr>
          <a:xfrm>
            <a:off x="7370386" y="5521665"/>
            <a:ext cx="7304" cy="18176"/>
          </a:xfrm>
          <a:custGeom>
            <a:avLst/>
            <a:gdLst/>
            <a:ahLst/>
            <a:cxnLst/>
            <a:rect l="l" t="t" r="r" b="b"/>
            <a:pathLst>
              <a:path w="10388" h="25850">
                <a:moveTo>
                  <a:pt x="939" y="23441"/>
                </a:moveTo>
                <a:lnTo>
                  <a:pt x="0" y="25850"/>
                </a:lnTo>
                <a:lnTo>
                  <a:pt x="1321" y="22927"/>
                </a:lnTo>
                <a:lnTo>
                  <a:pt x="8291" y="5748"/>
                </a:lnTo>
                <a:lnTo>
                  <a:pt x="10388" y="0"/>
                </a:lnTo>
                <a:lnTo>
                  <a:pt x="9143" y="3045"/>
                </a:lnTo>
                <a:lnTo>
                  <a:pt x="8293" y="5267"/>
                </a:lnTo>
                <a:lnTo>
                  <a:pt x="6997" y="8607"/>
                </a:lnTo>
                <a:lnTo>
                  <a:pt x="5638" y="11897"/>
                </a:lnTo>
                <a:lnTo>
                  <a:pt x="4292" y="15199"/>
                </a:lnTo>
                <a:lnTo>
                  <a:pt x="2565" y="19605"/>
                </a:lnTo>
                <a:lnTo>
                  <a:pt x="939" y="23441"/>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12" name="object 412"/>
          <p:cNvSpPr/>
          <p:nvPr/>
        </p:nvSpPr>
        <p:spPr>
          <a:xfrm>
            <a:off x="7361893" y="5541951"/>
            <a:ext cx="7538" cy="15729"/>
          </a:xfrm>
          <a:custGeom>
            <a:avLst/>
            <a:gdLst/>
            <a:ahLst/>
            <a:cxnLst/>
            <a:rect l="l" t="t" r="r" b="b"/>
            <a:pathLst>
              <a:path w="10721" h="22370">
                <a:moveTo>
                  <a:pt x="8357" y="5092"/>
                </a:moveTo>
                <a:lnTo>
                  <a:pt x="6173" y="9449"/>
                </a:lnTo>
                <a:lnTo>
                  <a:pt x="4598" y="12789"/>
                </a:lnTo>
                <a:lnTo>
                  <a:pt x="3023" y="16129"/>
                </a:lnTo>
                <a:lnTo>
                  <a:pt x="1385" y="19405"/>
                </a:lnTo>
                <a:lnTo>
                  <a:pt x="0" y="22370"/>
                </a:lnTo>
                <a:lnTo>
                  <a:pt x="5814" y="10854"/>
                </a:lnTo>
                <a:lnTo>
                  <a:pt x="10721" y="0"/>
                </a:lnTo>
                <a:lnTo>
                  <a:pt x="9983" y="1536"/>
                </a:lnTo>
                <a:lnTo>
                  <a:pt x="8357" y="5092"/>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13" name="object 413"/>
          <p:cNvSpPr/>
          <p:nvPr/>
        </p:nvSpPr>
        <p:spPr>
          <a:xfrm>
            <a:off x="7413583" y="5258118"/>
            <a:ext cx="2339" cy="55444"/>
          </a:xfrm>
          <a:custGeom>
            <a:avLst/>
            <a:gdLst/>
            <a:ahLst/>
            <a:cxnLst/>
            <a:rect l="l" t="t" r="r" b="b"/>
            <a:pathLst>
              <a:path w="3327" h="78854">
                <a:moveTo>
                  <a:pt x="1092" y="52577"/>
                </a:moveTo>
                <a:lnTo>
                  <a:pt x="1015" y="55918"/>
                </a:lnTo>
                <a:lnTo>
                  <a:pt x="838" y="59220"/>
                </a:lnTo>
                <a:lnTo>
                  <a:pt x="660" y="63627"/>
                </a:lnTo>
                <a:lnTo>
                  <a:pt x="546" y="65811"/>
                </a:lnTo>
                <a:lnTo>
                  <a:pt x="355" y="69113"/>
                </a:lnTo>
                <a:lnTo>
                  <a:pt x="330" y="72466"/>
                </a:lnTo>
                <a:lnTo>
                  <a:pt x="139" y="75768"/>
                </a:lnTo>
                <a:lnTo>
                  <a:pt x="0" y="78854"/>
                </a:lnTo>
                <a:lnTo>
                  <a:pt x="739" y="66233"/>
                </a:lnTo>
                <a:lnTo>
                  <a:pt x="1392" y="53584"/>
                </a:lnTo>
                <a:lnTo>
                  <a:pt x="1964" y="40907"/>
                </a:lnTo>
                <a:lnTo>
                  <a:pt x="2461" y="28205"/>
                </a:lnTo>
                <a:lnTo>
                  <a:pt x="2890" y="15481"/>
                </a:lnTo>
                <a:lnTo>
                  <a:pt x="3256" y="2736"/>
                </a:lnTo>
                <a:lnTo>
                  <a:pt x="3327" y="0"/>
                </a:lnTo>
                <a:lnTo>
                  <a:pt x="2921" y="12730"/>
                </a:lnTo>
                <a:lnTo>
                  <a:pt x="2390" y="25419"/>
                </a:lnTo>
                <a:lnTo>
                  <a:pt x="1788" y="38086"/>
                </a:lnTo>
                <a:lnTo>
                  <a:pt x="1244" y="49263"/>
                </a:lnTo>
                <a:lnTo>
                  <a:pt x="1092" y="52577"/>
                </a:lnTo>
                <a:close/>
              </a:path>
            </a:pathLst>
          </a:custGeom>
          <a:solidFill>
            <a:srgbClr val="76787A"/>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14" name="object 414"/>
          <p:cNvSpPr/>
          <p:nvPr/>
        </p:nvSpPr>
        <p:spPr>
          <a:xfrm>
            <a:off x="7410014" y="5054724"/>
            <a:ext cx="18" cy="62"/>
          </a:xfrm>
          <a:custGeom>
            <a:avLst/>
            <a:gdLst/>
            <a:ahLst/>
            <a:cxnLst/>
            <a:rect l="l" t="t" r="r" b="b"/>
            <a:pathLst>
              <a:path w="25" h="88">
                <a:moveTo>
                  <a:pt x="25" y="88"/>
                </a:moveTo>
              </a:path>
            </a:pathLst>
          </a:custGeom>
          <a:ln w="0">
            <a:solidFill>
              <a:srgbClr val="D0CFD2"/>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15" name="object 415"/>
          <p:cNvSpPr/>
          <p:nvPr/>
        </p:nvSpPr>
        <p:spPr>
          <a:xfrm>
            <a:off x="7410246" y="5058029"/>
            <a:ext cx="35" cy="196"/>
          </a:xfrm>
          <a:custGeom>
            <a:avLst/>
            <a:gdLst/>
            <a:ahLst/>
            <a:cxnLst/>
            <a:rect l="l" t="t" r="r" b="b"/>
            <a:pathLst>
              <a:path w="50" h="279">
                <a:moveTo>
                  <a:pt x="50" y="279"/>
                </a:moveTo>
                <a:lnTo>
                  <a:pt x="25" y="88"/>
                </a:lnTo>
              </a:path>
            </a:pathLst>
          </a:custGeom>
          <a:ln w="0">
            <a:solidFill>
              <a:srgbClr val="D0CFD2"/>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16" name="object 416"/>
          <p:cNvSpPr/>
          <p:nvPr/>
        </p:nvSpPr>
        <p:spPr>
          <a:xfrm>
            <a:off x="7410113" y="5056028"/>
            <a:ext cx="8" cy="250"/>
          </a:xfrm>
          <a:custGeom>
            <a:avLst/>
            <a:gdLst/>
            <a:ahLst/>
            <a:cxnLst/>
            <a:rect l="l" t="t" r="r" b="b"/>
            <a:pathLst>
              <a:path w="12" h="355">
                <a:moveTo>
                  <a:pt x="12" y="355"/>
                </a:moveTo>
                <a:lnTo>
                  <a:pt x="0" y="139"/>
                </a:lnTo>
                <a:lnTo>
                  <a:pt x="0" y="0"/>
                </a:lnTo>
              </a:path>
            </a:pathLst>
          </a:custGeom>
          <a:ln w="0">
            <a:solidFill>
              <a:srgbClr val="D0CFD2"/>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17" name="object 417"/>
          <p:cNvSpPr/>
          <p:nvPr/>
        </p:nvSpPr>
        <p:spPr>
          <a:xfrm>
            <a:off x="7410077" y="5055457"/>
            <a:ext cx="0" cy="116"/>
          </a:xfrm>
          <a:custGeom>
            <a:avLst/>
            <a:gdLst/>
            <a:ahLst/>
            <a:cxnLst/>
            <a:rect l="l" t="t" r="r" b="b"/>
            <a:pathLst>
              <a:path h="165">
                <a:moveTo>
                  <a:pt x="0" y="0"/>
                </a:moveTo>
                <a:lnTo>
                  <a:pt x="0" y="165"/>
                </a:lnTo>
              </a:path>
            </a:pathLst>
          </a:custGeom>
          <a:ln w="0">
            <a:solidFill>
              <a:srgbClr val="D0CFD2"/>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18" name="object 418"/>
          <p:cNvSpPr/>
          <p:nvPr/>
        </p:nvSpPr>
        <p:spPr>
          <a:xfrm>
            <a:off x="7410220" y="5057484"/>
            <a:ext cx="0" cy="196"/>
          </a:xfrm>
          <a:custGeom>
            <a:avLst/>
            <a:gdLst/>
            <a:ahLst/>
            <a:cxnLst/>
            <a:rect l="l" t="t" r="r" b="b"/>
            <a:pathLst>
              <a:path h="279">
                <a:moveTo>
                  <a:pt x="0" y="0"/>
                </a:moveTo>
                <a:lnTo>
                  <a:pt x="0" y="279"/>
                </a:lnTo>
              </a:path>
            </a:pathLst>
          </a:custGeom>
          <a:ln w="0">
            <a:solidFill>
              <a:srgbClr val="D0CFD2"/>
            </a:solidFill>
          </a:ln>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19" name="object 419"/>
          <p:cNvSpPr/>
          <p:nvPr/>
        </p:nvSpPr>
        <p:spPr>
          <a:xfrm>
            <a:off x="6856228" y="4912804"/>
            <a:ext cx="814137" cy="987837"/>
          </a:xfrm>
          <a:custGeom>
            <a:avLst/>
            <a:gdLst/>
            <a:ahLst/>
            <a:cxnLst/>
            <a:rect l="l" t="t" r="r" b="b"/>
            <a:pathLst>
              <a:path w="1157884" h="1404924">
                <a:moveTo>
                  <a:pt x="819569" y="0"/>
                </a:moveTo>
                <a:lnTo>
                  <a:pt x="816546" y="6515"/>
                </a:lnTo>
                <a:lnTo>
                  <a:pt x="813752" y="13157"/>
                </a:lnTo>
                <a:lnTo>
                  <a:pt x="811123" y="19989"/>
                </a:lnTo>
                <a:lnTo>
                  <a:pt x="808189" y="27673"/>
                </a:lnTo>
                <a:lnTo>
                  <a:pt x="805967" y="34251"/>
                </a:lnTo>
                <a:lnTo>
                  <a:pt x="803859" y="40995"/>
                </a:lnTo>
                <a:lnTo>
                  <a:pt x="802982" y="43903"/>
                </a:lnTo>
                <a:lnTo>
                  <a:pt x="801128" y="50139"/>
                </a:lnTo>
                <a:lnTo>
                  <a:pt x="799426" y="56527"/>
                </a:lnTo>
                <a:lnTo>
                  <a:pt x="797852" y="63068"/>
                </a:lnTo>
                <a:lnTo>
                  <a:pt x="797102" y="66192"/>
                </a:lnTo>
                <a:lnTo>
                  <a:pt x="796759" y="67767"/>
                </a:lnTo>
                <a:lnTo>
                  <a:pt x="795375" y="73774"/>
                </a:lnTo>
                <a:lnTo>
                  <a:pt x="794194" y="79933"/>
                </a:lnTo>
                <a:lnTo>
                  <a:pt x="793076" y="86194"/>
                </a:lnTo>
                <a:lnTo>
                  <a:pt x="792289" y="90652"/>
                </a:lnTo>
                <a:lnTo>
                  <a:pt x="791946" y="92913"/>
                </a:lnTo>
                <a:lnTo>
                  <a:pt x="791019" y="98653"/>
                </a:lnTo>
                <a:lnTo>
                  <a:pt x="790282" y="104559"/>
                </a:lnTo>
                <a:lnTo>
                  <a:pt x="789584" y="110515"/>
                </a:lnTo>
                <a:lnTo>
                  <a:pt x="789254" y="113411"/>
                </a:lnTo>
                <a:lnTo>
                  <a:pt x="788924" y="116293"/>
                </a:lnTo>
                <a:lnTo>
                  <a:pt x="788644" y="119227"/>
                </a:lnTo>
                <a:lnTo>
                  <a:pt x="788111" y="124739"/>
                </a:lnTo>
                <a:lnTo>
                  <a:pt x="787742" y="130403"/>
                </a:lnTo>
                <a:lnTo>
                  <a:pt x="787412" y="136105"/>
                </a:lnTo>
                <a:lnTo>
                  <a:pt x="787196" y="139636"/>
                </a:lnTo>
                <a:lnTo>
                  <a:pt x="786980" y="143154"/>
                </a:lnTo>
                <a:lnTo>
                  <a:pt x="786841" y="146748"/>
                </a:lnTo>
                <a:lnTo>
                  <a:pt x="786650" y="152120"/>
                </a:lnTo>
                <a:lnTo>
                  <a:pt x="786714" y="180809"/>
                </a:lnTo>
                <a:lnTo>
                  <a:pt x="786980" y="186372"/>
                </a:lnTo>
                <a:lnTo>
                  <a:pt x="787234" y="191935"/>
                </a:lnTo>
                <a:lnTo>
                  <a:pt x="787412" y="195262"/>
                </a:lnTo>
                <a:lnTo>
                  <a:pt x="787412" y="198462"/>
                </a:lnTo>
                <a:lnTo>
                  <a:pt x="787628" y="201853"/>
                </a:lnTo>
                <a:lnTo>
                  <a:pt x="787806" y="204444"/>
                </a:lnTo>
                <a:lnTo>
                  <a:pt x="787984" y="206997"/>
                </a:lnTo>
                <a:lnTo>
                  <a:pt x="788200" y="209956"/>
                </a:lnTo>
                <a:lnTo>
                  <a:pt x="788314" y="212039"/>
                </a:lnTo>
                <a:lnTo>
                  <a:pt x="789227" y="224691"/>
                </a:lnTo>
                <a:lnTo>
                  <a:pt x="790089" y="237354"/>
                </a:lnTo>
                <a:lnTo>
                  <a:pt x="790900" y="250026"/>
                </a:lnTo>
                <a:lnTo>
                  <a:pt x="791660" y="262705"/>
                </a:lnTo>
                <a:lnTo>
                  <a:pt x="792370" y="275390"/>
                </a:lnTo>
                <a:lnTo>
                  <a:pt x="793030" y="288080"/>
                </a:lnTo>
                <a:lnTo>
                  <a:pt x="793641" y="300774"/>
                </a:lnTo>
                <a:lnTo>
                  <a:pt x="794067" y="310273"/>
                </a:lnTo>
                <a:lnTo>
                  <a:pt x="794526" y="322969"/>
                </a:lnTo>
                <a:lnTo>
                  <a:pt x="794874" y="335657"/>
                </a:lnTo>
                <a:lnTo>
                  <a:pt x="795070" y="342315"/>
                </a:lnTo>
                <a:lnTo>
                  <a:pt x="795462" y="355025"/>
                </a:lnTo>
                <a:lnTo>
                  <a:pt x="795809" y="367730"/>
                </a:lnTo>
                <a:lnTo>
                  <a:pt x="796103" y="380431"/>
                </a:lnTo>
                <a:lnTo>
                  <a:pt x="796336" y="393125"/>
                </a:lnTo>
                <a:lnTo>
                  <a:pt x="796499" y="405811"/>
                </a:lnTo>
                <a:lnTo>
                  <a:pt x="796607" y="418172"/>
                </a:lnTo>
                <a:lnTo>
                  <a:pt x="796912" y="423621"/>
                </a:lnTo>
                <a:lnTo>
                  <a:pt x="796795" y="441734"/>
                </a:lnTo>
                <a:lnTo>
                  <a:pt x="796556" y="454421"/>
                </a:lnTo>
                <a:lnTo>
                  <a:pt x="796404" y="463461"/>
                </a:lnTo>
                <a:lnTo>
                  <a:pt x="796254" y="476173"/>
                </a:lnTo>
                <a:lnTo>
                  <a:pt x="796060" y="488865"/>
                </a:lnTo>
                <a:lnTo>
                  <a:pt x="795657" y="503858"/>
                </a:lnTo>
                <a:lnTo>
                  <a:pt x="795242" y="516589"/>
                </a:lnTo>
                <a:lnTo>
                  <a:pt x="794760" y="529298"/>
                </a:lnTo>
                <a:lnTo>
                  <a:pt x="794204" y="541981"/>
                </a:lnTo>
                <a:lnTo>
                  <a:pt x="793569" y="554636"/>
                </a:lnTo>
                <a:lnTo>
                  <a:pt x="792849" y="567259"/>
                </a:lnTo>
                <a:lnTo>
                  <a:pt x="792683" y="569963"/>
                </a:lnTo>
                <a:lnTo>
                  <a:pt x="792530" y="573189"/>
                </a:lnTo>
                <a:lnTo>
                  <a:pt x="792518" y="573443"/>
                </a:lnTo>
                <a:lnTo>
                  <a:pt x="792314" y="576478"/>
                </a:lnTo>
                <a:lnTo>
                  <a:pt x="792099" y="580034"/>
                </a:lnTo>
                <a:lnTo>
                  <a:pt x="791883" y="583412"/>
                </a:lnTo>
                <a:lnTo>
                  <a:pt x="791616" y="587616"/>
                </a:lnTo>
                <a:lnTo>
                  <a:pt x="791464" y="589991"/>
                </a:lnTo>
                <a:lnTo>
                  <a:pt x="791260" y="593090"/>
                </a:lnTo>
                <a:lnTo>
                  <a:pt x="791006" y="596595"/>
                </a:lnTo>
                <a:lnTo>
                  <a:pt x="790790" y="599935"/>
                </a:lnTo>
                <a:lnTo>
                  <a:pt x="790498" y="604266"/>
                </a:lnTo>
                <a:lnTo>
                  <a:pt x="790321" y="606552"/>
                </a:lnTo>
                <a:lnTo>
                  <a:pt x="790105" y="609790"/>
                </a:lnTo>
                <a:lnTo>
                  <a:pt x="789838" y="613092"/>
                </a:lnTo>
                <a:lnTo>
                  <a:pt x="789597" y="616508"/>
                </a:lnTo>
                <a:lnTo>
                  <a:pt x="789254" y="620864"/>
                </a:lnTo>
                <a:lnTo>
                  <a:pt x="789076" y="623049"/>
                </a:lnTo>
                <a:lnTo>
                  <a:pt x="788809" y="626389"/>
                </a:lnTo>
                <a:lnTo>
                  <a:pt x="788581" y="629551"/>
                </a:lnTo>
                <a:lnTo>
                  <a:pt x="788289" y="633031"/>
                </a:lnTo>
                <a:lnTo>
                  <a:pt x="787869" y="637425"/>
                </a:lnTo>
                <a:lnTo>
                  <a:pt x="787679" y="639597"/>
                </a:lnTo>
                <a:lnTo>
                  <a:pt x="787400" y="642835"/>
                </a:lnTo>
                <a:lnTo>
                  <a:pt x="787069" y="646201"/>
                </a:lnTo>
                <a:lnTo>
                  <a:pt x="786739" y="649541"/>
                </a:lnTo>
                <a:lnTo>
                  <a:pt x="786345" y="653897"/>
                </a:lnTo>
                <a:lnTo>
                  <a:pt x="786015" y="657123"/>
                </a:lnTo>
                <a:lnTo>
                  <a:pt x="781589" y="695035"/>
                </a:lnTo>
                <a:lnTo>
                  <a:pt x="776525" y="729208"/>
                </a:lnTo>
                <a:lnTo>
                  <a:pt x="770015" y="764581"/>
                </a:lnTo>
                <a:lnTo>
                  <a:pt x="761832" y="800534"/>
                </a:lnTo>
                <a:lnTo>
                  <a:pt x="751751" y="836444"/>
                </a:lnTo>
                <a:lnTo>
                  <a:pt x="739545" y="871688"/>
                </a:lnTo>
                <a:lnTo>
                  <a:pt x="724988" y="905645"/>
                </a:lnTo>
                <a:lnTo>
                  <a:pt x="707856" y="937693"/>
                </a:lnTo>
                <a:lnTo>
                  <a:pt x="687921" y="967209"/>
                </a:lnTo>
                <a:lnTo>
                  <a:pt x="664959" y="993571"/>
                </a:lnTo>
                <a:lnTo>
                  <a:pt x="647172" y="1010875"/>
                </a:lnTo>
                <a:lnTo>
                  <a:pt x="628436" y="1028163"/>
                </a:lnTo>
                <a:lnTo>
                  <a:pt x="608797" y="1045418"/>
                </a:lnTo>
                <a:lnTo>
                  <a:pt x="588298" y="1062624"/>
                </a:lnTo>
                <a:lnTo>
                  <a:pt x="566985" y="1079763"/>
                </a:lnTo>
                <a:lnTo>
                  <a:pt x="544902" y="1096817"/>
                </a:lnTo>
                <a:lnTo>
                  <a:pt x="522094" y="1113769"/>
                </a:lnTo>
                <a:lnTo>
                  <a:pt x="498606" y="1130602"/>
                </a:lnTo>
                <a:lnTo>
                  <a:pt x="474483" y="1147298"/>
                </a:lnTo>
                <a:lnTo>
                  <a:pt x="449770" y="1163840"/>
                </a:lnTo>
                <a:lnTo>
                  <a:pt x="428623" y="1177554"/>
                </a:lnTo>
                <a:lnTo>
                  <a:pt x="407095" y="1191121"/>
                </a:lnTo>
                <a:lnTo>
                  <a:pt x="380231" y="1207654"/>
                </a:lnTo>
                <a:lnTo>
                  <a:pt x="358088" y="1220914"/>
                </a:lnTo>
                <a:lnTo>
                  <a:pt x="336160" y="1233694"/>
                </a:lnTo>
                <a:lnTo>
                  <a:pt x="315747" y="1245336"/>
                </a:lnTo>
                <a:lnTo>
                  <a:pt x="293615" y="1257690"/>
                </a:lnTo>
                <a:lnTo>
                  <a:pt x="271304" y="1269867"/>
                </a:lnTo>
                <a:lnTo>
                  <a:pt x="248838" y="1281857"/>
                </a:lnTo>
                <a:lnTo>
                  <a:pt x="226239" y="1293649"/>
                </a:lnTo>
                <a:lnTo>
                  <a:pt x="203529" y="1305235"/>
                </a:lnTo>
                <a:lnTo>
                  <a:pt x="180729" y="1316603"/>
                </a:lnTo>
                <a:lnTo>
                  <a:pt x="157863" y="1327744"/>
                </a:lnTo>
                <a:lnTo>
                  <a:pt x="134953" y="1338647"/>
                </a:lnTo>
                <a:lnTo>
                  <a:pt x="112020" y="1349302"/>
                </a:lnTo>
                <a:lnTo>
                  <a:pt x="99187" y="1355153"/>
                </a:lnTo>
                <a:lnTo>
                  <a:pt x="89250" y="1359684"/>
                </a:lnTo>
                <a:lnTo>
                  <a:pt x="44300" y="1381283"/>
                </a:lnTo>
                <a:lnTo>
                  <a:pt x="42508" y="1382200"/>
                </a:lnTo>
                <a:lnTo>
                  <a:pt x="1152412" y="1382200"/>
                </a:lnTo>
                <a:lnTo>
                  <a:pt x="819569" y="0"/>
                </a:lnTo>
                <a:close/>
              </a:path>
            </a:pathLst>
          </a:custGeom>
          <a:solidFill>
            <a:srgbClr val="68686B"/>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20" name="object 420"/>
          <p:cNvSpPr/>
          <p:nvPr/>
        </p:nvSpPr>
        <p:spPr>
          <a:xfrm>
            <a:off x="0" y="4795242"/>
            <a:ext cx="9160300" cy="1089422"/>
          </a:xfrm>
          <a:custGeom>
            <a:avLst/>
            <a:gdLst/>
            <a:ahLst/>
            <a:cxnLst/>
            <a:rect l="l" t="t" r="r" b="b"/>
            <a:pathLst>
              <a:path w="6832600" h="1549400">
                <a:moveTo>
                  <a:pt x="0" y="1549400"/>
                </a:moveTo>
                <a:lnTo>
                  <a:pt x="6832600" y="1549400"/>
                </a:lnTo>
                <a:lnTo>
                  <a:pt x="6832600" y="0"/>
                </a:lnTo>
                <a:lnTo>
                  <a:pt x="0" y="0"/>
                </a:lnTo>
                <a:lnTo>
                  <a:pt x="0" y="154940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object 44"/>
          <p:cNvSpPr/>
          <p:nvPr/>
        </p:nvSpPr>
        <p:spPr>
          <a:xfrm>
            <a:off x="6909145" y="6271775"/>
            <a:ext cx="228028" cy="247942"/>
          </a:xfrm>
          <a:custGeom>
            <a:avLst/>
            <a:gdLst/>
            <a:ahLst/>
            <a:cxnLst/>
            <a:rect l="l" t="t" r="r" b="b"/>
            <a:pathLst>
              <a:path w="324307" h="352628">
                <a:moveTo>
                  <a:pt x="324307" y="266319"/>
                </a:moveTo>
                <a:lnTo>
                  <a:pt x="315137" y="262648"/>
                </a:lnTo>
                <a:lnTo>
                  <a:pt x="312747" y="269694"/>
                </a:lnTo>
                <a:lnTo>
                  <a:pt x="307069" y="282853"/>
                </a:lnTo>
                <a:lnTo>
                  <a:pt x="300147" y="294752"/>
                </a:lnTo>
                <a:lnTo>
                  <a:pt x="291966" y="305239"/>
                </a:lnTo>
                <a:lnTo>
                  <a:pt x="282512" y="314161"/>
                </a:lnTo>
                <a:lnTo>
                  <a:pt x="271769" y="321366"/>
                </a:lnTo>
                <a:lnTo>
                  <a:pt x="259722" y="326701"/>
                </a:lnTo>
                <a:lnTo>
                  <a:pt x="246358" y="330014"/>
                </a:lnTo>
                <a:lnTo>
                  <a:pt x="231660" y="331152"/>
                </a:lnTo>
                <a:lnTo>
                  <a:pt x="129159" y="331152"/>
                </a:lnTo>
                <a:lnTo>
                  <a:pt x="116841" y="329349"/>
                </a:lnTo>
                <a:lnTo>
                  <a:pt x="108934" y="322335"/>
                </a:lnTo>
                <a:lnTo>
                  <a:pt x="105568" y="308982"/>
                </a:lnTo>
                <a:lnTo>
                  <a:pt x="104863" y="288188"/>
                </a:lnTo>
                <a:lnTo>
                  <a:pt x="104863" y="177355"/>
                </a:lnTo>
                <a:lnTo>
                  <a:pt x="207390" y="177355"/>
                </a:lnTo>
                <a:lnTo>
                  <a:pt x="213227" y="177524"/>
                </a:lnTo>
                <a:lnTo>
                  <a:pt x="228192" y="180176"/>
                </a:lnTo>
                <a:lnTo>
                  <a:pt x="239258" y="186180"/>
                </a:lnTo>
                <a:lnTo>
                  <a:pt x="246963" y="195704"/>
                </a:lnTo>
                <a:lnTo>
                  <a:pt x="251842" y="208915"/>
                </a:lnTo>
                <a:lnTo>
                  <a:pt x="254431" y="225983"/>
                </a:lnTo>
                <a:lnTo>
                  <a:pt x="264121" y="225983"/>
                </a:lnTo>
                <a:lnTo>
                  <a:pt x="264121" y="107315"/>
                </a:lnTo>
                <a:lnTo>
                  <a:pt x="254431" y="107315"/>
                </a:lnTo>
                <a:lnTo>
                  <a:pt x="253730" y="113350"/>
                </a:lnTo>
                <a:lnTo>
                  <a:pt x="250379" y="129269"/>
                </a:lnTo>
                <a:lnTo>
                  <a:pt x="244730" y="141254"/>
                </a:lnTo>
                <a:lnTo>
                  <a:pt x="236122" y="149531"/>
                </a:lnTo>
                <a:lnTo>
                  <a:pt x="223896" y="154330"/>
                </a:lnTo>
                <a:lnTo>
                  <a:pt x="207390" y="155879"/>
                </a:lnTo>
                <a:lnTo>
                  <a:pt x="104863" y="155879"/>
                </a:lnTo>
                <a:lnTo>
                  <a:pt x="104879" y="49846"/>
                </a:lnTo>
                <a:lnTo>
                  <a:pt x="106186" y="32176"/>
                </a:lnTo>
                <a:lnTo>
                  <a:pt x="112242" y="23704"/>
                </a:lnTo>
                <a:lnTo>
                  <a:pt x="126720" y="21526"/>
                </a:lnTo>
                <a:lnTo>
                  <a:pt x="219087" y="21526"/>
                </a:lnTo>
                <a:lnTo>
                  <a:pt x="232810" y="22115"/>
                </a:lnTo>
                <a:lnTo>
                  <a:pt x="247239" y="24591"/>
                </a:lnTo>
                <a:lnTo>
                  <a:pt x="259319" y="29309"/>
                </a:lnTo>
                <a:lnTo>
                  <a:pt x="269117" y="36600"/>
                </a:lnTo>
                <a:lnTo>
                  <a:pt x="276702" y="46794"/>
                </a:lnTo>
                <a:lnTo>
                  <a:pt x="282143" y="60223"/>
                </a:lnTo>
                <a:lnTo>
                  <a:pt x="285508" y="77216"/>
                </a:lnTo>
                <a:lnTo>
                  <a:pt x="295236" y="77216"/>
                </a:lnTo>
                <a:lnTo>
                  <a:pt x="290842" y="0"/>
                </a:lnTo>
                <a:lnTo>
                  <a:pt x="0" y="0"/>
                </a:lnTo>
                <a:lnTo>
                  <a:pt x="0" y="10160"/>
                </a:lnTo>
                <a:lnTo>
                  <a:pt x="13416" y="10595"/>
                </a:lnTo>
                <a:lnTo>
                  <a:pt x="28467" y="13068"/>
                </a:lnTo>
                <a:lnTo>
                  <a:pt x="39521" y="18458"/>
                </a:lnTo>
                <a:lnTo>
                  <a:pt x="46954" y="27583"/>
                </a:lnTo>
                <a:lnTo>
                  <a:pt x="51139" y="41266"/>
                </a:lnTo>
                <a:lnTo>
                  <a:pt x="52451" y="60325"/>
                </a:lnTo>
                <a:lnTo>
                  <a:pt x="52451" y="292430"/>
                </a:lnTo>
                <a:lnTo>
                  <a:pt x="51801" y="306474"/>
                </a:lnTo>
                <a:lnTo>
                  <a:pt x="48485" y="321603"/>
                </a:lnTo>
                <a:lnTo>
                  <a:pt x="42023" y="331952"/>
                </a:lnTo>
                <a:lnTo>
                  <a:pt x="32038" y="338337"/>
                </a:lnTo>
                <a:lnTo>
                  <a:pt x="18156" y="341571"/>
                </a:lnTo>
                <a:lnTo>
                  <a:pt x="0" y="342468"/>
                </a:lnTo>
                <a:lnTo>
                  <a:pt x="0" y="352628"/>
                </a:lnTo>
                <a:lnTo>
                  <a:pt x="298119" y="352628"/>
                </a:lnTo>
                <a:lnTo>
                  <a:pt x="324307" y="266319"/>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object 45"/>
          <p:cNvSpPr/>
          <p:nvPr/>
        </p:nvSpPr>
        <p:spPr>
          <a:xfrm>
            <a:off x="7135093" y="6271775"/>
            <a:ext cx="217143" cy="247942"/>
          </a:xfrm>
          <a:custGeom>
            <a:avLst/>
            <a:gdLst/>
            <a:ahLst/>
            <a:cxnLst/>
            <a:rect l="l" t="t" r="r" b="b"/>
            <a:pathLst>
              <a:path w="308825" h="352628">
                <a:moveTo>
                  <a:pt x="308825" y="262255"/>
                </a:moveTo>
                <a:lnTo>
                  <a:pt x="297205" y="260096"/>
                </a:lnTo>
                <a:lnTo>
                  <a:pt x="294322" y="266740"/>
                </a:lnTo>
                <a:lnTo>
                  <a:pt x="287516" y="280557"/>
                </a:lnTo>
                <a:lnTo>
                  <a:pt x="280207" y="292644"/>
                </a:lnTo>
                <a:lnTo>
                  <a:pt x="272224" y="303028"/>
                </a:lnTo>
                <a:lnTo>
                  <a:pt x="263397" y="311738"/>
                </a:lnTo>
                <a:lnTo>
                  <a:pt x="253556" y="318802"/>
                </a:lnTo>
                <a:lnTo>
                  <a:pt x="242530" y="324247"/>
                </a:lnTo>
                <a:lnTo>
                  <a:pt x="230148" y="328102"/>
                </a:lnTo>
                <a:lnTo>
                  <a:pt x="216239" y="330394"/>
                </a:lnTo>
                <a:lnTo>
                  <a:pt x="200634" y="331152"/>
                </a:lnTo>
                <a:lnTo>
                  <a:pt x="131140" y="331152"/>
                </a:lnTo>
                <a:lnTo>
                  <a:pt x="112312" y="326826"/>
                </a:lnTo>
                <a:lnTo>
                  <a:pt x="104984" y="317649"/>
                </a:lnTo>
                <a:lnTo>
                  <a:pt x="102078" y="303820"/>
                </a:lnTo>
                <a:lnTo>
                  <a:pt x="101561" y="285737"/>
                </a:lnTo>
                <a:lnTo>
                  <a:pt x="101561" y="60325"/>
                </a:lnTo>
                <a:lnTo>
                  <a:pt x="102218" y="46139"/>
                </a:lnTo>
                <a:lnTo>
                  <a:pt x="105533" y="30998"/>
                </a:lnTo>
                <a:lnTo>
                  <a:pt x="111987" y="20650"/>
                </a:lnTo>
                <a:lnTo>
                  <a:pt x="121961" y="14275"/>
                </a:lnTo>
                <a:lnTo>
                  <a:pt x="135834" y="11051"/>
                </a:lnTo>
                <a:lnTo>
                  <a:pt x="153987" y="10160"/>
                </a:lnTo>
                <a:lnTo>
                  <a:pt x="153987" y="0"/>
                </a:lnTo>
                <a:lnTo>
                  <a:pt x="0" y="0"/>
                </a:lnTo>
                <a:lnTo>
                  <a:pt x="0" y="10160"/>
                </a:lnTo>
                <a:lnTo>
                  <a:pt x="8736" y="10816"/>
                </a:lnTo>
                <a:lnTo>
                  <a:pt x="24223" y="13402"/>
                </a:lnTo>
                <a:lnTo>
                  <a:pt x="35638" y="18475"/>
                </a:lnTo>
                <a:lnTo>
                  <a:pt x="43343" y="27102"/>
                </a:lnTo>
                <a:lnTo>
                  <a:pt x="47700" y="40349"/>
                </a:lnTo>
                <a:lnTo>
                  <a:pt x="49072" y="59283"/>
                </a:lnTo>
                <a:lnTo>
                  <a:pt x="49072" y="293395"/>
                </a:lnTo>
                <a:lnTo>
                  <a:pt x="46066" y="319132"/>
                </a:lnTo>
                <a:lnTo>
                  <a:pt x="40193" y="330095"/>
                </a:lnTo>
                <a:lnTo>
                  <a:pt x="30799" y="336928"/>
                </a:lnTo>
                <a:lnTo>
                  <a:pt x="17522" y="340696"/>
                </a:lnTo>
                <a:lnTo>
                  <a:pt x="0" y="342468"/>
                </a:lnTo>
                <a:lnTo>
                  <a:pt x="0" y="352628"/>
                </a:lnTo>
                <a:lnTo>
                  <a:pt x="279196" y="352628"/>
                </a:lnTo>
                <a:lnTo>
                  <a:pt x="308825" y="262255"/>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object 46"/>
          <p:cNvSpPr/>
          <p:nvPr/>
        </p:nvSpPr>
        <p:spPr>
          <a:xfrm>
            <a:off x="7358352" y="6265992"/>
            <a:ext cx="159145" cy="259478"/>
          </a:xfrm>
          <a:custGeom>
            <a:avLst/>
            <a:gdLst/>
            <a:ahLst/>
            <a:cxnLst/>
            <a:rect l="l" t="t" r="r" b="b"/>
            <a:pathLst>
              <a:path w="226339" h="369036">
                <a:moveTo>
                  <a:pt x="19869" y="132728"/>
                </a:moveTo>
                <a:lnTo>
                  <a:pt x="26016" y="142073"/>
                </a:lnTo>
                <a:lnTo>
                  <a:pt x="33547" y="151087"/>
                </a:lnTo>
                <a:lnTo>
                  <a:pt x="42391" y="159928"/>
                </a:lnTo>
                <a:lnTo>
                  <a:pt x="52483" y="168752"/>
                </a:lnTo>
                <a:lnTo>
                  <a:pt x="63752" y="177716"/>
                </a:lnTo>
                <a:lnTo>
                  <a:pt x="76132" y="186975"/>
                </a:lnTo>
                <a:lnTo>
                  <a:pt x="89553" y="196688"/>
                </a:lnTo>
                <a:lnTo>
                  <a:pt x="103949" y="207010"/>
                </a:lnTo>
                <a:lnTo>
                  <a:pt x="115764" y="215612"/>
                </a:lnTo>
                <a:lnTo>
                  <a:pt x="129093" y="225811"/>
                </a:lnTo>
                <a:lnTo>
                  <a:pt x="140988" y="235667"/>
                </a:lnTo>
                <a:lnTo>
                  <a:pt x="151344" y="245265"/>
                </a:lnTo>
                <a:lnTo>
                  <a:pt x="160055" y="254690"/>
                </a:lnTo>
                <a:lnTo>
                  <a:pt x="167015" y="264028"/>
                </a:lnTo>
                <a:lnTo>
                  <a:pt x="172117" y="273365"/>
                </a:lnTo>
                <a:lnTo>
                  <a:pt x="175256" y="282787"/>
                </a:lnTo>
                <a:lnTo>
                  <a:pt x="176326" y="292379"/>
                </a:lnTo>
                <a:lnTo>
                  <a:pt x="175236" y="303897"/>
                </a:lnTo>
                <a:lnTo>
                  <a:pt x="170787" y="317259"/>
                </a:lnTo>
                <a:lnTo>
                  <a:pt x="163335" y="328603"/>
                </a:lnTo>
                <a:lnTo>
                  <a:pt x="153337" y="337745"/>
                </a:lnTo>
                <a:lnTo>
                  <a:pt x="141253" y="344501"/>
                </a:lnTo>
                <a:lnTo>
                  <a:pt x="127542" y="348689"/>
                </a:lnTo>
                <a:lnTo>
                  <a:pt x="112661" y="350126"/>
                </a:lnTo>
                <a:lnTo>
                  <a:pt x="99417" y="349070"/>
                </a:lnTo>
                <a:lnTo>
                  <a:pt x="86476" y="345815"/>
                </a:lnTo>
                <a:lnTo>
                  <a:pt x="74553" y="340594"/>
                </a:lnTo>
                <a:lnTo>
                  <a:pt x="63598" y="333647"/>
                </a:lnTo>
                <a:lnTo>
                  <a:pt x="53560" y="325211"/>
                </a:lnTo>
                <a:lnTo>
                  <a:pt x="44388" y="315525"/>
                </a:lnTo>
                <a:lnTo>
                  <a:pt x="36031" y="304825"/>
                </a:lnTo>
                <a:lnTo>
                  <a:pt x="28439" y="293350"/>
                </a:lnTo>
                <a:lnTo>
                  <a:pt x="21560" y="281337"/>
                </a:lnTo>
                <a:lnTo>
                  <a:pt x="15344" y="269026"/>
                </a:lnTo>
                <a:lnTo>
                  <a:pt x="9740" y="256654"/>
                </a:lnTo>
                <a:lnTo>
                  <a:pt x="0" y="256654"/>
                </a:lnTo>
                <a:lnTo>
                  <a:pt x="18948" y="365493"/>
                </a:lnTo>
                <a:lnTo>
                  <a:pt x="28714" y="365493"/>
                </a:lnTo>
                <a:lnTo>
                  <a:pt x="29705" y="357886"/>
                </a:lnTo>
                <a:lnTo>
                  <a:pt x="35941" y="354330"/>
                </a:lnTo>
                <a:lnTo>
                  <a:pt x="41821" y="354330"/>
                </a:lnTo>
                <a:lnTo>
                  <a:pt x="44355" y="354568"/>
                </a:lnTo>
                <a:lnTo>
                  <a:pt x="52160" y="356298"/>
                </a:lnTo>
                <a:lnTo>
                  <a:pt x="62951" y="359161"/>
                </a:lnTo>
                <a:lnTo>
                  <a:pt x="76073" y="362513"/>
                </a:lnTo>
                <a:lnTo>
                  <a:pt x="90875" y="365706"/>
                </a:lnTo>
                <a:lnTo>
                  <a:pt x="106705" y="368096"/>
                </a:lnTo>
                <a:lnTo>
                  <a:pt x="122910" y="369036"/>
                </a:lnTo>
                <a:lnTo>
                  <a:pt x="127629" y="368941"/>
                </a:lnTo>
                <a:lnTo>
                  <a:pt x="142540" y="367345"/>
                </a:lnTo>
                <a:lnTo>
                  <a:pt x="156664" y="363879"/>
                </a:lnTo>
                <a:lnTo>
                  <a:pt x="169866" y="358671"/>
                </a:lnTo>
                <a:lnTo>
                  <a:pt x="182014" y="351845"/>
                </a:lnTo>
                <a:lnTo>
                  <a:pt x="192975" y="343530"/>
                </a:lnTo>
                <a:lnTo>
                  <a:pt x="202614" y="333850"/>
                </a:lnTo>
                <a:lnTo>
                  <a:pt x="210800" y="322933"/>
                </a:lnTo>
                <a:lnTo>
                  <a:pt x="217398" y="310905"/>
                </a:lnTo>
                <a:lnTo>
                  <a:pt x="222277" y="297892"/>
                </a:lnTo>
                <a:lnTo>
                  <a:pt x="225301" y="284020"/>
                </a:lnTo>
                <a:lnTo>
                  <a:pt x="226339" y="269417"/>
                </a:lnTo>
                <a:lnTo>
                  <a:pt x="225457" y="257152"/>
                </a:lnTo>
                <a:lnTo>
                  <a:pt x="222608" y="244603"/>
                </a:lnTo>
                <a:lnTo>
                  <a:pt x="217975" y="232854"/>
                </a:lnTo>
                <a:lnTo>
                  <a:pt x="211753" y="221849"/>
                </a:lnTo>
                <a:lnTo>
                  <a:pt x="204134" y="211534"/>
                </a:lnTo>
                <a:lnTo>
                  <a:pt x="195310" y="201852"/>
                </a:lnTo>
                <a:lnTo>
                  <a:pt x="185475" y="192749"/>
                </a:lnTo>
                <a:lnTo>
                  <a:pt x="174822" y="184170"/>
                </a:lnTo>
                <a:lnTo>
                  <a:pt x="163542" y="176059"/>
                </a:lnTo>
                <a:lnTo>
                  <a:pt x="151830" y="168362"/>
                </a:lnTo>
                <a:lnTo>
                  <a:pt x="139877" y="161023"/>
                </a:lnTo>
                <a:lnTo>
                  <a:pt x="128921" y="154393"/>
                </a:lnTo>
                <a:lnTo>
                  <a:pt x="113930" y="145117"/>
                </a:lnTo>
                <a:lnTo>
                  <a:pt x="100367" y="136279"/>
                </a:lnTo>
                <a:lnTo>
                  <a:pt x="88321" y="127730"/>
                </a:lnTo>
                <a:lnTo>
                  <a:pt x="77882" y="119319"/>
                </a:lnTo>
                <a:lnTo>
                  <a:pt x="69139" y="110898"/>
                </a:lnTo>
                <a:lnTo>
                  <a:pt x="62184" y="102316"/>
                </a:lnTo>
                <a:lnTo>
                  <a:pt x="57104" y="93425"/>
                </a:lnTo>
                <a:lnTo>
                  <a:pt x="53991" y="84075"/>
                </a:lnTo>
                <a:lnTo>
                  <a:pt x="52933" y="74117"/>
                </a:lnTo>
                <a:lnTo>
                  <a:pt x="52952" y="72595"/>
                </a:lnTo>
                <a:lnTo>
                  <a:pt x="55190" y="57908"/>
                </a:lnTo>
                <a:lnTo>
                  <a:pt x="60812" y="44982"/>
                </a:lnTo>
                <a:lnTo>
                  <a:pt x="69328" y="34223"/>
                </a:lnTo>
                <a:lnTo>
                  <a:pt x="80248" y="26035"/>
                </a:lnTo>
                <a:lnTo>
                  <a:pt x="93082" y="20825"/>
                </a:lnTo>
                <a:lnTo>
                  <a:pt x="107340" y="18999"/>
                </a:lnTo>
                <a:lnTo>
                  <a:pt x="109795" y="19036"/>
                </a:lnTo>
                <a:lnTo>
                  <a:pt x="123527" y="20696"/>
                </a:lnTo>
                <a:lnTo>
                  <a:pt x="136177" y="24640"/>
                </a:lnTo>
                <a:lnTo>
                  <a:pt x="147760" y="30622"/>
                </a:lnTo>
                <a:lnTo>
                  <a:pt x="158290" y="38396"/>
                </a:lnTo>
                <a:lnTo>
                  <a:pt x="167780" y="47715"/>
                </a:lnTo>
                <a:lnTo>
                  <a:pt x="176244" y="58333"/>
                </a:lnTo>
                <a:lnTo>
                  <a:pt x="183696" y="70005"/>
                </a:lnTo>
                <a:lnTo>
                  <a:pt x="190149" y="82483"/>
                </a:lnTo>
                <a:lnTo>
                  <a:pt x="195617" y="95523"/>
                </a:lnTo>
                <a:lnTo>
                  <a:pt x="200113" y="108877"/>
                </a:lnTo>
                <a:lnTo>
                  <a:pt x="209804" y="108877"/>
                </a:lnTo>
                <a:lnTo>
                  <a:pt x="198666" y="3733"/>
                </a:lnTo>
                <a:lnTo>
                  <a:pt x="188988" y="3733"/>
                </a:lnTo>
                <a:lnTo>
                  <a:pt x="190360" y="11811"/>
                </a:lnTo>
                <a:lnTo>
                  <a:pt x="188988" y="16446"/>
                </a:lnTo>
                <a:lnTo>
                  <a:pt x="180670" y="16446"/>
                </a:lnTo>
                <a:lnTo>
                  <a:pt x="171708" y="15458"/>
                </a:lnTo>
                <a:lnTo>
                  <a:pt x="161848" y="12486"/>
                </a:lnTo>
                <a:lnTo>
                  <a:pt x="151475" y="8482"/>
                </a:lnTo>
                <a:lnTo>
                  <a:pt x="139648" y="4418"/>
                </a:lnTo>
                <a:lnTo>
                  <a:pt x="125428" y="1266"/>
                </a:lnTo>
                <a:lnTo>
                  <a:pt x="107873" y="0"/>
                </a:lnTo>
                <a:lnTo>
                  <a:pt x="96679" y="539"/>
                </a:lnTo>
                <a:lnTo>
                  <a:pt x="82514" y="2855"/>
                </a:lnTo>
                <a:lnTo>
                  <a:pt x="69129" y="6938"/>
                </a:lnTo>
                <a:lnTo>
                  <a:pt x="56691" y="12726"/>
                </a:lnTo>
                <a:lnTo>
                  <a:pt x="45367" y="20154"/>
                </a:lnTo>
                <a:lnTo>
                  <a:pt x="35327" y="29158"/>
                </a:lnTo>
                <a:lnTo>
                  <a:pt x="26736" y="39676"/>
                </a:lnTo>
                <a:lnTo>
                  <a:pt x="19763" y="51643"/>
                </a:lnTo>
                <a:lnTo>
                  <a:pt x="14575" y="64996"/>
                </a:lnTo>
                <a:lnTo>
                  <a:pt x="11339" y="79671"/>
                </a:lnTo>
                <a:lnTo>
                  <a:pt x="10223" y="95605"/>
                </a:lnTo>
                <a:lnTo>
                  <a:pt x="10403" y="101146"/>
                </a:lnTo>
                <a:lnTo>
                  <a:pt x="11994" y="112421"/>
                </a:lnTo>
                <a:lnTo>
                  <a:pt x="15172" y="122897"/>
                </a:lnTo>
                <a:lnTo>
                  <a:pt x="19869" y="132728"/>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object 47"/>
          <p:cNvSpPr/>
          <p:nvPr/>
        </p:nvSpPr>
        <p:spPr>
          <a:xfrm>
            <a:off x="7518478" y="6271775"/>
            <a:ext cx="228109" cy="247942"/>
          </a:xfrm>
          <a:custGeom>
            <a:avLst/>
            <a:gdLst/>
            <a:ahLst/>
            <a:cxnLst/>
            <a:rect l="l" t="t" r="r" b="b"/>
            <a:pathLst>
              <a:path w="324421" h="352628">
                <a:moveTo>
                  <a:pt x="324421" y="266319"/>
                </a:moveTo>
                <a:lnTo>
                  <a:pt x="315163" y="262648"/>
                </a:lnTo>
                <a:lnTo>
                  <a:pt x="312777" y="269684"/>
                </a:lnTo>
                <a:lnTo>
                  <a:pt x="307104" y="282845"/>
                </a:lnTo>
                <a:lnTo>
                  <a:pt x="300191" y="294746"/>
                </a:lnTo>
                <a:lnTo>
                  <a:pt x="292019" y="305235"/>
                </a:lnTo>
                <a:lnTo>
                  <a:pt x="282573" y="314158"/>
                </a:lnTo>
                <a:lnTo>
                  <a:pt x="271834" y="321364"/>
                </a:lnTo>
                <a:lnTo>
                  <a:pt x="259787" y="326700"/>
                </a:lnTo>
                <a:lnTo>
                  <a:pt x="246414" y="330014"/>
                </a:lnTo>
                <a:lnTo>
                  <a:pt x="231698" y="331152"/>
                </a:lnTo>
                <a:lnTo>
                  <a:pt x="129222" y="331152"/>
                </a:lnTo>
                <a:lnTo>
                  <a:pt x="116853" y="329338"/>
                </a:lnTo>
                <a:lnTo>
                  <a:pt x="108935" y="322318"/>
                </a:lnTo>
                <a:lnTo>
                  <a:pt x="105552" y="308967"/>
                </a:lnTo>
                <a:lnTo>
                  <a:pt x="104838" y="288188"/>
                </a:lnTo>
                <a:lnTo>
                  <a:pt x="104838" y="177355"/>
                </a:lnTo>
                <a:lnTo>
                  <a:pt x="207403" y="177355"/>
                </a:lnTo>
                <a:lnTo>
                  <a:pt x="213264" y="177525"/>
                </a:lnTo>
                <a:lnTo>
                  <a:pt x="228222" y="180181"/>
                </a:lnTo>
                <a:lnTo>
                  <a:pt x="239282" y="186186"/>
                </a:lnTo>
                <a:lnTo>
                  <a:pt x="246983" y="195710"/>
                </a:lnTo>
                <a:lnTo>
                  <a:pt x="251865" y="208919"/>
                </a:lnTo>
                <a:lnTo>
                  <a:pt x="254469" y="225983"/>
                </a:lnTo>
                <a:lnTo>
                  <a:pt x="264147" y="225983"/>
                </a:lnTo>
                <a:lnTo>
                  <a:pt x="264147" y="107315"/>
                </a:lnTo>
                <a:lnTo>
                  <a:pt x="254469" y="107315"/>
                </a:lnTo>
                <a:lnTo>
                  <a:pt x="253757" y="113373"/>
                </a:lnTo>
                <a:lnTo>
                  <a:pt x="250396" y="129284"/>
                </a:lnTo>
                <a:lnTo>
                  <a:pt x="244752" y="141261"/>
                </a:lnTo>
                <a:lnTo>
                  <a:pt x="236152" y="149535"/>
                </a:lnTo>
                <a:lnTo>
                  <a:pt x="223926" y="154331"/>
                </a:lnTo>
                <a:lnTo>
                  <a:pt x="207403" y="155879"/>
                </a:lnTo>
                <a:lnTo>
                  <a:pt x="104838" y="155879"/>
                </a:lnTo>
                <a:lnTo>
                  <a:pt x="104854" y="49779"/>
                </a:lnTo>
                <a:lnTo>
                  <a:pt x="106171" y="32152"/>
                </a:lnTo>
                <a:lnTo>
                  <a:pt x="112251" y="23700"/>
                </a:lnTo>
                <a:lnTo>
                  <a:pt x="126771" y="21526"/>
                </a:lnTo>
                <a:lnTo>
                  <a:pt x="218998" y="21526"/>
                </a:lnTo>
                <a:lnTo>
                  <a:pt x="232861" y="22124"/>
                </a:lnTo>
                <a:lnTo>
                  <a:pt x="247302" y="24609"/>
                </a:lnTo>
                <a:lnTo>
                  <a:pt x="259384" y="29333"/>
                </a:lnTo>
                <a:lnTo>
                  <a:pt x="269178" y="36626"/>
                </a:lnTo>
                <a:lnTo>
                  <a:pt x="276753" y="46818"/>
                </a:lnTo>
                <a:lnTo>
                  <a:pt x="282182" y="60238"/>
                </a:lnTo>
                <a:lnTo>
                  <a:pt x="285534" y="77216"/>
                </a:lnTo>
                <a:lnTo>
                  <a:pt x="295211" y="77216"/>
                </a:lnTo>
                <a:lnTo>
                  <a:pt x="290893" y="0"/>
                </a:lnTo>
                <a:lnTo>
                  <a:pt x="0" y="0"/>
                </a:lnTo>
                <a:lnTo>
                  <a:pt x="0" y="10160"/>
                </a:lnTo>
                <a:lnTo>
                  <a:pt x="13408" y="10594"/>
                </a:lnTo>
                <a:lnTo>
                  <a:pt x="28463" y="13067"/>
                </a:lnTo>
                <a:lnTo>
                  <a:pt x="39517" y="18455"/>
                </a:lnTo>
                <a:lnTo>
                  <a:pt x="46946" y="27581"/>
                </a:lnTo>
                <a:lnTo>
                  <a:pt x="51128" y="41264"/>
                </a:lnTo>
                <a:lnTo>
                  <a:pt x="52438" y="60325"/>
                </a:lnTo>
                <a:lnTo>
                  <a:pt x="52438" y="292430"/>
                </a:lnTo>
                <a:lnTo>
                  <a:pt x="51790" y="306462"/>
                </a:lnTo>
                <a:lnTo>
                  <a:pt x="48480" y="321596"/>
                </a:lnTo>
                <a:lnTo>
                  <a:pt x="42024" y="331949"/>
                </a:lnTo>
                <a:lnTo>
                  <a:pt x="32044" y="338336"/>
                </a:lnTo>
                <a:lnTo>
                  <a:pt x="18161" y="341570"/>
                </a:lnTo>
                <a:lnTo>
                  <a:pt x="0" y="342468"/>
                </a:lnTo>
                <a:lnTo>
                  <a:pt x="0" y="352628"/>
                </a:lnTo>
                <a:lnTo>
                  <a:pt x="298196" y="352628"/>
                </a:lnTo>
                <a:lnTo>
                  <a:pt x="324421" y="266319"/>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8" name="object 48"/>
          <p:cNvSpPr/>
          <p:nvPr/>
        </p:nvSpPr>
        <p:spPr>
          <a:xfrm>
            <a:off x="7727773" y="6271771"/>
            <a:ext cx="257434" cy="250870"/>
          </a:xfrm>
          <a:custGeom>
            <a:avLst/>
            <a:gdLst/>
            <a:ahLst/>
            <a:cxnLst/>
            <a:rect l="l" t="t" r="r" b="b"/>
            <a:pathLst>
              <a:path w="366128" h="356793">
                <a:moveTo>
                  <a:pt x="144284" y="0"/>
                </a:moveTo>
                <a:lnTo>
                  <a:pt x="0" y="0"/>
                </a:lnTo>
                <a:lnTo>
                  <a:pt x="0" y="10160"/>
                </a:lnTo>
                <a:lnTo>
                  <a:pt x="8440" y="10931"/>
                </a:lnTo>
                <a:lnTo>
                  <a:pt x="20935" y="15168"/>
                </a:lnTo>
                <a:lnTo>
                  <a:pt x="31644" y="22737"/>
                </a:lnTo>
                <a:lnTo>
                  <a:pt x="39878" y="33223"/>
                </a:lnTo>
                <a:lnTo>
                  <a:pt x="47349" y="46954"/>
                </a:lnTo>
                <a:lnTo>
                  <a:pt x="53102" y="58316"/>
                </a:lnTo>
                <a:lnTo>
                  <a:pt x="58593" y="69783"/>
                </a:lnTo>
                <a:lnTo>
                  <a:pt x="63873" y="81332"/>
                </a:lnTo>
                <a:lnTo>
                  <a:pt x="68995" y="92943"/>
                </a:lnTo>
                <a:lnTo>
                  <a:pt x="74009" y="104596"/>
                </a:lnTo>
                <a:lnTo>
                  <a:pt x="78968" y="116270"/>
                </a:lnTo>
                <a:lnTo>
                  <a:pt x="83922" y="127944"/>
                </a:lnTo>
                <a:lnTo>
                  <a:pt x="88925" y="139598"/>
                </a:lnTo>
                <a:lnTo>
                  <a:pt x="182613" y="356793"/>
                </a:lnTo>
                <a:lnTo>
                  <a:pt x="189865" y="356793"/>
                </a:lnTo>
                <a:lnTo>
                  <a:pt x="302526" y="97561"/>
                </a:lnTo>
                <a:lnTo>
                  <a:pt x="304057" y="93928"/>
                </a:lnTo>
                <a:lnTo>
                  <a:pt x="308499" y="83029"/>
                </a:lnTo>
                <a:lnTo>
                  <a:pt x="313802" y="70194"/>
                </a:lnTo>
                <a:lnTo>
                  <a:pt x="319822" y="56519"/>
                </a:lnTo>
                <a:lnTo>
                  <a:pt x="326415" y="43098"/>
                </a:lnTo>
                <a:lnTo>
                  <a:pt x="333437" y="31027"/>
                </a:lnTo>
                <a:lnTo>
                  <a:pt x="340745" y="21401"/>
                </a:lnTo>
                <a:lnTo>
                  <a:pt x="348195" y="15316"/>
                </a:lnTo>
                <a:lnTo>
                  <a:pt x="354012" y="12268"/>
                </a:lnTo>
                <a:lnTo>
                  <a:pt x="360273" y="11303"/>
                </a:lnTo>
                <a:lnTo>
                  <a:pt x="366128" y="10160"/>
                </a:lnTo>
                <a:lnTo>
                  <a:pt x="366128" y="0"/>
                </a:lnTo>
                <a:lnTo>
                  <a:pt x="263232" y="0"/>
                </a:lnTo>
                <a:lnTo>
                  <a:pt x="263232" y="10160"/>
                </a:lnTo>
                <a:lnTo>
                  <a:pt x="268898" y="10605"/>
                </a:lnTo>
                <a:lnTo>
                  <a:pt x="286489" y="14009"/>
                </a:lnTo>
                <a:lnTo>
                  <a:pt x="296832" y="20022"/>
                </a:lnTo>
                <a:lnTo>
                  <a:pt x="300215" y="28613"/>
                </a:lnTo>
                <a:lnTo>
                  <a:pt x="299731" y="36103"/>
                </a:lnTo>
                <a:lnTo>
                  <a:pt x="297671" y="46460"/>
                </a:lnTo>
                <a:lnTo>
                  <a:pt x="293584" y="59346"/>
                </a:lnTo>
                <a:lnTo>
                  <a:pt x="287032" y="75679"/>
                </a:lnTo>
                <a:lnTo>
                  <a:pt x="202501" y="272389"/>
                </a:lnTo>
                <a:lnTo>
                  <a:pt x="132118" y="104825"/>
                </a:lnTo>
                <a:lnTo>
                  <a:pt x="130200" y="100299"/>
                </a:lnTo>
                <a:lnTo>
                  <a:pt x="123676" y="84809"/>
                </a:lnTo>
                <a:lnTo>
                  <a:pt x="117455" y="69789"/>
                </a:lnTo>
                <a:lnTo>
                  <a:pt x="111931" y="56028"/>
                </a:lnTo>
                <a:lnTo>
                  <a:pt x="107498" y="44316"/>
                </a:lnTo>
                <a:lnTo>
                  <a:pt x="104549" y="35444"/>
                </a:lnTo>
                <a:lnTo>
                  <a:pt x="103479" y="30200"/>
                </a:lnTo>
                <a:lnTo>
                  <a:pt x="105448" y="21957"/>
                </a:lnTo>
                <a:lnTo>
                  <a:pt x="115877" y="13655"/>
                </a:lnTo>
                <a:lnTo>
                  <a:pt x="130606" y="10596"/>
                </a:lnTo>
                <a:lnTo>
                  <a:pt x="144284" y="10160"/>
                </a:lnTo>
                <a:lnTo>
                  <a:pt x="144284" y="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object 49"/>
          <p:cNvSpPr/>
          <p:nvPr/>
        </p:nvSpPr>
        <p:spPr>
          <a:xfrm>
            <a:off x="7987591" y="6271775"/>
            <a:ext cx="110647" cy="247942"/>
          </a:xfrm>
          <a:custGeom>
            <a:avLst/>
            <a:gdLst/>
            <a:ahLst/>
            <a:cxnLst/>
            <a:rect l="l" t="t" r="r" b="b"/>
            <a:pathLst>
              <a:path w="157365" h="352628">
                <a:moveTo>
                  <a:pt x="52501" y="292430"/>
                </a:moveTo>
                <a:lnTo>
                  <a:pt x="51845" y="306519"/>
                </a:lnTo>
                <a:lnTo>
                  <a:pt x="48518" y="321628"/>
                </a:lnTo>
                <a:lnTo>
                  <a:pt x="42042" y="331965"/>
                </a:lnTo>
                <a:lnTo>
                  <a:pt x="32046" y="338342"/>
                </a:lnTo>
                <a:lnTo>
                  <a:pt x="18156" y="341572"/>
                </a:lnTo>
                <a:lnTo>
                  <a:pt x="0" y="342468"/>
                </a:lnTo>
                <a:lnTo>
                  <a:pt x="0" y="352628"/>
                </a:lnTo>
                <a:lnTo>
                  <a:pt x="157365" y="352628"/>
                </a:lnTo>
                <a:lnTo>
                  <a:pt x="157365" y="342468"/>
                </a:lnTo>
                <a:lnTo>
                  <a:pt x="143920" y="342030"/>
                </a:lnTo>
                <a:lnTo>
                  <a:pt x="128840" y="339552"/>
                </a:lnTo>
                <a:lnTo>
                  <a:pt x="117758" y="334164"/>
                </a:lnTo>
                <a:lnTo>
                  <a:pt x="110304" y="325055"/>
                </a:lnTo>
                <a:lnTo>
                  <a:pt x="106104" y="311414"/>
                </a:lnTo>
                <a:lnTo>
                  <a:pt x="104787" y="292430"/>
                </a:lnTo>
                <a:lnTo>
                  <a:pt x="104787" y="60325"/>
                </a:lnTo>
                <a:lnTo>
                  <a:pt x="105463" y="46004"/>
                </a:lnTo>
                <a:lnTo>
                  <a:pt x="108816" y="30921"/>
                </a:lnTo>
                <a:lnTo>
                  <a:pt x="115312" y="20612"/>
                </a:lnTo>
                <a:lnTo>
                  <a:pt x="125321" y="14260"/>
                </a:lnTo>
                <a:lnTo>
                  <a:pt x="139215" y="11049"/>
                </a:lnTo>
                <a:lnTo>
                  <a:pt x="157365" y="10160"/>
                </a:lnTo>
                <a:lnTo>
                  <a:pt x="157365" y="0"/>
                </a:lnTo>
                <a:lnTo>
                  <a:pt x="0" y="0"/>
                </a:lnTo>
                <a:lnTo>
                  <a:pt x="0" y="10160"/>
                </a:lnTo>
                <a:lnTo>
                  <a:pt x="13465" y="10598"/>
                </a:lnTo>
                <a:lnTo>
                  <a:pt x="28509" y="13076"/>
                </a:lnTo>
                <a:lnTo>
                  <a:pt x="39564" y="18469"/>
                </a:lnTo>
                <a:lnTo>
                  <a:pt x="46999" y="27595"/>
                </a:lnTo>
                <a:lnTo>
                  <a:pt x="51188" y="41274"/>
                </a:lnTo>
                <a:lnTo>
                  <a:pt x="52501" y="60325"/>
                </a:lnTo>
                <a:lnTo>
                  <a:pt x="52501" y="29243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object 50"/>
          <p:cNvSpPr/>
          <p:nvPr/>
        </p:nvSpPr>
        <p:spPr>
          <a:xfrm>
            <a:off x="8113475" y="6271775"/>
            <a:ext cx="228091" cy="247942"/>
          </a:xfrm>
          <a:custGeom>
            <a:avLst/>
            <a:gdLst/>
            <a:ahLst/>
            <a:cxnLst/>
            <a:rect l="l" t="t" r="r" b="b"/>
            <a:pathLst>
              <a:path w="324396" h="352628">
                <a:moveTo>
                  <a:pt x="324396" y="266319"/>
                </a:moveTo>
                <a:lnTo>
                  <a:pt x="315137" y="262648"/>
                </a:lnTo>
                <a:lnTo>
                  <a:pt x="312746" y="269724"/>
                </a:lnTo>
                <a:lnTo>
                  <a:pt x="307088" y="282877"/>
                </a:lnTo>
                <a:lnTo>
                  <a:pt x="300186" y="294771"/>
                </a:lnTo>
                <a:lnTo>
                  <a:pt x="292023" y="305253"/>
                </a:lnTo>
                <a:lnTo>
                  <a:pt x="282578" y="314170"/>
                </a:lnTo>
                <a:lnTo>
                  <a:pt x="271835" y="321371"/>
                </a:lnTo>
                <a:lnTo>
                  <a:pt x="259773" y="326703"/>
                </a:lnTo>
                <a:lnTo>
                  <a:pt x="246375" y="330014"/>
                </a:lnTo>
                <a:lnTo>
                  <a:pt x="231622" y="331152"/>
                </a:lnTo>
                <a:lnTo>
                  <a:pt x="129171" y="331152"/>
                </a:lnTo>
                <a:lnTo>
                  <a:pt x="116865" y="329353"/>
                </a:lnTo>
                <a:lnTo>
                  <a:pt x="108961" y="322340"/>
                </a:lnTo>
                <a:lnTo>
                  <a:pt x="105602" y="308986"/>
                </a:lnTo>
                <a:lnTo>
                  <a:pt x="104902" y="288188"/>
                </a:lnTo>
                <a:lnTo>
                  <a:pt x="104902" y="177355"/>
                </a:lnTo>
                <a:lnTo>
                  <a:pt x="207340" y="177355"/>
                </a:lnTo>
                <a:lnTo>
                  <a:pt x="213252" y="177528"/>
                </a:lnTo>
                <a:lnTo>
                  <a:pt x="228215" y="180190"/>
                </a:lnTo>
                <a:lnTo>
                  <a:pt x="239281" y="186198"/>
                </a:lnTo>
                <a:lnTo>
                  <a:pt x="246987" y="195721"/>
                </a:lnTo>
                <a:lnTo>
                  <a:pt x="251867" y="208927"/>
                </a:lnTo>
                <a:lnTo>
                  <a:pt x="254457" y="225983"/>
                </a:lnTo>
                <a:lnTo>
                  <a:pt x="264185" y="225983"/>
                </a:lnTo>
                <a:lnTo>
                  <a:pt x="264185" y="107315"/>
                </a:lnTo>
                <a:lnTo>
                  <a:pt x="254457" y="107315"/>
                </a:lnTo>
                <a:lnTo>
                  <a:pt x="253761" y="113420"/>
                </a:lnTo>
                <a:lnTo>
                  <a:pt x="250425" y="129313"/>
                </a:lnTo>
                <a:lnTo>
                  <a:pt x="244758" y="141277"/>
                </a:lnTo>
                <a:lnTo>
                  <a:pt x="236118" y="149541"/>
                </a:lnTo>
                <a:lnTo>
                  <a:pt x="223859" y="154333"/>
                </a:lnTo>
                <a:lnTo>
                  <a:pt x="207340" y="155879"/>
                </a:lnTo>
                <a:lnTo>
                  <a:pt x="104902" y="155879"/>
                </a:lnTo>
                <a:lnTo>
                  <a:pt x="104918" y="49757"/>
                </a:lnTo>
                <a:lnTo>
                  <a:pt x="106238" y="32144"/>
                </a:lnTo>
                <a:lnTo>
                  <a:pt x="112326" y="23698"/>
                </a:lnTo>
                <a:lnTo>
                  <a:pt x="126860" y="21526"/>
                </a:lnTo>
                <a:lnTo>
                  <a:pt x="218986" y="21526"/>
                </a:lnTo>
                <a:lnTo>
                  <a:pt x="232944" y="22130"/>
                </a:lnTo>
                <a:lnTo>
                  <a:pt x="247386" y="24621"/>
                </a:lnTo>
                <a:lnTo>
                  <a:pt x="259458" y="29349"/>
                </a:lnTo>
                <a:lnTo>
                  <a:pt x="269238" y="36644"/>
                </a:lnTo>
                <a:lnTo>
                  <a:pt x="276803" y="46834"/>
                </a:lnTo>
                <a:lnTo>
                  <a:pt x="282230" y="60248"/>
                </a:lnTo>
                <a:lnTo>
                  <a:pt x="285597" y="77216"/>
                </a:lnTo>
                <a:lnTo>
                  <a:pt x="295211" y="77216"/>
                </a:lnTo>
                <a:lnTo>
                  <a:pt x="290893" y="0"/>
                </a:lnTo>
                <a:lnTo>
                  <a:pt x="0" y="0"/>
                </a:lnTo>
                <a:lnTo>
                  <a:pt x="0" y="10160"/>
                </a:lnTo>
                <a:lnTo>
                  <a:pt x="13418" y="10593"/>
                </a:lnTo>
                <a:lnTo>
                  <a:pt x="28487" y="13065"/>
                </a:lnTo>
                <a:lnTo>
                  <a:pt x="39537" y="18452"/>
                </a:lnTo>
                <a:lnTo>
                  <a:pt x="46954" y="27578"/>
                </a:lnTo>
                <a:lnTo>
                  <a:pt x="51121" y="41262"/>
                </a:lnTo>
                <a:lnTo>
                  <a:pt x="52425" y="60325"/>
                </a:lnTo>
                <a:lnTo>
                  <a:pt x="52425" y="292430"/>
                </a:lnTo>
                <a:lnTo>
                  <a:pt x="51782" y="306451"/>
                </a:lnTo>
                <a:lnTo>
                  <a:pt x="48487" y="321590"/>
                </a:lnTo>
                <a:lnTo>
                  <a:pt x="42047" y="331946"/>
                </a:lnTo>
                <a:lnTo>
                  <a:pt x="32077" y="338335"/>
                </a:lnTo>
                <a:lnTo>
                  <a:pt x="18190" y="341570"/>
                </a:lnTo>
                <a:lnTo>
                  <a:pt x="0" y="342468"/>
                </a:lnTo>
                <a:lnTo>
                  <a:pt x="0" y="352628"/>
                </a:lnTo>
                <a:lnTo>
                  <a:pt x="298119" y="352628"/>
                </a:lnTo>
                <a:lnTo>
                  <a:pt x="324396" y="266319"/>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object 51"/>
          <p:cNvSpPr/>
          <p:nvPr/>
        </p:nvSpPr>
        <p:spPr>
          <a:xfrm>
            <a:off x="8341146" y="6271770"/>
            <a:ext cx="249209" cy="247950"/>
          </a:xfrm>
          <a:custGeom>
            <a:avLst/>
            <a:gdLst/>
            <a:ahLst/>
            <a:cxnLst/>
            <a:rect l="l" t="t" r="r" b="b"/>
            <a:pathLst>
              <a:path w="354431" h="352640">
                <a:moveTo>
                  <a:pt x="157327" y="352640"/>
                </a:moveTo>
                <a:lnTo>
                  <a:pt x="157327" y="342480"/>
                </a:lnTo>
                <a:lnTo>
                  <a:pt x="139169" y="341585"/>
                </a:lnTo>
                <a:lnTo>
                  <a:pt x="125276" y="338357"/>
                </a:lnTo>
                <a:lnTo>
                  <a:pt x="115275" y="331985"/>
                </a:lnTo>
                <a:lnTo>
                  <a:pt x="108794" y="321655"/>
                </a:lnTo>
                <a:lnTo>
                  <a:pt x="105460" y="306556"/>
                </a:lnTo>
                <a:lnTo>
                  <a:pt x="104800" y="292430"/>
                </a:lnTo>
                <a:lnTo>
                  <a:pt x="104800" y="195249"/>
                </a:lnTo>
                <a:lnTo>
                  <a:pt x="149072" y="195249"/>
                </a:lnTo>
                <a:lnTo>
                  <a:pt x="150967" y="172939"/>
                </a:lnTo>
                <a:lnTo>
                  <a:pt x="135819" y="173744"/>
                </a:lnTo>
                <a:lnTo>
                  <a:pt x="104800" y="173774"/>
                </a:lnTo>
                <a:lnTo>
                  <a:pt x="104800" y="44424"/>
                </a:lnTo>
                <a:lnTo>
                  <a:pt x="106598" y="29195"/>
                </a:lnTo>
                <a:lnTo>
                  <a:pt x="113742" y="21681"/>
                </a:lnTo>
                <a:lnTo>
                  <a:pt x="51777" y="46132"/>
                </a:lnTo>
                <a:lnTo>
                  <a:pt x="52438" y="60324"/>
                </a:lnTo>
                <a:lnTo>
                  <a:pt x="52438" y="292430"/>
                </a:lnTo>
                <a:lnTo>
                  <a:pt x="51122" y="311440"/>
                </a:lnTo>
                <a:lnTo>
                  <a:pt x="46924" y="325093"/>
                </a:lnTo>
                <a:lnTo>
                  <a:pt x="39472" y="334202"/>
                </a:lnTo>
                <a:lnTo>
                  <a:pt x="28389" y="339583"/>
                </a:lnTo>
                <a:lnTo>
                  <a:pt x="13303" y="342051"/>
                </a:lnTo>
                <a:lnTo>
                  <a:pt x="0" y="342480"/>
                </a:lnTo>
                <a:lnTo>
                  <a:pt x="0" y="352640"/>
                </a:lnTo>
                <a:lnTo>
                  <a:pt x="157327" y="352640"/>
                </a:lnTo>
                <a:close/>
              </a:path>
              <a:path w="354431" h="352640">
                <a:moveTo>
                  <a:pt x="354431" y="352640"/>
                </a:moveTo>
                <a:lnTo>
                  <a:pt x="354431" y="342480"/>
                </a:lnTo>
                <a:lnTo>
                  <a:pt x="340475" y="337808"/>
                </a:lnTo>
                <a:lnTo>
                  <a:pt x="329925" y="332310"/>
                </a:lnTo>
                <a:lnTo>
                  <a:pt x="321021" y="324936"/>
                </a:lnTo>
                <a:lnTo>
                  <a:pt x="312007" y="314639"/>
                </a:lnTo>
                <a:lnTo>
                  <a:pt x="311746" y="314312"/>
                </a:lnTo>
                <a:lnTo>
                  <a:pt x="204914" y="182511"/>
                </a:lnTo>
                <a:lnTo>
                  <a:pt x="219705" y="178799"/>
                </a:lnTo>
                <a:lnTo>
                  <a:pt x="233478" y="174125"/>
                </a:lnTo>
                <a:lnTo>
                  <a:pt x="246121" y="168401"/>
                </a:lnTo>
                <a:lnTo>
                  <a:pt x="257524" y="161537"/>
                </a:lnTo>
                <a:lnTo>
                  <a:pt x="267574" y="153447"/>
                </a:lnTo>
                <a:lnTo>
                  <a:pt x="276160" y="144040"/>
                </a:lnTo>
                <a:lnTo>
                  <a:pt x="283172" y="133229"/>
                </a:lnTo>
                <a:lnTo>
                  <a:pt x="288497" y="120925"/>
                </a:lnTo>
                <a:lnTo>
                  <a:pt x="292024" y="107040"/>
                </a:lnTo>
                <a:lnTo>
                  <a:pt x="293641" y="91485"/>
                </a:lnTo>
                <a:lnTo>
                  <a:pt x="293738" y="86359"/>
                </a:lnTo>
                <a:lnTo>
                  <a:pt x="292384" y="68196"/>
                </a:lnTo>
                <a:lnTo>
                  <a:pt x="288496" y="52771"/>
                </a:lnTo>
                <a:lnTo>
                  <a:pt x="282336" y="39859"/>
                </a:lnTo>
                <a:lnTo>
                  <a:pt x="274166" y="29239"/>
                </a:lnTo>
                <a:lnTo>
                  <a:pt x="264246" y="20688"/>
                </a:lnTo>
                <a:lnTo>
                  <a:pt x="252838" y="13982"/>
                </a:lnTo>
                <a:lnTo>
                  <a:pt x="240204" y="8900"/>
                </a:lnTo>
                <a:lnTo>
                  <a:pt x="226605" y="5218"/>
                </a:lnTo>
                <a:lnTo>
                  <a:pt x="212302" y="2713"/>
                </a:lnTo>
                <a:lnTo>
                  <a:pt x="197558" y="1162"/>
                </a:lnTo>
                <a:lnTo>
                  <a:pt x="182632" y="344"/>
                </a:lnTo>
                <a:lnTo>
                  <a:pt x="167788" y="34"/>
                </a:lnTo>
                <a:lnTo>
                  <a:pt x="0" y="0"/>
                </a:lnTo>
                <a:lnTo>
                  <a:pt x="0" y="10159"/>
                </a:lnTo>
                <a:lnTo>
                  <a:pt x="18129" y="11052"/>
                </a:lnTo>
                <a:lnTo>
                  <a:pt x="31998" y="14276"/>
                </a:lnTo>
                <a:lnTo>
                  <a:pt x="41981" y="20652"/>
                </a:lnTo>
                <a:lnTo>
                  <a:pt x="48449" y="30997"/>
                </a:lnTo>
                <a:lnTo>
                  <a:pt x="51777" y="46132"/>
                </a:lnTo>
                <a:lnTo>
                  <a:pt x="113742" y="21681"/>
                </a:lnTo>
                <a:lnTo>
                  <a:pt x="128859" y="19179"/>
                </a:lnTo>
                <a:lnTo>
                  <a:pt x="142671" y="18961"/>
                </a:lnTo>
                <a:lnTo>
                  <a:pt x="157981" y="19572"/>
                </a:lnTo>
                <a:lnTo>
                  <a:pt x="172687" y="21527"/>
                </a:lnTo>
                <a:lnTo>
                  <a:pt x="186500" y="25002"/>
                </a:lnTo>
                <a:lnTo>
                  <a:pt x="199130" y="30177"/>
                </a:lnTo>
                <a:lnTo>
                  <a:pt x="210286" y="37231"/>
                </a:lnTo>
                <a:lnTo>
                  <a:pt x="219678" y="46343"/>
                </a:lnTo>
                <a:lnTo>
                  <a:pt x="227016" y="57690"/>
                </a:lnTo>
                <a:lnTo>
                  <a:pt x="232009" y="71452"/>
                </a:lnTo>
                <a:lnTo>
                  <a:pt x="234367" y="87807"/>
                </a:lnTo>
                <a:lnTo>
                  <a:pt x="234518" y="93573"/>
                </a:lnTo>
                <a:lnTo>
                  <a:pt x="233130" y="110581"/>
                </a:lnTo>
                <a:lnTo>
                  <a:pt x="229146" y="125195"/>
                </a:lnTo>
                <a:lnTo>
                  <a:pt x="222832" y="137565"/>
                </a:lnTo>
                <a:lnTo>
                  <a:pt x="214454" y="147838"/>
                </a:lnTo>
                <a:lnTo>
                  <a:pt x="204281" y="156163"/>
                </a:lnTo>
                <a:lnTo>
                  <a:pt x="192579" y="162687"/>
                </a:lnTo>
                <a:lnTo>
                  <a:pt x="179614" y="167559"/>
                </a:lnTo>
                <a:lnTo>
                  <a:pt x="165655" y="170927"/>
                </a:lnTo>
                <a:lnTo>
                  <a:pt x="150967" y="172939"/>
                </a:lnTo>
                <a:lnTo>
                  <a:pt x="149072" y="195249"/>
                </a:lnTo>
                <a:lnTo>
                  <a:pt x="275818" y="352640"/>
                </a:lnTo>
                <a:lnTo>
                  <a:pt x="354431" y="352640"/>
                </a:lnTo>
                <a:close/>
              </a:path>
            </a:pathLst>
          </a:custGeom>
          <a:solidFill>
            <a:srgbClr val="F5821F"/>
          </a:solidFill>
        </p:spPr>
        <p:txBody>
          <a:bodyPr wrap="square" lIns="0" tIns="0" rIns="0" bIns="0" rtlCol="0">
            <a:noAutofit/>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object 28"/>
          <p:cNvSpPr txBox="1"/>
          <p:nvPr/>
        </p:nvSpPr>
        <p:spPr>
          <a:xfrm>
            <a:off x="178305" y="4867335"/>
            <a:ext cx="8923244" cy="789360"/>
          </a:xfrm>
          <a:prstGeom prst="rect">
            <a:avLst/>
          </a:prstGeom>
        </p:spPr>
        <p:txBody>
          <a:bodyPr wrap="square" lIns="0" tIns="25047" rIns="0" bIns="0" rtlCol="0">
            <a:noAutofit/>
          </a:bodyPr>
          <a:lstStyle/>
          <a:p>
            <a:pPr marL="8929" marR="0" lvl="0" indent="0" algn="l" defTabSz="642915" rtl="0" eaLnBrk="1" fontAlgn="auto" latinLnBrk="0" hangingPunct="1">
              <a:lnSpc>
                <a:spcPts val="3944"/>
              </a:lnSpc>
              <a:spcBef>
                <a:spcPts val="0"/>
              </a:spcBef>
              <a:spcAft>
                <a:spcPts val="0"/>
              </a:spcAft>
              <a:buClrTx/>
              <a:buSzTx/>
              <a:buFontTx/>
              <a:buNone/>
              <a:tabLst/>
              <a:defRPr/>
            </a:pPr>
            <a:br>
              <a:rPr kumimoji="0" lang="en-US" sz="2400" b="0" i="0" u="none" strike="noStrike" kern="1200" cap="none" spc="0" normalizeH="0" baseline="0" noProof="0" dirty="0">
                <a:ln>
                  <a:noFill/>
                </a:ln>
                <a:solidFill>
                  <a:prstClr val="black"/>
                </a:solidFill>
                <a:effectLst/>
                <a:uLnTx/>
                <a:uFillTx/>
                <a:latin typeface="Calibri"/>
                <a:ea typeface="+mn-ea"/>
                <a:cs typeface="+mn-cs"/>
              </a:rPr>
            </a:b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8929" marR="0" lvl="0" indent="0" algn="l" defTabSz="642915" rtl="0" eaLnBrk="1" fontAlgn="auto" latinLnBrk="0" hangingPunct="1">
              <a:lnSpc>
                <a:spcPts val="3944"/>
              </a:lnSpc>
              <a:spcBef>
                <a:spcPts val="0"/>
              </a:spcBef>
              <a:spcAft>
                <a:spcPts val="0"/>
              </a:spcAft>
              <a:buClrTx/>
              <a:buSzTx/>
              <a:buFontTx/>
              <a:buNone/>
              <a:tabLst/>
              <a:defRPr/>
            </a:pPr>
            <a:endParaRPr kumimoji="0" sz="2400" b="1" i="0" u="none" strike="noStrike" kern="1200" cap="none" spc="0" normalizeH="0" baseline="0" noProof="0" dirty="0">
              <a:ln>
                <a:noFill/>
              </a:ln>
              <a:solidFill>
                <a:prstClr val="white"/>
              </a:solidFill>
              <a:effectLst/>
              <a:uLnTx/>
              <a:uFillTx/>
              <a:latin typeface="Times New Roman"/>
              <a:ea typeface="+mn-ea"/>
              <a:cs typeface="Times New Roman"/>
            </a:endParaRPr>
          </a:p>
        </p:txBody>
      </p:sp>
      <p:sp>
        <p:nvSpPr>
          <p:cNvPr id="26" name="object 26"/>
          <p:cNvSpPr txBox="1"/>
          <p:nvPr/>
        </p:nvSpPr>
        <p:spPr>
          <a:xfrm>
            <a:off x="6614621" y="5681076"/>
            <a:ext cx="183362"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5"/>
          <p:cNvSpPr txBox="1"/>
          <p:nvPr/>
        </p:nvSpPr>
        <p:spPr>
          <a:xfrm>
            <a:off x="6397898" y="5681076"/>
            <a:ext cx="183362"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4"/>
          <p:cNvSpPr txBox="1"/>
          <p:nvPr/>
        </p:nvSpPr>
        <p:spPr>
          <a:xfrm>
            <a:off x="6181165" y="5681076"/>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3"/>
          <p:cNvSpPr txBox="1"/>
          <p:nvPr/>
        </p:nvSpPr>
        <p:spPr>
          <a:xfrm>
            <a:off x="6831336" y="5464344"/>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object 22"/>
          <p:cNvSpPr txBox="1"/>
          <p:nvPr/>
        </p:nvSpPr>
        <p:spPr>
          <a:xfrm>
            <a:off x="6614621" y="5464344"/>
            <a:ext cx="183362"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21"/>
          <p:cNvSpPr txBox="1"/>
          <p:nvPr/>
        </p:nvSpPr>
        <p:spPr>
          <a:xfrm>
            <a:off x="6397898" y="5464344"/>
            <a:ext cx="183362"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20"/>
          <p:cNvSpPr txBox="1"/>
          <p:nvPr/>
        </p:nvSpPr>
        <p:spPr>
          <a:xfrm>
            <a:off x="6181165" y="5464344"/>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19"/>
          <p:cNvSpPr txBox="1"/>
          <p:nvPr/>
        </p:nvSpPr>
        <p:spPr>
          <a:xfrm>
            <a:off x="7048059" y="5247629"/>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8"/>
          <p:cNvSpPr txBox="1"/>
          <p:nvPr/>
        </p:nvSpPr>
        <p:spPr>
          <a:xfrm>
            <a:off x="6831336" y="5247629"/>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object 17"/>
          <p:cNvSpPr txBox="1"/>
          <p:nvPr/>
        </p:nvSpPr>
        <p:spPr>
          <a:xfrm>
            <a:off x="6614621" y="5247629"/>
            <a:ext cx="183362"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object 16"/>
          <p:cNvSpPr txBox="1"/>
          <p:nvPr/>
        </p:nvSpPr>
        <p:spPr>
          <a:xfrm>
            <a:off x="6397898" y="5247629"/>
            <a:ext cx="183362"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object 15"/>
          <p:cNvSpPr txBox="1"/>
          <p:nvPr/>
        </p:nvSpPr>
        <p:spPr>
          <a:xfrm>
            <a:off x="6181165" y="5247629"/>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bject 14"/>
          <p:cNvSpPr txBox="1"/>
          <p:nvPr/>
        </p:nvSpPr>
        <p:spPr>
          <a:xfrm>
            <a:off x="7048059" y="5030905"/>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object 13"/>
          <p:cNvSpPr txBox="1"/>
          <p:nvPr/>
        </p:nvSpPr>
        <p:spPr>
          <a:xfrm>
            <a:off x="6831336" y="5030905"/>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bject 12"/>
          <p:cNvSpPr txBox="1"/>
          <p:nvPr/>
        </p:nvSpPr>
        <p:spPr>
          <a:xfrm>
            <a:off x="6614621" y="5030905"/>
            <a:ext cx="183362"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11"/>
          <p:cNvSpPr txBox="1"/>
          <p:nvPr/>
        </p:nvSpPr>
        <p:spPr>
          <a:xfrm>
            <a:off x="6397898" y="5030905"/>
            <a:ext cx="183362"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bject 10"/>
          <p:cNvSpPr txBox="1"/>
          <p:nvPr/>
        </p:nvSpPr>
        <p:spPr>
          <a:xfrm>
            <a:off x="6181165" y="5030905"/>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object 9"/>
          <p:cNvSpPr txBox="1"/>
          <p:nvPr/>
        </p:nvSpPr>
        <p:spPr>
          <a:xfrm>
            <a:off x="8882387" y="4919641"/>
            <a:ext cx="150616" cy="184255"/>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object 8"/>
          <p:cNvSpPr txBox="1"/>
          <p:nvPr/>
        </p:nvSpPr>
        <p:spPr>
          <a:xfrm>
            <a:off x="8700864" y="4919641"/>
            <a:ext cx="150510" cy="184255"/>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object 7"/>
          <p:cNvSpPr txBox="1"/>
          <p:nvPr/>
        </p:nvSpPr>
        <p:spPr>
          <a:xfrm>
            <a:off x="8519485" y="4919641"/>
            <a:ext cx="150697" cy="184255"/>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object 6"/>
          <p:cNvSpPr txBox="1"/>
          <p:nvPr/>
        </p:nvSpPr>
        <p:spPr>
          <a:xfrm>
            <a:off x="8338015" y="4919641"/>
            <a:ext cx="150760" cy="184255"/>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object 5"/>
          <p:cNvSpPr txBox="1"/>
          <p:nvPr/>
        </p:nvSpPr>
        <p:spPr>
          <a:xfrm>
            <a:off x="6831336" y="4814200"/>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object 4"/>
          <p:cNvSpPr txBox="1"/>
          <p:nvPr/>
        </p:nvSpPr>
        <p:spPr>
          <a:xfrm>
            <a:off x="6614621" y="4814200"/>
            <a:ext cx="183362"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object 3"/>
          <p:cNvSpPr txBox="1"/>
          <p:nvPr/>
        </p:nvSpPr>
        <p:spPr>
          <a:xfrm>
            <a:off x="6397898" y="4814200"/>
            <a:ext cx="183362"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object 2"/>
          <p:cNvSpPr txBox="1"/>
          <p:nvPr/>
        </p:nvSpPr>
        <p:spPr>
          <a:xfrm>
            <a:off x="6181165" y="4814200"/>
            <a:ext cx="183380" cy="183380"/>
          </a:xfrm>
          <a:prstGeom prst="rect">
            <a:avLst/>
          </a:prstGeom>
        </p:spPr>
        <p:txBody>
          <a:bodyPr wrap="square" lIns="0" tIns="0" rIns="0" bIns="0" rtlCol="0">
            <a:noAutofit/>
          </a:bodyPr>
          <a:lstStyle/>
          <a:p>
            <a:pPr marL="17859" marR="0" lvl="0" indent="0" algn="l" defTabSz="642915" rtl="0" eaLnBrk="1" fontAlgn="auto" latinLnBrk="0" hangingPunct="1">
              <a:lnSpc>
                <a:spcPts val="703"/>
              </a:lnSpc>
              <a:spcBef>
                <a:spcPts val="0"/>
              </a:spcBef>
              <a:spcAft>
                <a:spcPts val="0"/>
              </a:spcAft>
              <a:buClrTx/>
              <a:buSzTx/>
              <a:buFontTx/>
              <a:buNone/>
              <a:tabLst/>
              <a:defRPr/>
            </a:pPr>
            <a:endParaRPr kumimoji="0" sz="703" b="0" i="0" u="none" strike="noStrike" kern="1200" cap="none" spc="0" normalizeH="0" baseline="0" noProof="0" dirty="0">
              <a:ln>
                <a:noFill/>
              </a:ln>
              <a:solidFill>
                <a:prstClr val="black"/>
              </a:solidFill>
              <a:effectLst/>
              <a:uLnTx/>
              <a:uFillTx/>
              <a:latin typeface="Calibri"/>
              <a:ea typeface="+mn-ea"/>
              <a:cs typeface="+mn-cs"/>
            </a:endParaRPr>
          </a:p>
        </p:txBody>
      </p:sp>
      <p:sp>
        <p:nvSpPr>
          <p:cNvPr id="423" name="TextBox 422">
            <a:extLst>
              <a:ext uri="{FF2B5EF4-FFF2-40B4-BE49-F238E27FC236}">
                <a16:creationId xmlns:a16="http://schemas.microsoft.com/office/drawing/2014/main" id="{271ED925-16F4-4673-94A1-A96606F149EC}"/>
              </a:ext>
            </a:extLst>
          </p:cNvPr>
          <p:cNvSpPr txBox="1"/>
          <p:nvPr/>
        </p:nvSpPr>
        <p:spPr>
          <a:xfrm>
            <a:off x="37475" y="5958103"/>
            <a:ext cx="601980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3565A">
                    <a:lumMod val="50000"/>
                  </a:srgbClr>
                </a:solidFill>
                <a:effectLst/>
                <a:uLnTx/>
                <a:uFillTx/>
                <a:latin typeface="Calibri"/>
                <a:ea typeface="+mn-ea"/>
                <a:cs typeface="+mn-cs"/>
              </a:rPr>
              <a:t>Robert Nieves</a:t>
            </a:r>
            <a:r>
              <a:rPr kumimoji="0" lang="en-US" sz="2000" b="0" i="0" u="none" strike="noStrike" kern="1200" cap="none" spc="0" normalizeH="0" baseline="0" noProof="0" dirty="0">
                <a:ln>
                  <a:noFill/>
                </a:ln>
                <a:solidFill>
                  <a:srgbClr val="53565A">
                    <a:lumMod val="50000"/>
                  </a:srgbClr>
                </a:solidFill>
                <a:effectLst/>
                <a:uLnTx/>
                <a:uFillTx/>
                <a:latin typeface="Calibri"/>
                <a:ea typeface="+mn-ea"/>
                <a:cs typeface="+mn-cs"/>
              </a:rPr>
              <a:t>, Juris Doctor, MBA, MPA, BSN, 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3565A">
                    <a:lumMod val="50000"/>
                  </a:srgbClr>
                </a:solidFill>
                <a:effectLst/>
                <a:uLnTx/>
                <a:uFillTx/>
                <a:latin typeface="Calibri"/>
                <a:ea typeface="+mn-ea"/>
                <a:cs typeface="+mn-cs"/>
              </a:rPr>
              <a:t>Vice President Health Informatic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53565A">
                  <a:lumMod val="50000"/>
                </a:srgbClr>
              </a:solidFill>
              <a:effectLst/>
              <a:uLnTx/>
              <a:uFillTx/>
              <a:latin typeface="Calibri"/>
              <a:ea typeface="+mn-ea"/>
              <a:cs typeface="+mn-cs"/>
            </a:endParaRPr>
          </a:p>
        </p:txBody>
      </p:sp>
      <p:sp>
        <p:nvSpPr>
          <p:cNvPr id="421" name="Rectangle 420">
            <a:extLst>
              <a:ext uri="{FF2B5EF4-FFF2-40B4-BE49-F238E27FC236}">
                <a16:creationId xmlns:a16="http://schemas.microsoft.com/office/drawing/2014/main" id="{0FF7F50B-058A-43B6-8A22-147919233DF9}"/>
              </a:ext>
            </a:extLst>
          </p:cNvPr>
          <p:cNvSpPr/>
          <p:nvPr/>
        </p:nvSpPr>
        <p:spPr>
          <a:xfrm>
            <a:off x="37474" y="4099068"/>
            <a:ext cx="9106525" cy="662448"/>
          </a:xfrm>
          <a:prstGeom prst="rect">
            <a:avLst/>
          </a:prstGeom>
          <a:solidFill>
            <a:schemeClr val="tx2"/>
          </a:solidFill>
          <a:ln>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Thank You!                                                                    r.nieves@elsevier.com</a:t>
            </a:r>
          </a:p>
        </p:txBody>
      </p:sp>
    </p:spTree>
    <p:extLst>
      <p:ext uri="{BB962C8B-B14F-4D97-AF65-F5344CB8AC3E}">
        <p14:creationId xmlns:p14="http://schemas.microsoft.com/office/powerpoint/2010/main" val="727482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a 1">
            <a:extLst>
              <a:ext uri="{FF2B5EF4-FFF2-40B4-BE49-F238E27FC236}">
                <a16:creationId xmlns:a16="http://schemas.microsoft.com/office/drawing/2014/main" id="{FEEFA7AB-92D8-4EAA-98DA-F94FE71713BD}"/>
              </a:ext>
            </a:extLst>
          </p:cNvPr>
          <p:cNvGraphicFramePr/>
          <p:nvPr>
            <p:extLst>
              <p:ext uri="{D42A27DB-BD31-4B8C-83A1-F6EECF244321}">
                <p14:modId xmlns:p14="http://schemas.microsoft.com/office/powerpoint/2010/main" val="2894969638"/>
              </p:ext>
            </p:extLst>
          </p:nvPr>
        </p:nvGraphicFramePr>
        <p:xfrm>
          <a:off x="457200" y="990600"/>
          <a:ext cx="8001000" cy="541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4" name="Grupo 13">
            <a:extLst>
              <a:ext uri="{FF2B5EF4-FFF2-40B4-BE49-F238E27FC236}">
                <a16:creationId xmlns:a16="http://schemas.microsoft.com/office/drawing/2014/main" id="{C3389937-E827-403D-AB5E-5521B0FF2AD7}"/>
              </a:ext>
            </a:extLst>
          </p:cNvPr>
          <p:cNvGrpSpPr/>
          <p:nvPr/>
        </p:nvGrpSpPr>
        <p:grpSpPr>
          <a:xfrm>
            <a:off x="4447309" y="2079808"/>
            <a:ext cx="4407480" cy="1938010"/>
            <a:chOff x="4447309" y="2079808"/>
            <a:chExt cx="4407480" cy="1938010"/>
          </a:xfrm>
        </p:grpSpPr>
        <p:sp>
          <p:nvSpPr>
            <p:cNvPr id="5" name="CuadroTexto 4">
              <a:extLst>
                <a:ext uri="{FF2B5EF4-FFF2-40B4-BE49-F238E27FC236}">
                  <a16:creationId xmlns:a16="http://schemas.microsoft.com/office/drawing/2014/main" id="{71580CFD-DD90-43DF-BE69-9EDA84ABC03D}"/>
                </a:ext>
              </a:extLst>
            </p:cNvPr>
            <p:cNvSpPr txBox="1"/>
            <p:nvPr/>
          </p:nvSpPr>
          <p:spPr>
            <a:xfrm>
              <a:off x="6911628" y="2079808"/>
              <a:ext cx="1943161" cy="523220"/>
            </a:xfrm>
            <a:prstGeom prst="rect">
              <a:avLst/>
            </a:prstGeom>
            <a:noFill/>
          </p:spPr>
          <p:txBody>
            <a:bodyPr wrap="none" rtlCol="0">
              <a:spAutoFit/>
            </a:bodyPr>
            <a:lstStyle/>
            <a:p>
              <a:r>
                <a:rPr lang="es-MX" sz="2800" dirty="0" err="1"/>
                <a:t>Informatics</a:t>
              </a:r>
              <a:endParaRPr lang="es-MX" sz="2800" dirty="0"/>
            </a:p>
          </p:txBody>
        </p:sp>
        <p:sp>
          <p:nvSpPr>
            <p:cNvPr id="13" name="Forma libre: forma 12">
              <a:extLst>
                <a:ext uri="{FF2B5EF4-FFF2-40B4-BE49-F238E27FC236}">
                  <a16:creationId xmlns:a16="http://schemas.microsoft.com/office/drawing/2014/main" id="{E40F7E38-3501-40B3-A392-F95D150F0A8D}"/>
                </a:ext>
              </a:extLst>
            </p:cNvPr>
            <p:cNvSpPr/>
            <p:nvPr/>
          </p:nvSpPr>
          <p:spPr>
            <a:xfrm>
              <a:off x="4447309" y="2341418"/>
              <a:ext cx="2464319" cy="1676400"/>
            </a:xfrm>
            <a:custGeom>
              <a:avLst/>
              <a:gdLst>
                <a:gd name="connsiteX0" fmla="*/ 2881746 w 2881746"/>
                <a:gd name="connsiteY0" fmla="*/ 0 h 1676400"/>
                <a:gd name="connsiteX1" fmla="*/ 0 w 2881746"/>
                <a:gd name="connsiteY1" fmla="*/ 1676400 h 1676400"/>
              </a:gdLst>
              <a:ahLst/>
              <a:cxnLst>
                <a:cxn ang="0">
                  <a:pos x="connsiteX0" y="connsiteY0"/>
                </a:cxn>
                <a:cxn ang="0">
                  <a:pos x="connsiteX1" y="connsiteY1"/>
                </a:cxn>
              </a:cxnLst>
              <a:rect l="l" t="t" r="r" b="b"/>
              <a:pathLst>
                <a:path w="2881746" h="1676400">
                  <a:moveTo>
                    <a:pt x="2881746" y="0"/>
                  </a:moveTo>
                  <a:cubicBezTo>
                    <a:pt x="1706418" y="446809"/>
                    <a:pt x="531091" y="893618"/>
                    <a:pt x="0" y="1676400"/>
                  </a:cubicBezTo>
                </a:path>
              </a:pathLst>
            </a:custGeom>
            <a:noFill/>
            <a:ln w="57150">
              <a:tailEnd type="triangle" w="lg" len="lg"/>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a:p>
          </p:txBody>
        </p:sp>
      </p:grpSp>
    </p:spTree>
    <p:extLst>
      <p:ext uri="{BB962C8B-B14F-4D97-AF65-F5344CB8AC3E}">
        <p14:creationId xmlns:p14="http://schemas.microsoft.com/office/powerpoint/2010/main" val="3292831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right)">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4033454530"/>
              </p:ext>
            </p:extLst>
          </p:nvPr>
        </p:nvGraphicFramePr>
        <p:xfrm>
          <a:off x="1447800" y="27178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Notched Right Arrow 38">
            <a:extLst>
              <a:ext uri="{FF2B5EF4-FFF2-40B4-BE49-F238E27FC236}">
                <a16:creationId xmlns:a16="http://schemas.microsoft.com/office/drawing/2014/main" id="{33BE2ADE-A511-48CF-AE69-34609A725EA8}"/>
              </a:ext>
            </a:extLst>
          </p:cNvPr>
          <p:cNvSpPr/>
          <p:nvPr/>
        </p:nvSpPr>
        <p:spPr>
          <a:xfrm>
            <a:off x="312631" y="1092956"/>
            <a:ext cx="2396582" cy="1264729"/>
          </a:xfrm>
          <a:prstGeom prst="notchedRightArrow">
            <a:avLst>
              <a:gd name="adj1" fmla="val 60686"/>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5" name="Notched Right Arrow 39">
            <a:extLst>
              <a:ext uri="{FF2B5EF4-FFF2-40B4-BE49-F238E27FC236}">
                <a16:creationId xmlns:a16="http://schemas.microsoft.com/office/drawing/2014/main" id="{AE17805D-B2CC-4C68-94E4-24A886E2C4FB}"/>
              </a:ext>
            </a:extLst>
          </p:cNvPr>
          <p:cNvSpPr/>
          <p:nvPr/>
        </p:nvSpPr>
        <p:spPr>
          <a:xfrm>
            <a:off x="2414883" y="1092956"/>
            <a:ext cx="2396582" cy="1264729"/>
          </a:xfrm>
          <a:prstGeom prst="notchedRightArrow">
            <a:avLst>
              <a:gd name="adj1" fmla="val 60686"/>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6" name="Notched Right Arrow 40">
            <a:extLst>
              <a:ext uri="{FF2B5EF4-FFF2-40B4-BE49-F238E27FC236}">
                <a16:creationId xmlns:a16="http://schemas.microsoft.com/office/drawing/2014/main" id="{FA8DF6AA-E9A9-4322-A281-7884C66BE9B8}"/>
              </a:ext>
            </a:extLst>
          </p:cNvPr>
          <p:cNvSpPr/>
          <p:nvPr/>
        </p:nvSpPr>
        <p:spPr>
          <a:xfrm>
            <a:off x="4517135" y="1092956"/>
            <a:ext cx="2396582" cy="1264729"/>
          </a:xfrm>
          <a:prstGeom prst="notchedRightArrow">
            <a:avLst>
              <a:gd name="adj1" fmla="val 60686"/>
              <a:gd name="adj2"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7" name="Freeform 6">
            <a:extLst>
              <a:ext uri="{FF2B5EF4-FFF2-40B4-BE49-F238E27FC236}">
                <a16:creationId xmlns:a16="http://schemas.microsoft.com/office/drawing/2014/main" id="{2B3D9EBA-9EB7-4158-8F89-E54CABEF901F}"/>
              </a:ext>
            </a:extLst>
          </p:cNvPr>
          <p:cNvSpPr>
            <a:spLocks/>
          </p:cNvSpPr>
          <p:nvPr/>
        </p:nvSpPr>
        <p:spPr bwMode="auto">
          <a:xfrm>
            <a:off x="4876800" y="990600"/>
            <a:ext cx="1469441" cy="1469442"/>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tx1"/>
          </a:solidFill>
          <a:ln w="11113" cap="flat">
            <a:noFill/>
            <a:prstDash val="solid"/>
            <a:miter lim="800000"/>
            <a:headEnd/>
            <a:tailEnd/>
          </a:ln>
          <a:effectLst>
            <a:outerShdw blurRad="889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8" name="Notched Right Arrow 42">
            <a:extLst>
              <a:ext uri="{FF2B5EF4-FFF2-40B4-BE49-F238E27FC236}">
                <a16:creationId xmlns:a16="http://schemas.microsoft.com/office/drawing/2014/main" id="{FB9E0D9E-3FDD-44C8-8B3B-B3CEE07F1AF1}"/>
              </a:ext>
            </a:extLst>
          </p:cNvPr>
          <p:cNvSpPr/>
          <p:nvPr/>
        </p:nvSpPr>
        <p:spPr>
          <a:xfrm>
            <a:off x="6619386" y="1092956"/>
            <a:ext cx="2396582" cy="1264729"/>
          </a:xfrm>
          <a:prstGeom prst="notchedRightArrow">
            <a:avLst>
              <a:gd name="adj1" fmla="val 60686"/>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65000"/>
                  <a:lumOff val="35000"/>
                </a:schemeClr>
              </a:solidFill>
            </a:endParaRPr>
          </a:p>
        </p:txBody>
      </p:sp>
      <p:sp>
        <p:nvSpPr>
          <p:cNvPr id="10" name="Freeform 6">
            <a:extLst>
              <a:ext uri="{FF2B5EF4-FFF2-40B4-BE49-F238E27FC236}">
                <a16:creationId xmlns:a16="http://schemas.microsoft.com/office/drawing/2014/main" id="{34DDA504-DF95-493E-A7C0-9A76984DE2E1}"/>
              </a:ext>
            </a:extLst>
          </p:cNvPr>
          <p:cNvSpPr>
            <a:spLocks/>
          </p:cNvSpPr>
          <p:nvPr/>
        </p:nvSpPr>
        <p:spPr bwMode="auto">
          <a:xfrm>
            <a:off x="672296" y="990600"/>
            <a:ext cx="1469441" cy="1469442"/>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2"/>
          </a:solidFill>
          <a:ln w="11113" cap="flat">
            <a:noFill/>
            <a:prstDash val="solid"/>
            <a:miter lim="800000"/>
            <a:headEnd/>
            <a:tailEnd/>
          </a:ln>
          <a:effectLst>
            <a:outerShdw blurRad="889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3" name="Freeform 7">
            <a:extLst>
              <a:ext uri="{FF2B5EF4-FFF2-40B4-BE49-F238E27FC236}">
                <a16:creationId xmlns:a16="http://schemas.microsoft.com/office/drawing/2014/main" id="{7AE3CC17-C3CE-4C9D-9B08-DA574B4A9E6B}"/>
              </a:ext>
            </a:extLst>
          </p:cNvPr>
          <p:cNvSpPr>
            <a:spLocks/>
          </p:cNvSpPr>
          <p:nvPr/>
        </p:nvSpPr>
        <p:spPr bwMode="auto">
          <a:xfrm>
            <a:off x="776055" y="1092956"/>
            <a:ext cx="1261924" cy="1264729"/>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4" name="Freeform 6">
            <a:extLst>
              <a:ext uri="{FF2B5EF4-FFF2-40B4-BE49-F238E27FC236}">
                <a16:creationId xmlns:a16="http://schemas.microsoft.com/office/drawing/2014/main" id="{8DD941EA-3362-40A0-B24E-F5BD02EF3A39}"/>
              </a:ext>
            </a:extLst>
          </p:cNvPr>
          <p:cNvSpPr>
            <a:spLocks/>
          </p:cNvSpPr>
          <p:nvPr/>
        </p:nvSpPr>
        <p:spPr bwMode="auto">
          <a:xfrm>
            <a:off x="2774548" y="990600"/>
            <a:ext cx="1469441" cy="1469442"/>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1"/>
          </a:solidFill>
          <a:ln w="11113" cap="flat">
            <a:noFill/>
            <a:prstDash val="solid"/>
            <a:miter lim="800000"/>
            <a:headEnd/>
            <a:tailEnd/>
          </a:ln>
          <a:effectLst>
            <a:outerShdw blurRad="889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5" name="Freeform 7">
            <a:extLst>
              <a:ext uri="{FF2B5EF4-FFF2-40B4-BE49-F238E27FC236}">
                <a16:creationId xmlns:a16="http://schemas.microsoft.com/office/drawing/2014/main" id="{EFB0DD01-B8E5-439D-9A9E-76CB064E2644}"/>
              </a:ext>
            </a:extLst>
          </p:cNvPr>
          <p:cNvSpPr>
            <a:spLocks/>
          </p:cNvSpPr>
          <p:nvPr/>
        </p:nvSpPr>
        <p:spPr bwMode="auto">
          <a:xfrm>
            <a:off x="2878307" y="1092956"/>
            <a:ext cx="1261924" cy="1264729"/>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6" name="Freeform 7">
            <a:extLst>
              <a:ext uri="{FF2B5EF4-FFF2-40B4-BE49-F238E27FC236}">
                <a16:creationId xmlns:a16="http://schemas.microsoft.com/office/drawing/2014/main" id="{60278F93-DCF0-469D-BC87-C900DE7DD076}"/>
              </a:ext>
            </a:extLst>
          </p:cNvPr>
          <p:cNvSpPr>
            <a:spLocks/>
          </p:cNvSpPr>
          <p:nvPr/>
        </p:nvSpPr>
        <p:spPr bwMode="auto">
          <a:xfrm>
            <a:off x="4980559" y="1092956"/>
            <a:ext cx="1261924" cy="1264729"/>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7" name="Freeform 6">
            <a:extLst>
              <a:ext uri="{FF2B5EF4-FFF2-40B4-BE49-F238E27FC236}">
                <a16:creationId xmlns:a16="http://schemas.microsoft.com/office/drawing/2014/main" id="{EC641D78-0C85-4C0C-9BC4-E1B4F86E455B}"/>
              </a:ext>
            </a:extLst>
          </p:cNvPr>
          <p:cNvSpPr>
            <a:spLocks/>
          </p:cNvSpPr>
          <p:nvPr/>
        </p:nvSpPr>
        <p:spPr bwMode="auto">
          <a:xfrm>
            <a:off x="6979051" y="990600"/>
            <a:ext cx="1469441" cy="1469442"/>
          </a:xfrm>
          <a:custGeom>
            <a:avLst/>
            <a:gdLst>
              <a:gd name="T0" fmla="*/ 503 w 612"/>
              <a:gd name="T1" fmla="*/ 504 h 613"/>
              <a:gd name="T2" fmla="*/ 503 w 612"/>
              <a:gd name="T3" fmla="*/ 504 h 613"/>
              <a:gd name="T4" fmla="*/ 109 w 612"/>
              <a:gd name="T5" fmla="*/ 504 h 613"/>
              <a:gd name="T6" fmla="*/ 109 w 612"/>
              <a:gd name="T7" fmla="*/ 504 h 613"/>
              <a:gd name="T8" fmla="*/ 109 w 612"/>
              <a:gd name="T9" fmla="*/ 109 h 613"/>
              <a:gd name="T10" fmla="*/ 109 w 612"/>
              <a:gd name="T11" fmla="*/ 109 h 613"/>
              <a:gd name="T12" fmla="*/ 503 w 612"/>
              <a:gd name="T13" fmla="*/ 109 h 613"/>
              <a:gd name="T14" fmla="*/ 503 w 612"/>
              <a:gd name="T15" fmla="*/ 109 h 613"/>
              <a:gd name="T16" fmla="*/ 503 w 612"/>
              <a:gd name="T17" fmla="*/ 50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613">
                <a:moveTo>
                  <a:pt x="503" y="504"/>
                </a:moveTo>
                <a:cubicBezTo>
                  <a:pt x="503" y="504"/>
                  <a:pt x="503" y="504"/>
                  <a:pt x="503" y="504"/>
                </a:cubicBezTo>
                <a:cubicBezTo>
                  <a:pt x="394" y="613"/>
                  <a:pt x="218" y="613"/>
                  <a:pt x="109" y="504"/>
                </a:cubicBezTo>
                <a:cubicBezTo>
                  <a:pt x="109" y="504"/>
                  <a:pt x="109" y="504"/>
                  <a:pt x="109" y="504"/>
                </a:cubicBezTo>
                <a:cubicBezTo>
                  <a:pt x="0" y="395"/>
                  <a:pt x="0" y="218"/>
                  <a:pt x="109" y="109"/>
                </a:cubicBezTo>
                <a:cubicBezTo>
                  <a:pt x="109" y="109"/>
                  <a:pt x="109" y="109"/>
                  <a:pt x="109" y="109"/>
                </a:cubicBezTo>
                <a:cubicBezTo>
                  <a:pt x="218" y="0"/>
                  <a:pt x="394" y="0"/>
                  <a:pt x="503" y="109"/>
                </a:cubicBezTo>
                <a:cubicBezTo>
                  <a:pt x="503" y="109"/>
                  <a:pt x="503" y="109"/>
                  <a:pt x="503" y="109"/>
                </a:cubicBezTo>
                <a:cubicBezTo>
                  <a:pt x="612" y="218"/>
                  <a:pt x="612" y="395"/>
                  <a:pt x="503" y="504"/>
                </a:cubicBezTo>
                <a:close/>
              </a:path>
            </a:pathLst>
          </a:custGeom>
          <a:solidFill>
            <a:schemeClr val="accent5"/>
          </a:solidFill>
          <a:ln w="11113" cap="flat">
            <a:noFill/>
            <a:prstDash val="solid"/>
            <a:miter lim="800000"/>
            <a:headEnd/>
            <a:tailEnd/>
          </a:ln>
          <a:effectLst>
            <a:outerShdw blurRad="88900" dist="38100" dir="2700000" algn="t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8" name="Freeform 7">
            <a:extLst>
              <a:ext uri="{FF2B5EF4-FFF2-40B4-BE49-F238E27FC236}">
                <a16:creationId xmlns:a16="http://schemas.microsoft.com/office/drawing/2014/main" id="{15AC0120-AF75-4740-8B04-D5C3259152C5}"/>
              </a:ext>
            </a:extLst>
          </p:cNvPr>
          <p:cNvSpPr>
            <a:spLocks/>
          </p:cNvSpPr>
          <p:nvPr/>
        </p:nvSpPr>
        <p:spPr bwMode="auto">
          <a:xfrm>
            <a:off x="7082810" y="1092956"/>
            <a:ext cx="1261924" cy="1264729"/>
          </a:xfrm>
          <a:custGeom>
            <a:avLst/>
            <a:gdLst>
              <a:gd name="T0" fmla="*/ 433 w 526"/>
              <a:gd name="T1" fmla="*/ 433 h 527"/>
              <a:gd name="T2" fmla="*/ 433 w 526"/>
              <a:gd name="T3" fmla="*/ 433 h 527"/>
              <a:gd name="T4" fmla="*/ 93 w 526"/>
              <a:gd name="T5" fmla="*/ 433 h 527"/>
              <a:gd name="T6" fmla="*/ 93 w 526"/>
              <a:gd name="T7" fmla="*/ 433 h 527"/>
              <a:gd name="T8" fmla="*/ 93 w 526"/>
              <a:gd name="T9" fmla="*/ 94 h 527"/>
              <a:gd name="T10" fmla="*/ 93 w 526"/>
              <a:gd name="T11" fmla="*/ 94 h 527"/>
              <a:gd name="T12" fmla="*/ 433 w 526"/>
              <a:gd name="T13" fmla="*/ 94 h 527"/>
              <a:gd name="T14" fmla="*/ 433 w 526"/>
              <a:gd name="T15" fmla="*/ 94 h 527"/>
              <a:gd name="T16" fmla="*/ 433 w 526"/>
              <a:gd name="T17" fmla="*/ 43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527">
                <a:moveTo>
                  <a:pt x="433" y="433"/>
                </a:moveTo>
                <a:cubicBezTo>
                  <a:pt x="433" y="433"/>
                  <a:pt x="433" y="433"/>
                  <a:pt x="433" y="433"/>
                </a:cubicBezTo>
                <a:cubicBezTo>
                  <a:pt x="339" y="527"/>
                  <a:pt x="187" y="527"/>
                  <a:pt x="93" y="433"/>
                </a:cubicBezTo>
                <a:cubicBezTo>
                  <a:pt x="93" y="433"/>
                  <a:pt x="93" y="433"/>
                  <a:pt x="93" y="433"/>
                </a:cubicBezTo>
                <a:cubicBezTo>
                  <a:pt x="0" y="339"/>
                  <a:pt x="0" y="188"/>
                  <a:pt x="93" y="94"/>
                </a:cubicBezTo>
                <a:cubicBezTo>
                  <a:pt x="93" y="94"/>
                  <a:pt x="93" y="94"/>
                  <a:pt x="93" y="94"/>
                </a:cubicBezTo>
                <a:cubicBezTo>
                  <a:pt x="187" y="0"/>
                  <a:pt x="339" y="0"/>
                  <a:pt x="433" y="94"/>
                </a:cubicBezTo>
                <a:cubicBezTo>
                  <a:pt x="433" y="94"/>
                  <a:pt x="433" y="94"/>
                  <a:pt x="433" y="94"/>
                </a:cubicBezTo>
                <a:cubicBezTo>
                  <a:pt x="526" y="188"/>
                  <a:pt x="526" y="339"/>
                  <a:pt x="433" y="433"/>
                </a:cubicBezTo>
                <a:close/>
              </a:path>
            </a:pathLst>
          </a:custGeom>
          <a:solidFill>
            <a:srgbClr val="FFFFFF"/>
          </a:solidFill>
          <a:ln w="1111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21" name="TextBox 33">
            <a:extLst>
              <a:ext uri="{FF2B5EF4-FFF2-40B4-BE49-F238E27FC236}">
                <a16:creationId xmlns:a16="http://schemas.microsoft.com/office/drawing/2014/main" id="{3FEDD109-2E6E-4CDA-8C79-E9A512446A09}"/>
              </a:ext>
            </a:extLst>
          </p:cNvPr>
          <p:cNvSpPr txBox="1"/>
          <p:nvPr/>
        </p:nvSpPr>
        <p:spPr>
          <a:xfrm>
            <a:off x="1130584" y="1542458"/>
            <a:ext cx="572593" cy="307777"/>
          </a:xfrm>
          <a:prstGeom prst="rect">
            <a:avLst/>
          </a:prstGeom>
          <a:noFill/>
        </p:spPr>
        <p:txBody>
          <a:bodyPr wrap="none" rtlCol="0">
            <a:spAutoFit/>
          </a:bodyPr>
          <a:lstStyle>
            <a:defPPr>
              <a:defRPr lang="en-US"/>
            </a:defPPr>
            <a:lvl1pPr algn="ctr">
              <a:defRPr sz="1600">
                <a:solidFill>
                  <a:schemeClr val="bg1"/>
                </a:solidFill>
                <a:latin typeface="+mj-lt"/>
              </a:defRPr>
            </a:lvl1pPr>
          </a:lstStyle>
          <a:p>
            <a:r>
              <a:rPr lang="en-US" sz="1400" b="1" dirty="0">
                <a:solidFill>
                  <a:schemeClr val="tx2"/>
                </a:solidFill>
                <a:latin typeface="+mn-lt"/>
              </a:rPr>
              <a:t>Data</a:t>
            </a:r>
          </a:p>
        </p:txBody>
      </p:sp>
      <p:sp>
        <p:nvSpPr>
          <p:cNvPr id="22" name="TextBox 34">
            <a:extLst>
              <a:ext uri="{FF2B5EF4-FFF2-40B4-BE49-F238E27FC236}">
                <a16:creationId xmlns:a16="http://schemas.microsoft.com/office/drawing/2014/main" id="{906B2669-0FC2-429E-8146-16A4591DBF5B}"/>
              </a:ext>
            </a:extLst>
          </p:cNvPr>
          <p:cNvSpPr txBox="1"/>
          <p:nvPr/>
        </p:nvSpPr>
        <p:spPr>
          <a:xfrm>
            <a:off x="2929890" y="1542459"/>
            <a:ext cx="1168911" cy="307777"/>
          </a:xfrm>
          <a:prstGeom prst="rect">
            <a:avLst/>
          </a:prstGeom>
          <a:noFill/>
        </p:spPr>
        <p:txBody>
          <a:bodyPr wrap="none" rtlCol="0">
            <a:spAutoFit/>
          </a:bodyPr>
          <a:lstStyle>
            <a:defPPr>
              <a:defRPr lang="en-US"/>
            </a:defPPr>
            <a:lvl1pPr algn="ctr">
              <a:defRPr sz="1600">
                <a:solidFill>
                  <a:schemeClr val="bg1"/>
                </a:solidFill>
                <a:latin typeface="+mj-lt"/>
              </a:defRPr>
            </a:lvl1pPr>
          </a:lstStyle>
          <a:p>
            <a:r>
              <a:rPr lang="en-US" sz="1400" b="1" dirty="0">
                <a:solidFill>
                  <a:schemeClr val="tx2"/>
                </a:solidFill>
                <a:latin typeface="+mn-lt"/>
              </a:rPr>
              <a:t>Information	</a:t>
            </a:r>
          </a:p>
        </p:txBody>
      </p:sp>
      <p:sp>
        <p:nvSpPr>
          <p:cNvPr id="23" name="TextBox 35">
            <a:extLst>
              <a:ext uri="{FF2B5EF4-FFF2-40B4-BE49-F238E27FC236}">
                <a16:creationId xmlns:a16="http://schemas.microsoft.com/office/drawing/2014/main" id="{67A4927B-903E-4110-B499-B84D98E1A994}"/>
              </a:ext>
            </a:extLst>
          </p:cNvPr>
          <p:cNvSpPr txBox="1"/>
          <p:nvPr/>
        </p:nvSpPr>
        <p:spPr>
          <a:xfrm>
            <a:off x="5034649" y="1542457"/>
            <a:ext cx="1138453" cy="307777"/>
          </a:xfrm>
          <a:prstGeom prst="rect">
            <a:avLst/>
          </a:prstGeom>
          <a:noFill/>
        </p:spPr>
        <p:txBody>
          <a:bodyPr wrap="none" rtlCol="0">
            <a:spAutoFit/>
          </a:bodyPr>
          <a:lstStyle>
            <a:defPPr>
              <a:defRPr lang="en-US"/>
            </a:defPPr>
            <a:lvl1pPr algn="ctr">
              <a:defRPr sz="1600">
                <a:solidFill>
                  <a:schemeClr val="bg1"/>
                </a:solidFill>
                <a:latin typeface="+mj-lt"/>
              </a:defRPr>
            </a:lvl1pPr>
          </a:lstStyle>
          <a:p>
            <a:r>
              <a:rPr lang="en-US" sz="1400" b="1" dirty="0">
                <a:solidFill>
                  <a:schemeClr val="tx2"/>
                </a:solidFill>
                <a:latin typeface="+mn-lt"/>
              </a:rPr>
              <a:t>Knowledge</a:t>
            </a:r>
          </a:p>
        </p:txBody>
      </p:sp>
      <p:sp>
        <p:nvSpPr>
          <p:cNvPr id="24" name="TextBox 36">
            <a:extLst>
              <a:ext uri="{FF2B5EF4-FFF2-40B4-BE49-F238E27FC236}">
                <a16:creationId xmlns:a16="http://schemas.microsoft.com/office/drawing/2014/main" id="{81EB04B8-E088-4AB6-949C-C6AD3589F0E8}"/>
              </a:ext>
            </a:extLst>
          </p:cNvPr>
          <p:cNvSpPr txBox="1"/>
          <p:nvPr/>
        </p:nvSpPr>
        <p:spPr>
          <a:xfrm>
            <a:off x="7273586" y="1542456"/>
            <a:ext cx="880369" cy="307777"/>
          </a:xfrm>
          <a:prstGeom prst="rect">
            <a:avLst/>
          </a:prstGeom>
          <a:noFill/>
        </p:spPr>
        <p:txBody>
          <a:bodyPr wrap="none" rtlCol="0">
            <a:spAutoFit/>
          </a:bodyPr>
          <a:lstStyle>
            <a:defPPr>
              <a:defRPr lang="en-US"/>
            </a:defPPr>
            <a:lvl1pPr algn="ctr">
              <a:defRPr sz="1600">
                <a:solidFill>
                  <a:schemeClr val="bg1"/>
                </a:solidFill>
                <a:latin typeface="+mj-lt"/>
              </a:defRPr>
            </a:lvl1pPr>
          </a:lstStyle>
          <a:p>
            <a:r>
              <a:rPr lang="en-US" sz="1400" b="1" dirty="0">
                <a:solidFill>
                  <a:schemeClr val="tx2"/>
                </a:solidFill>
                <a:latin typeface="+mn-lt"/>
              </a:rPr>
              <a:t>Wisdom</a:t>
            </a:r>
          </a:p>
        </p:txBody>
      </p:sp>
    </p:spTree>
    <p:extLst>
      <p:ext uri="{BB962C8B-B14F-4D97-AF65-F5344CB8AC3E}">
        <p14:creationId xmlns:p14="http://schemas.microsoft.com/office/powerpoint/2010/main" val="3838230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normAutofit/>
          </a:bodyPr>
          <a:lstStyle/>
          <a:p>
            <a:pPr marL="86868" indent="0">
              <a:buNone/>
            </a:pPr>
            <a:endParaRPr lang="en-US" dirty="0"/>
          </a:p>
          <a:p>
            <a:r>
              <a:rPr lang="en-US" dirty="0"/>
              <a:t>CDS  is </a:t>
            </a:r>
            <a:r>
              <a:rPr lang="en-US" u="sng" dirty="0">
                <a:solidFill>
                  <a:srgbClr val="FF0000"/>
                </a:solidFill>
              </a:rPr>
              <a:t>not simply an alert, notification, or explicit care suggestion</a:t>
            </a:r>
            <a:r>
              <a:rPr lang="en-US" dirty="0"/>
              <a:t>. </a:t>
            </a:r>
          </a:p>
          <a:p>
            <a:pPr marL="86868" indent="0">
              <a:buNone/>
            </a:pPr>
            <a:endParaRPr lang="en-US" dirty="0"/>
          </a:p>
          <a:p>
            <a:r>
              <a:rPr lang="en-US" dirty="0"/>
              <a:t>CDS encompasses a variety of tools including, but not limited to:</a:t>
            </a:r>
          </a:p>
          <a:p>
            <a:pPr lvl="1"/>
            <a:r>
              <a:rPr lang="en-US" dirty="0"/>
              <a:t>Computerized alerts and reminders for providers and patients</a:t>
            </a:r>
          </a:p>
          <a:p>
            <a:pPr lvl="1"/>
            <a:r>
              <a:rPr lang="en-US" dirty="0">
                <a:solidFill>
                  <a:srgbClr val="0070C0"/>
                </a:solidFill>
              </a:rPr>
              <a:t>Clinical guidelines/ Care Plans</a:t>
            </a:r>
          </a:p>
          <a:p>
            <a:pPr lvl="1"/>
            <a:r>
              <a:rPr lang="en-US" dirty="0">
                <a:solidFill>
                  <a:srgbClr val="0070C0"/>
                </a:solidFill>
              </a:rPr>
              <a:t>Condition-specific order sets </a:t>
            </a:r>
          </a:p>
          <a:p>
            <a:pPr lvl="1"/>
            <a:r>
              <a:rPr lang="en-US" dirty="0">
                <a:solidFill>
                  <a:schemeClr val="tx2"/>
                </a:solidFill>
              </a:rPr>
              <a:t>Focused patient data reports and summaries </a:t>
            </a:r>
          </a:p>
          <a:p>
            <a:pPr lvl="1"/>
            <a:r>
              <a:rPr lang="en-US" dirty="0">
                <a:solidFill>
                  <a:srgbClr val="0070C0"/>
                </a:solidFill>
              </a:rPr>
              <a:t>Documentation templates </a:t>
            </a:r>
          </a:p>
          <a:p>
            <a:pPr lvl="1"/>
            <a:r>
              <a:rPr lang="en-US" dirty="0">
                <a:solidFill>
                  <a:schemeClr val="tx2"/>
                </a:solidFill>
              </a:rPr>
              <a:t>Diagnostic support </a:t>
            </a:r>
          </a:p>
          <a:p>
            <a:pPr lvl="1"/>
            <a:r>
              <a:rPr lang="en-US" dirty="0">
                <a:solidFill>
                  <a:srgbClr val="0070C0"/>
                </a:solidFill>
              </a:rPr>
              <a:t>Contextually relevant reference information</a:t>
            </a:r>
            <a:r>
              <a:rPr lang="en-US" dirty="0">
                <a:solidFill>
                  <a:schemeClr val="tx2"/>
                </a:solidFill>
              </a:rPr>
              <a:t> </a:t>
            </a:r>
          </a:p>
        </p:txBody>
      </p:sp>
      <p:sp>
        <p:nvSpPr>
          <p:cNvPr id="3" name="Title 2"/>
          <p:cNvSpPr>
            <a:spLocks noGrp="1"/>
          </p:cNvSpPr>
          <p:nvPr>
            <p:ph type="title"/>
          </p:nvPr>
        </p:nvSpPr>
        <p:spPr/>
        <p:txBody>
          <a:bodyPr/>
          <a:lstStyle/>
          <a:p>
            <a:r>
              <a:rPr lang="en-US" dirty="0"/>
              <a:t>Clinical Decision Support (CDS)</a:t>
            </a:r>
          </a:p>
        </p:txBody>
      </p:sp>
      <p:sp>
        <p:nvSpPr>
          <p:cNvPr id="4" name="Rectangle 3">
            <a:extLst>
              <a:ext uri="{FF2B5EF4-FFF2-40B4-BE49-F238E27FC236}">
                <a16:creationId xmlns:a16="http://schemas.microsoft.com/office/drawing/2014/main" id="{AEB6B307-A39D-4521-9421-9DE21F817B29}"/>
              </a:ext>
            </a:extLst>
          </p:cNvPr>
          <p:cNvSpPr/>
          <p:nvPr/>
        </p:nvSpPr>
        <p:spPr>
          <a:xfrm>
            <a:off x="152400" y="6258580"/>
            <a:ext cx="8839200"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53565A"/>
                </a:solidFill>
                <a:effectLst/>
                <a:uLnTx/>
                <a:uFillTx/>
                <a:latin typeface="Calibri"/>
                <a:ea typeface="+mn-ea"/>
                <a:cs typeface="+mn-cs"/>
              </a:rPr>
              <a:t>Improving Outcomes with Clinical Decision Support: An Implementer’s Guide </a:t>
            </a:r>
            <a:r>
              <a:rPr kumimoji="0" lang="en-US" sz="1400" b="0" i="0" u="none" strike="noStrike" kern="1200" cap="none" spc="0" normalizeH="0" baseline="0" noProof="0" dirty="0">
                <a:ln>
                  <a:noFill/>
                </a:ln>
                <a:solidFill>
                  <a:srgbClr val="53565A"/>
                </a:solidFill>
                <a:effectLst/>
                <a:uLnTx/>
                <a:uFillTx/>
                <a:latin typeface="Calibri"/>
                <a:ea typeface="+mn-ea"/>
                <a:cs typeface="+mn-cs"/>
              </a:rPr>
              <a:t>(Second edition, 2011): published by HIMSS © 2011 by the Healthcare Information and Management Systems Society (HIMSS) </a:t>
            </a:r>
            <a:endParaRPr kumimoji="0" lang="en-US" sz="1400" b="0" i="0" u="none" strike="noStrike" kern="1200" cap="none" spc="0" normalizeH="0" baseline="0" noProof="0" dirty="0">
              <a:ln>
                <a:noFill/>
              </a:ln>
              <a:solidFill>
                <a:srgbClr val="FF8200"/>
              </a:solidFill>
              <a:effectLst/>
              <a:uLnTx/>
              <a:uFillTx/>
              <a:latin typeface="Arial"/>
              <a:ea typeface="+mn-ea"/>
              <a:cs typeface="+mn-cs"/>
            </a:endParaRPr>
          </a:p>
        </p:txBody>
      </p:sp>
    </p:spTree>
    <p:extLst>
      <p:ext uri="{BB962C8B-B14F-4D97-AF65-F5344CB8AC3E}">
        <p14:creationId xmlns:p14="http://schemas.microsoft.com/office/powerpoint/2010/main" val="1269003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38FCDAA-122B-4B10-86A9-A6DA4A55F386}"/>
              </a:ext>
            </a:extLst>
          </p:cNvPr>
          <p:cNvPicPr>
            <a:picLocks noChangeAspect="1"/>
          </p:cNvPicPr>
          <p:nvPr/>
        </p:nvPicPr>
        <p:blipFill>
          <a:blip r:embed="rId2"/>
          <a:stretch>
            <a:fillRect/>
          </a:stretch>
        </p:blipFill>
        <p:spPr>
          <a:xfrm>
            <a:off x="1676400" y="1524000"/>
            <a:ext cx="5943600" cy="4451964"/>
          </a:xfrm>
          <a:prstGeom prst="rect">
            <a:avLst/>
          </a:prstGeom>
        </p:spPr>
      </p:pic>
    </p:spTree>
    <p:extLst>
      <p:ext uri="{BB962C8B-B14F-4D97-AF65-F5344CB8AC3E}">
        <p14:creationId xmlns:p14="http://schemas.microsoft.com/office/powerpoint/2010/main" val="3134955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68FB3DA-1850-47CB-8B3E-D64840111301}"/>
              </a:ext>
            </a:extLst>
          </p:cNvPr>
          <p:cNvSpPr>
            <a:spLocks noGrp="1"/>
          </p:cNvSpPr>
          <p:nvPr>
            <p:ph type="body" sz="quarter" idx="21"/>
          </p:nvPr>
        </p:nvSpPr>
        <p:spPr>
          <a:xfrm>
            <a:off x="4795806" y="1219200"/>
            <a:ext cx="3890994" cy="338554"/>
          </a:xfrm>
        </p:spPr>
        <p:txBody>
          <a:bodyPr/>
          <a:lstStyle/>
          <a:p>
            <a:r>
              <a:rPr lang="es-MX" dirty="0" err="1"/>
              <a:t>Fighter</a:t>
            </a:r>
            <a:r>
              <a:rPr lang="es-MX" dirty="0"/>
              <a:t> </a:t>
            </a:r>
            <a:r>
              <a:rPr lang="es-MX" dirty="0" err="1"/>
              <a:t>Pilots</a:t>
            </a:r>
            <a:endParaRPr lang="es-MX" dirty="0"/>
          </a:p>
        </p:txBody>
      </p:sp>
      <p:sp>
        <p:nvSpPr>
          <p:cNvPr id="5" name="Text Placeholder 4">
            <a:extLst>
              <a:ext uri="{FF2B5EF4-FFF2-40B4-BE49-F238E27FC236}">
                <a16:creationId xmlns:a16="http://schemas.microsoft.com/office/drawing/2014/main" id="{15831D05-9E39-4A27-A35B-DBAF862ECF6B}"/>
              </a:ext>
            </a:extLst>
          </p:cNvPr>
          <p:cNvSpPr>
            <a:spLocks noGrp="1"/>
          </p:cNvSpPr>
          <p:nvPr>
            <p:ph type="body" sz="quarter" idx="22"/>
          </p:nvPr>
        </p:nvSpPr>
        <p:spPr>
          <a:xfrm>
            <a:off x="152400" y="1219200"/>
            <a:ext cx="3954497" cy="338554"/>
          </a:xfrm>
        </p:spPr>
        <p:txBody>
          <a:bodyPr/>
          <a:lstStyle/>
          <a:p>
            <a:r>
              <a:rPr lang="es-MX" dirty="0" err="1"/>
              <a:t>Clinical</a:t>
            </a:r>
            <a:r>
              <a:rPr lang="es-MX" dirty="0"/>
              <a:t> Team at </a:t>
            </a:r>
            <a:r>
              <a:rPr lang="es-MX" dirty="0" err="1"/>
              <a:t>the</a:t>
            </a:r>
            <a:r>
              <a:rPr lang="es-MX" dirty="0"/>
              <a:t> </a:t>
            </a:r>
            <a:r>
              <a:rPr lang="es-MX" dirty="0" err="1"/>
              <a:t>bedside</a:t>
            </a:r>
            <a:endParaRPr lang="es-MX" dirty="0"/>
          </a:p>
        </p:txBody>
      </p:sp>
      <p:pic>
        <p:nvPicPr>
          <p:cNvPr id="9" name="Picture 8">
            <a:extLst>
              <a:ext uri="{FF2B5EF4-FFF2-40B4-BE49-F238E27FC236}">
                <a16:creationId xmlns:a16="http://schemas.microsoft.com/office/drawing/2014/main" id="{F38FCDAA-122B-4B10-86A9-A6DA4A55F386}"/>
              </a:ext>
            </a:extLst>
          </p:cNvPr>
          <p:cNvPicPr>
            <a:picLocks noChangeAspect="1"/>
          </p:cNvPicPr>
          <p:nvPr/>
        </p:nvPicPr>
        <p:blipFill>
          <a:blip r:embed="rId2"/>
          <a:stretch>
            <a:fillRect/>
          </a:stretch>
        </p:blipFill>
        <p:spPr>
          <a:xfrm>
            <a:off x="5023884" y="2351788"/>
            <a:ext cx="3505200" cy="2625517"/>
          </a:xfrm>
          <a:prstGeom prst="rect">
            <a:avLst/>
          </a:prstGeom>
        </p:spPr>
      </p:pic>
      <p:pic>
        <p:nvPicPr>
          <p:cNvPr id="11266" name="Picture 2" descr="Image result for ICU images">
            <a:extLst>
              <a:ext uri="{FF2B5EF4-FFF2-40B4-BE49-F238E27FC236}">
                <a16:creationId xmlns:a16="http://schemas.microsoft.com/office/drawing/2014/main" id="{57DAC57F-6818-45B6-B078-1A51835FA0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2351788"/>
            <a:ext cx="3862203" cy="25146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EBADD86-60FD-48C3-BE43-081E6F78F512}"/>
              </a:ext>
            </a:extLst>
          </p:cNvPr>
          <p:cNvSpPr txBox="1"/>
          <p:nvPr/>
        </p:nvSpPr>
        <p:spPr>
          <a:xfrm>
            <a:off x="4267200" y="1106269"/>
            <a:ext cx="7620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8200"/>
                </a:solidFill>
                <a:effectLst/>
                <a:uLnTx/>
                <a:uFillTx/>
                <a:latin typeface="Arial"/>
                <a:ea typeface="+mn-ea"/>
                <a:cs typeface="+mn-cs"/>
              </a:rPr>
              <a:t>=</a:t>
            </a:r>
          </a:p>
        </p:txBody>
      </p:sp>
    </p:spTree>
    <p:extLst>
      <p:ext uri="{BB962C8B-B14F-4D97-AF65-F5344CB8AC3E}">
        <p14:creationId xmlns:p14="http://schemas.microsoft.com/office/powerpoint/2010/main" val="668707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bg/>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ADD9189-0287-42D6-AA95-AA8BEE034C2D}"/>
              </a:ext>
            </a:extLst>
          </p:cNvPr>
          <p:cNvSpPr/>
          <p:nvPr/>
        </p:nvSpPr>
        <p:spPr>
          <a:xfrm>
            <a:off x="2295363" y="1770389"/>
            <a:ext cx="6391436"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dirty="0" err="1">
                <a:ln>
                  <a:noFill/>
                </a:ln>
                <a:solidFill>
                  <a:srgbClr val="53565A"/>
                </a:solidFill>
                <a:effectLst/>
                <a:uLnTx/>
                <a:uFillTx/>
                <a:latin typeface="Arial"/>
                <a:ea typeface="+mn-ea"/>
                <a:cs typeface="+mn-cs"/>
              </a:rPr>
              <a:t>The</a:t>
            </a:r>
            <a:r>
              <a:rPr kumimoji="0" lang="es-ES" sz="2400" b="0" i="0" u="none" strike="noStrike" kern="1200" cap="none" spc="0" normalizeH="0" baseline="0" noProof="0" dirty="0">
                <a:ln>
                  <a:noFill/>
                </a:ln>
                <a:solidFill>
                  <a:srgbClr val="53565A"/>
                </a:solidFill>
                <a:effectLst/>
                <a:uLnTx/>
                <a:uFillTx/>
                <a:latin typeface="Arial"/>
                <a:ea typeface="+mn-ea"/>
                <a:cs typeface="+mn-cs"/>
              </a:rPr>
              <a:t> incremental total </a:t>
            </a:r>
            <a:r>
              <a:rPr kumimoji="0" lang="es-ES" sz="2400" b="0" i="0" u="none" strike="noStrike" kern="1200" cap="none" spc="0" normalizeH="0" baseline="0" noProof="0" dirty="0" err="1">
                <a:ln>
                  <a:noFill/>
                </a:ln>
                <a:solidFill>
                  <a:srgbClr val="53565A"/>
                </a:solidFill>
                <a:effectLst/>
                <a:uLnTx/>
                <a:uFillTx/>
                <a:latin typeface="Arial"/>
                <a:ea typeface="+mn-ea"/>
                <a:cs typeface="+mn-cs"/>
              </a:rPr>
              <a:t>cost</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err="1">
                <a:ln>
                  <a:noFill/>
                </a:ln>
                <a:solidFill>
                  <a:srgbClr val="53565A"/>
                </a:solidFill>
                <a:effectLst/>
                <a:uLnTx/>
                <a:uFillTx/>
                <a:latin typeface="Arial"/>
                <a:ea typeface="+mn-ea"/>
                <a:cs typeface="+mn-cs"/>
              </a:rPr>
              <a:t>of</a:t>
            </a:r>
            <a:r>
              <a:rPr kumimoji="0" lang="es-ES" sz="2400" b="0" i="0" u="none" strike="noStrike" kern="1200" cap="none" spc="0" normalizeH="0" baseline="0" noProof="0" dirty="0">
                <a:ln>
                  <a:noFill/>
                </a:ln>
                <a:solidFill>
                  <a:srgbClr val="53565A"/>
                </a:solidFill>
                <a:effectLst/>
                <a:uLnTx/>
                <a:uFillTx/>
                <a:latin typeface="Arial"/>
                <a:ea typeface="+mn-ea"/>
                <a:cs typeface="+mn-cs"/>
              </a:rPr>
              <a:t> adverse </a:t>
            </a:r>
            <a:r>
              <a:rPr kumimoji="0" lang="es-ES" sz="2400" b="0" i="0" u="none" strike="noStrike" kern="1200" cap="none" spc="0" normalizeH="0" baseline="0" noProof="0" dirty="0" err="1">
                <a:ln>
                  <a:noFill/>
                </a:ln>
                <a:solidFill>
                  <a:srgbClr val="53565A"/>
                </a:solidFill>
                <a:effectLst/>
                <a:uLnTx/>
                <a:uFillTx/>
                <a:latin typeface="Arial"/>
                <a:ea typeface="+mn-ea"/>
                <a:cs typeface="+mn-cs"/>
              </a:rPr>
              <a:t>events</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err="1">
                <a:ln>
                  <a:noFill/>
                </a:ln>
                <a:solidFill>
                  <a:srgbClr val="53565A"/>
                </a:solidFill>
                <a:effectLst/>
                <a:uLnTx/>
                <a:uFillTx/>
                <a:latin typeface="Arial"/>
                <a:ea typeface="+mn-ea"/>
                <a:cs typeface="+mn-cs"/>
              </a:rPr>
              <a:t>was</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n-U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a:ln>
                  <a:noFill/>
                </a:ln>
                <a:solidFill>
                  <a:srgbClr val="53565A"/>
                </a:solidFill>
                <a:effectLst/>
                <a:uLnTx/>
                <a:uFillTx/>
                <a:latin typeface="Arial"/>
                <a:ea typeface="+mn-ea"/>
                <a:cs typeface="+mn-cs"/>
              </a:rPr>
              <a:t>88,268,906.</a:t>
            </a:r>
            <a:endParaRPr kumimoji="0" lang="en-US" sz="2400" b="0" i="0" u="none" strike="noStrike" kern="1200" cap="none" spc="0" normalizeH="0" baseline="0" noProof="0" dirty="0">
              <a:ln>
                <a:noFill/>
              </a:ln>
              <a:solidFill>
                <a:srgbClr val="53565A"/>
              </a:solidFill>
              <a:effectLst/>
              <a:uLnTx/>
              <a:uFillTx/>
              <a:latin typeface="Arial"/>
              <a:ea typeface="+mn-ea"/>
              <a:cs typeface="+mn-cs"/>
            </a:endParaRPr>
          </a:p>
        </p:txBody>
      </p:sp>
      <p:pic>
        <p:nvPicPr>
          <p:cNvPr id="3" name="Picture 2">
            <a:extLst>
              <a:ext uri="{FF2B5EF4-FFF2-40B4-BE49-F238E27FC236}">
                <a16:creationId xmlns:a16="http://schemas.microsoft.com/office/drawing/2014/main" id="{4A5967FD-415E-4F3B-8C18-B74635DAF043}"/>
              </a:ext>
            </a:extLst>
          </p:cNvPr>
          <p:cNvPicPr>
            <a:picLocks noChangeAspect="1"/>
          </p:cNvPicPr>
          <p:nvPr/>
        </p:nvPicPr>
        <p:blipFill>
          <a:blip r:embed="rId3"/>
          <a:stretch>
            <a:fillRect/>
          </a:stretch>
        </p:blipFill>
        <p:spPr>
          <a:xfrm>
            <a:off x="669822" y="1862161"/>
            <a:ext cx="936416" cy="802935"/>
          </a:xfrm>
          <a:prstGeom prst="rect">
            <a:avLst/>
          </a:prstGeom>
        </p:spPr>
      </p:pic>
      <p:pic>
        <p:nvPicPr>
          <p:cNvPr id="7" name="Picture 2" descr="Image result for new zealand map and flag image">
            <a:extLst>
              <a:ext uri="{FF2B5EF4-FFF2-40B4-BE49-F238E27FC236}">
                <a16:creationId xmlns:a16="http://schemas.microsoft.com/office/drawing/2014/main" id="{EC5E1060-4A93-4E7C-B068-ACDED18E11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9600" y="4068683"/>
            <a:ext cx="887653" cy="116346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51DE78A3-843B-4284-85DE-1BFE5160F42A}"/>
              </a:ext>
            </a:extLst>
          </p:cNvPr>
          <p:cNvSpPr/>
          <p:nvPr/>
        </p:nvSpPr>
        <p:spPr>
          <a:xfrm>
            <a:off x="2371550" y="4198841"/>
            <a:ext cx="589905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dirty="0">
                <a:ln>
                  <a:noFill/>
                </a:ln>
                <a:solidFill>
                  <a:srgbClr val="53565A"/>
                </a:solidFill>
                <a:effectLst/>
                <a:uLnTx/>
                <a:uFillTx/>
                <a:latin typeface="Arial"/>
                <a:ea typeface="+mn-ea"/>
                <a:cs typeface="+mn-cs"/>
              </a:rPr>
              <a:t>28% </a:t>
            </a:r>
            <a:r>
              <a:rPr kumimoji="0" lang="es-ES" sz="2400" b="0" i="0" u="none" strike="noStrike" kern="1200" cap="none" spc="0" normalizeH="0" baseline="0" noProof="0" dirty="0" err="1">
                <a:ln>
                  <a:noFill/>
                </a:ln>
                <a:solidFill>
                  <a:srgbClr val="53565A"/>
                </a:solidFill>
                <a:effectLst/>
                <a:uLnTx/>
                <a:uFillTx/>
                <a:latin typeface="Arial"/>
                <a:ea typeface="+mn-ea"/>
                <a:cs typeface="+mn-cs"/>
              </a:rPr>
              <a:t>of</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err="1">
                <a:ln>
                  <a:noFill/>
                </a:ln>
                <a:solidFill>
                  <a:srgbClr val="53565A"/>
                </a:solidFill>
                <a:effectLst/>
                <a:uLnTx/>
                <a:uFillTx/>
                <a:latin typeface="Arial"/>
                <a:ea typeface="+mn-ea"/>
                <a:cs typeface="+mn-cs"/>
              </a:rPr>
              <a:t>patients</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err="1">
                <a:ln>
                  <a:noFill/>
                </a:ln>
                <a:solidFill>
                  <a:srgbClr val="53565A"/>
                </a:solidFill>
                <a:effectLst/>
                <a:uLnTx/>
                <a:uFillTx/>
                <a:latin typeface="Arial"/>
                <a:ea typeface="+mn-ea"/>
                <a:cs typeface="+mn-cs"/>
              </a:rPr>
              <a:t>suffer</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err="1">
                <a:ln>
                  <a:noFill/>
                </a:ln>
                <a:solidFill>
                  <a:srgbClr val="53565A"/>
                </a:solidFill>
                <a:effectLst/>
                <a:uLnTx/>
                <a:uFillTx/>
                <a:latin typeface="Arial"/>
                <a:ea typeface="+mn-ea"/>
                <a:cs typeface="+mn-cs"/>
              </a:rPr>
              <a:t>one</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err="1">
                <a:ln>
                  <a:noFill/>
                </a:ln>
                <a:solidFill>
                  <a:srgbClr val="53565A"/>
                </a:solidFill>
                <a:effectLst/>
                <a:uLnTx/>
                <a:uFillTx/>
                <a:latin typeface="Arial"/>
                <a:ea typeface="+mn-ea"/>
                <a:cs typeface="+mn-cs"/>
              </a:rPr>
              <a:t>or</a:t>
            </a:r>
            <a:r>
              <a:rPr kumimoji="0" lang="es-ES" sz="2400" b="0" i="0" u="none" strike="noStrike" kern="1200" cap="none" spc="0" normalizeH="0" baseline="0" noProof="0" dirty="0">
                <a:ln>
                  <a:noFill/>
                </a:ln>
                <a:solidFill>
                  <a:srgbClr val="53565A"/>
                </a:solidFill>
                <a:effectLst/>
                <a:uLnTx/>
                <a:uFillTx/>
                <a:latin typeface="Arial"/>
                <a:ea typeface="+mn-ea"/>
                <a:cs typeface="+mn-cs"/>
              </a:rPr>
              <a:t> more injuries </a:t>
            </a:r>
            <a:r>
              <a:rPr kumimoji="0" lang="es-ES" sz="2400" b="0" i="0" u="none" strike="noStrike" kern="1200" cap="none" spc="0" normalizeH="0" baseline="0" noProof="0" dirty="0" err="1">
                <a:ln>
                  <a:noFill/>
                </a:ln>
                <a:solidFill>
                  <a:srgbClr val="53565A"/>
                </a:solidFill>
                <a:effectLst/>
                <a:uLnTx/>
                <a:uFillTx/>
                <a:latin typeface="Arial"/>
                <a:ea typeface="+mn-ea"/>
                <a:cs typeface="+mn-cs"/>
              </a:rPr>
              <a:t>related</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err="1">
                <a:ln>
                  <a:noFill/>
                </a:ln>
                <a:solidFill>
                  <a:srgbClr val="53565A"/>
                </a:solidFill>
                <a:effectLst/>
                <a:uLnTx/>
                <a:uFillTx/>
                <a:latin typeface="Arial"/>
                <a:ea typeface="+mn-ea"/>
                <a:cs typeface="+mn-cs"/>
              </a:rPr>
              <a:t>to</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err="1">
                <a:ln>
                  <a:noFill/>
                </a:ln>
                <a:solidFill>
                  <a:srgbClr val="53565A"/>
                </a:solidFill>
                <a:effectLst/>
                <a:uLnTx/>
                <a:uFillTx/>
                <a:latin typeface="Arial"/>
                <a:ea typeface="+mn-ea"/>
                <a:cs typeface="+mn-cs"/>
              </a:rPr>
              <a:t>medication</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err="1">
                <a:ln>
                  <a:noFill/>
                </a:ln>
                <a:solidFill>
                  <a:srgbClr val="53565A"/>
                </a:solidFill>
                <a:effectLst/>
                <a:uLnTx/>
                <a:uFillTx/>
                <a:latin typeface="Arial"/>
                <a:ea typeface="+mn-ea"/>
                <a:cs typeface="+mn-cs"/>
              </a:rPr>
              <a:t>errors</a:t>
            </a:r>
            <a:r>
              <a:rPr kumimoji="0" lang="es-ES" sz="2400" b="0" i="0" u="none" strike="noStrike" kern="1200" cap="none" spc="0" normalizeH="0" baseline="0" noProof="0" dirty="0">
                <a:ln>
                  <a:noFill/>
                </a:ln>
                <a:solidFill>
                  <a:srgbClr val="53565A"/>
                </a:solidFill>
                <a:effectLst/>
                <a:uLnTx/>
                <a:uFillTx/>
                <a:latin typeface="Arial"/>
                <a:ea typeface="+mn-ea"/>
                <a:cs typeface="+mn-cs"/>
              </a:rPr>
              <a:t>.</a:t>
            </a:r>
            <a:endParaRPr kumimoji="0" lang="en-US" sz="2400" b="0" i="0" u="none" strike="noStrike" kern="1200" cap="none" spc="0" normalizeH="0" baseline="0" noProof="0" dirty="0">
              <a:ln>
                <a:noFill/>
              </a:ln>
              <a:solidFill>
                <a:srgbClr val="53565A"/>
              </a:solidFill>
              <a:effectLst/>
              <a:uLnTx/>
              <a:uFillTx/>
              <a:latin typeface="Arial"/>
              <a:ea typeface="+mn-ea"/>
              <a:cs typeface="+mn-cs"/>
            </a:endParaRPr>
          </a:p>
        </p:txBody>
      </p:sp>
      <p:pic>
        <p:nvPicPr>
          <p:cNvPr id="9" name="Picture 2" descr="http://www.ajudablogueiros.com.br/blog/wp-content/uploads/2013/06/brasil-bandeira-territorio.png">
            <a:extLst>
              <a:ext uri="{FF2B5EF4-FFF2-40B4-BE49-F238E27FC236}">
                <a16:creationId xmlns:a16="http://schemas.microsoft.com/office/drawing/2014/main" id="{EDF3EBB0-F129-4C2F-99DB-FCD8577C5AB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0573" y="5638800"/>
            <a:ext cx="870068" cy="86463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44E43C62-4D6B-4036-BE19-9D00F1C4116D}"/>
              </a:ext>
            </a:extLst>
          </p:cNvPr>
          <p:cNvSpPr/>
          <p:nvPr/>
        </p:nvSpPr>
        <p:spPr>
          <a:xfrm>
            <a:off x="2283640" y="5549323"/>
            <a:ext cx="6203852"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2400" b="0" i="0" u="none" strike="noStrike" kern="0" cap="none" spc="0" normalizeH="0" baseline="0" noProof="0" dirty="0" err="1">
                <a:ln>
                  <a:noFill/>
                </a:ln>
                <a:solidFill>
                  <a:srgbClr val="53565A"/>
                </a:solidFill>
                <a:effectLst/>
                <a:uLnTx/>
                <a:uFillTx/>
                <a:latin typeface="Calibri"/>
                <a:ea typeface="+mn-ea"/>
                <a:cs typeface="+mn-cs"/>
              </a:rPr>
              <a:t>The</a:t>
            </a:r>
            <a:r>
              <a:rPr kumimoji="0" lang="es-ES" sz="2400" b="0" i="0" u="none" strike="noStrike" kern="0" cap="none" spc="0" normalizeH="0" baseline="0" noProof="0" dirty="0">
                <a:ln>
                  <a:noFill/>
                </a:ln>
                <a:solidFill>
                  <a:srgbClr val="53565A"/>
                </a:solidFill>
                <a:effectLst/>
                <a:uLnTx/>
                <a:uFillTx/>
                <a:latin typeface="Calibri"/>
                <a:ea typeface="+mn-ea"/>
                <a:cs typeface="+mn-cs"/>
              </a:rPr>
              <a:t> </a:t>
            </a:r>
            <a:r>
              <a:rPr kumimoji="0" lang="es-ES" sz="2400" b="0" i="0" u="none" strike="noStrike" kern="0" cap="none" spc="0" normalizeH="0" baseline="0" noProof="0" dirty="0" err="1">
                <a:ln>
                  <a:noFill/>
                </a:ln>
                <a:solidFill>
                  <a:srgbClr val="53565A"/>
                </a:solidFill>
                <a:effectLst/>
                <a:uLnTx/>
                <a:uFillTx/>
                <a:latin typeface="Calibri"/>
                <a:ea typeface="+mn-ea"/>
                <a:cs typeface="+mn-cs"/>
              </a:rPr>
              <a:t>incidence</a:t>
            </a:r>
            <a:r>
              <a:rPr kumimoji="0" lang="es-ES" sz="2400" b="0" i="0" u="none" strike="noStrike" kern="0" cap="none" spc="0" normalizeH="0" baseline="0" noProof="0" dirty="0">
                <a:ln>
                  <a:noFill/>
                </a:ln>
                <a:solidFill>
                  <a:srgbClr val="53565A"/>
                </a:solidFill>
                <a:effectLst/>
                <a:uLnTx/>
                <a:uFillTx/>
                <a:latin typeface="Calibri"/>
                <a:ea typeface="+mn-ea"/>
                <a:cs typeface="+mn-cs"/>
              </a:rPr>
              <a:t> </a:t>
            </a:r>
            <a:r>
              <a:rPr kumimoji="0" lang="es-ES" sz="2400" b="0" i="0" u="none" strike="noStrike" kern="0" cap="none" spc="0" normalizeH="0" baseline="0" noProof="0" dirty="0" err="1">
                <a:ln>
                  <a:noFill/>
                </a:ln>
                <a:solidFill>
                  <a:srgbClr val="53565A"/>
                </a:solidFill>
                <a:effectLst/>
                <a:uLnTx/>
                <a:uFillTx/>
                <a:latin typeface="Calibri"/>
                <a:ea typeface="+mn-ea"/>
                <a:cs typeface="+mn-cs"/>
              </a:rPr>
              <a:t>of</a:t>
            </a:r>
            <a:r>
              <a:rPr kumimoji="0" lang="es-ES" sz="2400" b="0" i="0" u="none" strike="noStrike" kern="0" cap="none" spc="0" normalizeH="0" baseline="0" noProof="0" dirty="0">
                <a:ln>
                  <a:noFill/>
                </a:ln>
                <a:solidFill>
                  <a:srgbClr val="53565A"/>
                </a:solidFill>
                <a:effectLst/>
                <a:uLnTx/>
                <a:uFillTx/>
                <a:latin typeface="Calibri"/>
                <a:ea typeface="+mn-ea"/>
                <a:cs typeface="+mn-cs"/>
              </a:rPr>
              <a:t> </a:t>
            </a:r>
            <a:r>
              <a:rPr kumimoji="0" lang="es-ES" sz="2400" b="0" i="0" u="none" strike="noStrike" kern="0" cap="none" spc="0" normalizeH="0" baseline="0" noProof="0" dirty="0" err="1">
                <a:ln>
                  <a:noFill/>
                </a:ln>
                <a:solidFill>
                  <a:srgbClr val="53565A"/>
                </a:solidFill>
                <a:effectLst/>
                <a:uLnTx/>
                <a:uFillTx/>
                <a:latin typeface="Calibri"/>
                <a:ea typeface="+mn-ea"/>
                <a:cs typeface="+mn-cs"/>
              </a:rPr>
              <a:t>preventable</a:t>
            </a:r>
            <a:r>
              <a:rPr kumimoji="0" lang="es-ES" sz="2400" b="0" i="0" u="none" strike="noStrike" kern="0" cap="none" spc="0" normalizeH="0" baseline="0" noProof="0" dirty="0">
                <a:ln>
                  <a:noFill/>
                </a:ln>
                <a:solidFill>
                  <a:srgbClr val="53565A"/>
                </a:solidFill>
                <a:effectLst/>
                <a:uLnTx/>
                <a:uFillTx/>
                <a:latin typeface="Calibri"/>
                <a:ea typeface="+mn-ea"/>
                <a:cs typeface="+mn-cs"/>
              </a:rPr>
              <a:t> adverse </a:t>
            </a:r>
            <a:r>
              <a:rPr kumimoji="0" lang="es-ES" sz="2400" b="0" i="0" u="none" strike="noStrike" kern="0" cap="none" spc="0" normalizeH="0" baseline="0" noProof="0" dirty="0" err="1">
                <a:ln>
                  <a:noFill/>
                </a:ln>
                <a:solidFill>
                  <a:srgbClr val="53565A"/>
                </a:solidFill>
                <a:effectLst/>
                <a:uLnTx/>
                <a:uFillTx/>
                <a:latin typeface="Calibri"/>
                <a:ea typeface="+mn-ea"/>
                <a:cs typeface="+mn-cs"/>
              </a:rPr>
              <a:t>events</a:t>
            </a:r>
            <a:r>
              <a:rPr kumimoji="0" lang="es-ES" sz="2400" b="0" i="0" u="none" strike="noStrike" kern="0" cap="none" spc="0" normalizeH="0" baseline="0" noProof="0" dirty="0">
                <a:ln>
                  <a:noFill/>
                </a:ln>
                <a:solidFill>
                  <a:srgbClr val="53565A"/>
                </a:solidFill>
                <a:effectLst/>
                <a:uLnTx/>
                <a:uFillTx/>
                <a:latin typeface="Calibri"/>
                <a:ea typeface="+mn-ea"/>
                <a:cs typeface="+mn-cs"/>
              </a:rPr>
              <a:t> </a:t>
            </a:r>
            <a:r>
              <a:rPr kumimoji="0" lang="es-ES" sz="2400" b="0" i="0" u="none" strike="noStrike" kern="0" cap="none" spc="0" normalizeH="0" baseline="0" noProof="0" dirty="0" err="1">
                <a:ln>
                  <a:noFill/>
                </a:ln>
                <a:solidFill>
                  <a:srgbClr val="53565A"/>
                </a:solidFill>
                <a:effectLst/>
                <a:uLnTx/>
                <a:uFillTx/>
                <a:latin typeface="Calibri"/>
                <a:ea typeface="+mn-ea"/>
                <a:cs typeface="+mn-cs"/>
              </a:rPr>
              <a:t>is</a:t>
            </a:r>
            <a:r>
              <a:rPr kumimoji="0" lang="es-ES" sz="2400" b="0" i="0" u="none" strike="noStrike" kern="0" cap="none" spc="0" normalizeH="0" baseline="0" noProof="0" dirty="0">
                <a:ln>
                  <a:noFill/>
                </a:ln>
                <a:solidFill>
                  <a:srgbClr val="53565A"/>
                </a:solidFill>
                <a:effectLst/>
                <a:uLnTx/>
                <a:uFillTx/>
                <a:latin typeface="Calibri"/>
                <a:ea typeface="+mn-ea"/>
                <a:cs typeface="+mn-cs"/>
              </a:rPr>
              <a:t> </a:t>
            </a:r>
            <a:r>
              <a:rPr kumimoji="0" lang="es-ES" sz="2400" b="0" i="0" u="none" strike="noStrike" kern="0" cap="none" spc="0" normalizeH="0" baseline="0" noProof="0" dirty="0" err="1">
                <a:ln>
                  <a:noFill/>
                </a:ln>
                <a:solidFill>
                  <a:srgbClr val="53565A"/>
                </a:solidFill>
                <a:effectLst/>
                <a:uLnTx/>
                <a:uFillTx/>
                <a:latin typeface="Calibri"/>
                <a:ea typeface="+mn-ea"/>
                <a:cs typeface="+mn-cs"/>
              </a:rPr>
              <a:t>estimated</a:t>
            </a:r>
            <a:r>
              <a:rPr kumimoji="0" lang="es-ES" sz="2400" b="0" i="0" u="none" strike="noStrike" kern="0" cap="none" spc="0" normalizeH="0" baseline="0" noProof="0" dirty="0">
                <a:ln>
                  <a:noFill/>
                </a:ln>
                <a:solidFill>
                  <a:srgbClr val="53565A"/>
                </a:solidFill>
                <a:effectLst/>
                <a:uLnTx/>
                <a:uFillTx/>
                <a:latin typeface="Calibri"/>
                <a:ea typeface="+mn-ea"/>
                <a:cs typeface="+mn-cs"/>
              </a:rPr>
              <a:t> </a:t>
            </a:r>
            <a:r>
              <a:rPr kumimoji="0" lang="es-ES" sz="2400" b="0" i="0" u="none" strike="noStrike" kern="0" cap="none" spc="0" normalizeH="0" baseline="0" noProof="0" dirty="0" err="1">
                <a:ln>
                  <a:noFill/>
                </a:ln>
                <a:solidFill>
                  <a:srgbClr val="53565A"/>
                </a:solidFill>
                <a:effectLst/>
                <a:uLnTx/>
                <a:uFillTx/>
                <a:latin typeface="Calibri"/>
                <a:ea typeface="+mn-ea"/>
                <a:cs typeface="+mn-cs"/>
              </a:rPr>
              <a:t>between</a:t>
            </a:r>
            <a:r>
              <a:rPr kumimoji="0" lang="es-ES" sz="2400" b="0" i="0" u="none" strike="noStrike" kern="0" cap="none" spc="0" normalizeH="0" baseline="0" noProof="0" dirty="0">
                <a:ln>
                  <a:noFill/>
                </a:ln>
                <a:solidFill>
                  <a:srgbClr val="53565A"/>
                </a:solidFill>
                <a:effectLst/>
                <a:uLnTx/>
                <a:uFillTx/>
                <a:latin typeface="Calibri"/>
                <a:ea typeface="+mn-ea"/>
                <a:cs typeface="+mn-cs"/>
              </a:rPr>
              <a:t> 30 and 52%.</a:t>
            </a:r>
            <a:endParaRPr kumimoji="0" lang="en-US" sz="2400" b="0" i="0" u="none" strike="noStrike" kern="1200" cap="none" spc="0" normalizeH="0" baseline="0" noProof="0" dirty="0">
              <a:ln>
                <a:noFill/>
              </a:ln>
              <a:solidFill>
                <a:srgbClr val="53565A"/>
              </a:solidFill>
              <a:effectLst/>
              <a:uLnTx/>
              <a:uFillTx/>
              <a:latin typeface="Arial"/>
              <a:ea typeface="+mn-ea"/>
              <a:cs typeface="+mn-cs"/>
            </a:endParaRPr>
          </a:p>
        </p:txBody>
      </p:sp>
      <p:pic>
        <p:nvPicPr>
          <p:cNvPr id="6" name="Picture 5">
            <a:extLst>
              <a:ext uri="{FF2B5EF4-FFF2-40B4-BE49-F238E27FC236}">
                <a16:creationId xmlns:a16="http://schemas.microsoft.com/office/drawing/2014/main" id="{13D35533-D853-4FB0-AE7E-07DDE36946E4}"/>
              </a:ext>
            </a:extLst>
          </p:cNvPr>
          <p:cNvPicPr>
            <a:picLocks noChangeAspect="1"/>
          </p:cNvPicPr>
          <p:nvPr/>
        </p:nvPicPr>
        <p:blipFill>
          <a:blip r:embed="rId6"/>
          <a:stretch>
            <a:fillRect/>
          </a:stretch>
        </p:blipFill>
        <p:spPr>
          <a:xfrm>
            <a:off x="543183" y="3062737"/>
            <a:ext cx="1189694" cy="749190"/>
          </a:xfrm>
          <a:prstGeom prst="rect">
            <a:avLst/>
          </a:prstGeom>
        </p:spPr>
      </p:pic>
      <p:sp>
        <p:nvSpPr>
          <p:cNvPr id="12" name="Rectangle 11">
            <a:extLst>
              <a:ext uri="{FF2B5EF4-FFF2-40B4-BE49-F238E27FC236}">
                <a16:creationId xmlns:a16="http://schemas.microsoft.com/office/drawing/2014/main" id="{F926E1F7-3921-4326-9ADD-1441A4765784}"/>
              </a:ext>
            </a:extLst>
          </p:cNvPr>
          <p:cNvSpPr/>
          <p:nvPr/>
        </p:nvSpPr>
        <p:spPr>
          <a:xfrm>
            <a:off x="2371550" y="2848359"/>
            <a:ext cx="6172200"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dirty="0">
                <a:ln>
                  <a:noFill/>
                </a:ln>
                <a:solidFill>
                  <a:srgbClr val="53565A"/>
                </a:solidFill>
                <a:effectLst/>
                <a:uLnTx/>
                <a:uFillTx/>
                <a:latin typeface="Arial"/>
                <a:ea typeface="+mn-ea"/>
                <a:cs typeface="+mn-cs"/>
              </a:rPr>
              <a:t>200,000 a 400,000 </a:t>
            </a:r>
            <a:r>
              <a:rPr kumimoji="0" lang="es-ES" sz="2400" b="0" i="0" u="none" strike="noStrike" kern="1200" cap="none" spc="0" normalizeH="0" baseline="0" noProof="0" dirty="0" err="1">
                <a:ln>
                  <a:noFill/>
                </a:ln>
                <a:solidFill>
                  <a:srgbClr val="53565A"/>
                </a:solidFill>
                <a:effectLst/>
                <a:uLnTx/>
                <a:uFillTx/>
                <a:latin typeface="Arial"/>
                <a:ea typeface="+mn-ea"/>
                <a:cs typeface="+mn-cs"/>
              </a:rPr>
              <a:t>deaths</a:t>
            </a:r>
            <a:r>
              <a:rPr kumimoji="0" lang="es-ES" sz="2400" b="0" i="0" u="none" strike="noStrike" kern="1200" cap="none" spc="0" normalizeH="0" baseline="0" noProof="0" dirty="0">
                <a:ln>
                  <a:noFill/>
                </a:ln>
                <a:solidFill>
                  <a:srgbClr val="53565A"/>
                </a:solidFill>
                <a:effectLst/>
                <a:uLnTx/>
                <a:uFillTx/>
                <a:latin typeface="Arial"/>
                <a:ea typeface="+mn-ea"/>
                <a:cs typeface="+mn-cs"/>
              </a:rPr>
              <a:t> are cause </a:t>
            </a:r>
            <a:r>
              <a:rPr kumimoji="0" lang="es-ES" sz="2400" b="0" i="0" u="none" strike="noStrike" kern="1200" cap="none" spc="0" normalizeH="0" baseline="0" noProof="0" dirty="0" err="1">
                <a:ln>
                  <a:noFill/>
                </a:ln>
                <a:solidFill>
                  <a:srgbClr val="53565A"/>
                </a:solidFill>
                <a:effectLst/>
                <a:uLnTx/>
                <a:uFillTx/>
                <a:latin typeface="Arial"/>
                <a:ea typeface="+mn-ea"/>
                <a:cs typeface="+mn-cs"/>
              </a:rPr>
              <a:t>by</a:t>
            </a:r>
            <a:r>
              <a:rPr kumimoji="0" lang="es-ES" sz="2400" b="0" i="0" u="none" strike="noStrike" kern="1200" cap="none" spc="0" normalizeH="0" baseline="0" noProof="0" dirty="0">
                <a:ln>
                  <a:noFill/>
                </a:ln>
                <a:solidFill>
                  <a:srgbClr val="53565A"/>
                </a:solidFill>
                <a:effectLst/>
                <a:uLnTx/>
                <a:uFillTx/>
                <a:latin typeface="Arial"/>
                <a:ea typeface="+mn-ea"/>
                <a:cs typeface="+mn-cs"/>
              </a:rPr>
              <a:t> </a:t>
            </a:r>
            <a:r>
              <a:rPr kumimoji="0" lang="es-ES" sz="2400" b="0" i="0" u="none" strike="noStrike" kern="1200" cap="none" spc="0" normalizeH="0" baseline="0" noProof="0" dirty="0" err="1">
                <a:ln>
                  <a:noFill/>
                </a:ln>
                <a:solidFill>
                  <a:srgbClr val="53565A"/>
                </a:solidFill>
                <a:effectLst/>
                <a:uLnTx/>
                <a:uFillTx/>
                <a:latin typeface="Arial"/>
                <a:ea typeface="+mn-ea"/>
                <a:cs typeface="+mn-cs"/>
              </a:rPr>
              <a:t>an</a:t>
            </a:r>
            <a:r>
              <a:rPr kumimoji="0" lang="es-ES" sz="2400" b="0" i="0" u="none" strike="noStrike" kern="1200" cap="none" spc="0" normalizeH="0" baseline="0" noProof="0" dirty="0">
                <a:ln>
                  <a:noFill/>
                </a:ln>
                <a:solidFill>
                  <a:srgbClr val="53565A"/>
                </a:solidFill>
                <a:effectLst/>
                <a:uLnTx/>
                <a:uFillTx/>
                <a:latin typeface="Arial"/>
                <a:ea typeface="+mn-ea"/>
                <a:cs typeface="+mn-cs"/>
              </a:rPr>
              <a:t> adverse </a:t>
            </a:r>
            <a:r>
              <a:rPr kumimoji="0" lang="es-ES" sz="2400" b="0" i="0" u="none" strike="noStrike" kern="1200" cap="none" spc="0" normalizeH="0" baseline="0" noProof="0" dirty="0" err="1">
                <a:ln>
                  <a:noFill/>
                </a:ln>
                <a:solidFill>
                  <a:srgbClr val="53565A"/>
                </a:solidFill>
                <a:effectLst/>
                <a:uLnTx/>
                <a:uFillTx/>
                <a:latin typeface="Arial"/>
                <a:ea typeface="+mn-ea"/>
                <a:cs typeface="+mn-cs"/>
              </a:rPr>
              <a:t>event</a:t>
            </a:r>
            <a:r>
              <a:rPr kumimoji="0" lang="es-ES" sz="2400" b="0" i="0" u="none" strike="noStrike" kern="1200" cap="none" spc="0" normalizeH="0" baseline="0" noProof="0" dirty="0">
                <a:ln>
                  <a:noFill/>
                </a:ln>
                <a:solidFill>
                  <a:srgbClr val="53565A"/>
                </a:solidFill>
                <a:effectLst/>
                <a:uLnTx/>
                <a:uFillTx/>
                <a:latin typeface="Arial"/>
                <a:ea typeface="+mn-ea"/>
                <a:cs typeface="+mn-cs"/>
              </a:rPr>
              <a:t>.</a:t>
            </a:r>
            <a:endParaRPr kumimoji="0" lang="en-US" sz="2400" b="0" i="0" u="none" strike="noStrike" kern="1200" cap="none" spc="0" normalizeH="0" baseline="0" noProof="0" dirty="0">
              <a:ln>
                <a:noFill/>
              </a:ln>
              <a:solidFill>
                <a:srgbClr val="53565A"/>
              </a:solidFill>
              <a:effectLst/>
              <a:uLnTx/>
              <a:uFillTx/>
              <a:latin typeface="Arial"/>
              <a:ea typeface="+mn-ea"/>
              <a:cs typeface="+mn-cs"/>
            </a:endParaRPr>
          </a:p>
        </p:txBody>
      </p:sp>
      <p:sp>
        <p:nvSpPr>
          <p:cNvPr id="2" name="Rectangle 1">
            <a:extLst>
              <a:ext uri="{FF2B5EF4-FFF2-40B4-BE49-F238E27FC236}">
                <a16:creationId xmlns:a16="http://schemas.microsoft.com/office/drawing/2014/main" id="{E2637960-1E1C-4367-90CB-EF976B05E8FC}"/>
              </a:ext>
            </a:extLst>
          </p:cNvPr>
          <p:cNvSpPr/>
          <p:nvPr/>
        </p:nvSpPr>
        <p:spPr>
          <a:xfrm>
            <a:off x="228600" y="624513"/>
            <a:ext cx="8723426"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3565A"/>
                </a:solidFill>
                <a:effectLst/>
                <a:uLnTx/>
                <a:uFillTx/>
                <a:latin typeface="Arial"/>
                <a:ea typeface="+mn-ea"/>
                <a:cs typeface="+mn-cs"/>
              </a:rPr>
              <a:t>Globally, it is widely accepted that 10% of inpatient admissions are associated with adverse events.</a:t>
            </a:r>
          </a:p>
        </p:txBody>
      </p:sp>
    </p:spTree>
    <p:extLst>
      <p:ext uri="{BB962C8B-B14F-4D97-AF65-F5344CB8AC3E}">
        <p14:creationId xmlns:p14="http://schemas.microsoft.com/office/powerpoint/2010/main" val="189695797"/>
      </p:ext>
    </p:extLst>
  </p:cSld>
  <p:clrMapOvr>
    <a:masterClrMapping/>
  </p:clrMapOvr>
  <p:transition spd="slow">
    <p:fade thruBlk="1"/>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Elsevier Color Theme">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Custom Design">
  <a:themeElements>
    <a:clrScheme name="Elsevier Color Theme">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Elsevier Content Slides">
  <a:themeElements>
    <a:clrScheme name="Elsevier_default">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3_Elsevier Content Slides">
  <a:themeElements>
    <a:clrScheme name="Elsevier_default">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7_Elsevier Content Slides">
  <a:themeElements>
    <a:clrScheme name="Elsevier_default">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Vs ELS Theme">
  <a:themeElements>
    <a:clrScheme name="Elsevier_default">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1_Elsevier Content Slides">
  <a:themeElements>
    <a:clrScheme name="Elsevier">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Elsevier">
  <a:themeElements>
    <a:clrScheme name="Elsevier Master Brand">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Custom Design">
  <a:themeElements>
    <a:clrScheme name="Elsevier Color Theme">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0_Custom Design">
  <a:themeElements>
    <a:clrScheme name="Elsevier Color Theme">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KVs ELS Theme">
  <a:themeElements>
    <a:clrScheme name="Elsevier_default">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2_Custom Design">
  <a:themeElements>
    <a:clrScheme name="Elsevier Color Theme">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48559</TotalTime>
  <Words>3272</Words>
  <Application>Microsoft Office PowerPoint</Application>
  <PresentationFormat>On-screen Show (4:3)</PresentationFormat>
  <Paragraphs>594</Paragraphs>
  <Slides>39</Slides>
  <Notes>17</Notes>
  <HiddenSlides>0</HiddenSlides>
  <MMClips>0</MMClips>
  <ScaleCrop>false</ScaleCrop>
  <HeadingPairs>
    <vt:vector size="8" baseType="variant">
      <vt:variant>
        <vt:lpstr>Fonts Used</vt:lpstr>
      </vt:variant>
      <vt:variant>
        <vt:i4>17</vt:i4>
      </vt:variant>
      <vt:variant>
        <vt:lpstr>Theme</vt:lpstr>
      </vt:variant>
      <vt:variant>
        <vt:i4>14</vt:i4>
      </vt:variant>
      <vt:variant>
        <vt:lpstr>Embedded OLE Servers</vt:lpstr>
      </vt:variant>
      <vt:variant>
        <vt:i4>1</vt:i4>
      </vt:variant>
      <vt:variant>
        <vt:lpstr>Slide Titles</vt:lpstr>
      </vt:variant>
      <vt:variant>
        <vt:i4>39</vt:i4>
      </vt:variant>
    </vt:vector>
  </HeadingPairs>
  <TitlesOfParts>
    <vt:vector size="71" baseType="lpstr">
      <vt:lpstr>Gungsuh</vt:lpstr>
      <vt:lpstr>Arial</vt:lpstr>
      <vt:lpstr>Arial Bold</vt:lpstr>
      <vt:lpstr>Arial Narrow</vt:lpstr>
      <vt:lpstr>Brush Script MT</vt:lpstr>
      <vt:lpstr>Calibri</vt:lpstr>
      <vt:lpstr>Cambria</vt:lpstr>
      <vt:lpstr>Courier New</vt:lpstr>
      <vt:lpstr>Impact</vt:lpstr>
      <vt:lpstr>Lucida Grande</vt:lpstr>
      <vt:lpstr>Lucida Sans Unicode</vt:lpstr>
      <vt:lpstr>Memphis Medium</vt:lpstr>
      <vt:lpstr>Segoe UI</vt:lpstr>
      <vt:lpstr>Times New Roman</vt:lpstr>
      <vt:lpstr>Verdana</vt:lpstr>
      <vt:lpstr>Wingdings</vt:lpstr>
      <vt:lpstr>Wingdings 2</vt:lpstr>
      <vt:lpstr>Custom Design</vt:lpstr>
      <vt:lpstr>KVs ELS Theme</vt:lpstr>
      <vt:lpstr>1_Office Theme</vt:lpstr>
      <vt:lpstr>11_Elsevier Content Slides</vt:lpstr>
      <vt:lpstr>1_Elsevier</vt:lpstr>
      <vt:lpstr>1_Custom Design</vt:lpstr>
      <vt:lpstr>10_Custom Design</vt:lpstr>
      <vt:lpstr>1_KVs ELS Theme</vt:lpstr>
      <vt:lpstr>2_Custom Design</vt:lpstr>
      <vt:lpstr>3_Custom Design</vt:lpstr>
      <vt:lpstr>Elsevier Content Slides</vt:lpstr>
      <vt:lpstr>11_Custom Design</vt:lpstr>
      <vt:lpstr>3_Elsevier Content Slides</vt:lpstr>
      <vt:lpstr>7_Elsevier Content Slides</vt:lpstr>
      <vt:lpstr>think-cell Slide</vt:lpstr>
      <vt:lpstr>PowerPoint Presentation</vt:lpstr>
      <vt:lpstr>Robert Nieves, Juris Doctor, MBA, MPA, BSN, RN       Vice President Health Informatics</vt:lpstr>
      <vt:lpstr>Nursing Informatics</vt:lpstr>
      <vt:lpstr>PowerPoint Presentation</vt:lpstr>
      <vt:lpstr>PowerPoint Presentation</vt:lpstr>
      <vt:lpstr>Clinical Decision Support (CDS)</vt:lpstr>
      <vt:lpstr>PowerPoint Presentation</vt:lpstr>
      <vt:lpstr>PowerPoint Presentation</vt:lpstr>
      <vt:lpstr>PowerPoint Presentation</vt:lpstr>
      <vt:lpstr>PowerPoint Presentation</vt:lpstr>
      <vt:lpstr>What we know…</vt:lpstr>
      <vt:lpstr>PowerPoint Presentation</vt:lpstr>
      <vt:lpstr>What we know…</vt:lpstr>
      <vt:lpstr>What we kno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CDS Five Rights”</vt:lpstr>
      <vt:lpstr>The “CDS Five Rights”</vt:lpstr>
      <vt:lpstr>The “CDS Five Rights”</vt:lpstr>
      <vt:lpstr>The “CDS Five Rights”</vt:lpstr>
      <vt:lpstr>The “CDS Five Rights”</vt:lpstr>
      <vt:lpstr>The “CDS Five Rights”</vt:lpstr>
      <vt:lpstr>What do you need</vt:lpstr>
      <vt:lpstr>Transformation starts with each one of us…</vt:lpstr>
      <vt:lpstr>PowerPoint Presentation</vt:lpstr>
    </vt:vector>
  </TitlesOfParts>
  <Company>Reed Elsevi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ed Elsevier</dc:creator>
  <cp:lastModifiedBy>Nieves, Robert (ELS-GRA)</cp:lastModifiedBy>
  <cp:revision>515</cp:revision>
  <cp:lastPrinted>2014-10-27T17:16:09Z</cp:lastPrinted>
  <dcterms:created xsi:type="dcterms:W3CDTF">2014-05-13T14:58:01Z</dcterms:created>
  <dcterms:modified xsi:type="dcterms:W3CDTF">2018-06-23T02:21:02Z</dcterms:modified>
</cp:coreProperties>
</file>